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12"/>
  </p:notesMasterIdLst>
  <p:sldIdLst>
    <p:sldId id="361" r:id="rId5"/>
    <p:sldId id="374" r:id="rId6"/>
    <p:sldId id="375" r:id="rId7"/>
    <p:sldId id="376" r:id="rId8"/>
    <p:sldId id="377" r:id="rId9"/>
    <p:sldId id="378" r:id="rId10"/>
    <p:sldId id="379" r:id="rId11"/>
  </p:sldIdLst>
  <p:sldSz cx="7559675" cy="10691813"/>
  <p:notesSz cx="6858000" cy="9144000"/>
  <p:custDataLst>
    <p:tags r:id="rId13"/>
  </p:custDataLst>
  <p:defaultTextStyle>
    <a:defPPr>
      <a:defRPr lang="en-US"/>
    </a:defPPr>
    <a:lvl1pPr marL="0" algn="l" defTabSz="995507" rtl="0" eaLnBrk="1" latinLnBrk="0" hangingPunct="1">
      <a:defRPr sz="1960" kern="1200">
        <a:solidFill>
          <a:schemeClr val="tx1"/>
        </a:solidFill>
        <a:latin typeface="+mn-lt"/>
        <a:ea typeface="+mn-ea"/>
        <a:cs typeface="+mn-cs"/>
      </a:defRPr>
    </a:lvl1pPr>
    <a:lvl2pPr marL="497754" algn="l" defTabSz="995507" rtl="0" eaLnBrk="1" latinLnBrk="0" hangingPunct="1">
      <a:defRPr sz="1960" kern="1200">
        <a:solidFill>
          <a:schemeClr val="tx1"/>
        </a:solidFill>
        <a:latin typeface="+mn-lt"/>
        <a:ea typeface="+mn-ea"/>
        <a:cs typeface="+mn-cs"/>
      </a:defRPr>
    </a:lvl2pPr>
    <a:lvl3pPr marL="995507" algn="l" defTabSz="995507" rtl="0" eaLnBrk="1" latinLnBrk="0" hangingPunct="1">
      <a:defRPr sz="1960" kern="1200">
        <a:solidFill>
          <a:schemeClr val="tx1"/>
        </a:solidFill>
        <a:latin typeface="+mn-lt"/>
        <a:ea typeface="+mn-ea"/>
        <a:cs typeface="+mn-cs"/>
      </a:defRPr>
    </a:lvl3pPr>
    <a:lvl4pPr marL="1493261" algn="l" defTabSz="995507" rtl="0" eaLnBrk="1" latinLnBrk="0" hangingPunct="1">
      <a:defRPr sz="1960" kern="1200">
        <a:solidFill>
          <a:schemeClr val="tx1"/>
        </a:solidFill>
        <a:latin typeface="+mn-lt"/>
        <a:ea typeface="+mn-ea"/>
        <a:cs typeface="+mn-cs"/>
      </a:defRPr>
    </a:lvl4pPr>
    <a:lvl5pPr marL="1991015" algn="l" defTabSz="995507" rtl="0" eaLnBrk="1" latinLnBrk="0" hangingPunct="1">
      <a:defRPr sz="1960" kern="1200">
        <a:solidFill>
          <a:schemeClr val="tx1"/>
        </a:solidFill>
        <a:latin typeface="+mn-lt"/>
        <a:ea typeface="+mn-ea"/>
        <a:cs typeface="+mn-cs"/>
      </a:defRPr>
    </a:lvl5pPr>
    <a:lvl6pPr marL="2488768" algn="l" defTabSz="995507" rtl="0" eaLnBrk="1" latinLnBrk="0" hangingPunct="1">
      <a:defRPr sz="1960" kern="1200">
        <a:solidFill>
          <a:schemeClr val="tx1"/>
        </a:solidFill>
        <a:latin typeface="+mn-lt"/>
        <a:ea typeface="+mn-ea"/>
        <a:cs typeface="+mn-cs"/>
      </a:defRPr>
    </a:lvl6pPr>
    <a:lvl7pPr marL="2986522" algn="l" defTabSz="995507" rtl="0" eaLnBrk="1" latinLnBrk="0" hangingPunct="1">
      <a:defRPr sz="1960" kern="1200">
        <a:solidFill>
          <a:schemeClr val="tx1"/>
        </a:solidFill>
        <a:latin typeface="+mn-lt"/>
        <a:ea typeface="+mn-ea"/>
        <a:cs typeface="+mn-cs"/>
      </a:defRPr>
    </a:lvl7pPr>
    <a:lvl8pPr marL="3484275" algn="l" defTabSz="995507" rtl="0" eaLnBrk="1" latinLnBrk="0" hangingPunct="1">
      <a:defRPr sz="1960" kern="1200">
        <a:solidFill>
          <a:schemeClr val="tx1"/>
        </a:solidFill>
        <a:latin typeface="+mn-lt"/>
        <a:ea typeface="+mn-ea"/>
        <a:cs typeface="+mn-cs"/>
      </a:defRPr>
    </a:lvl8pPr>
    <a:lvl9pPr marL="3982029" algn="l" defTabSz="995507" rtl="0" eaLnBrk="1" latinLnBrk="0" hangingPunct="1">
      <a:defRPr sz="196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367" userDrawn="1">
          <p15:clr>
            <a:srgbClr val="A4A3A4"/>
          </p15:clr>
        </p15:guide>
        <p15:guide id="2" pos="2381"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72B0F84-6754-070F-FB0A-74714967B177}" name="Erin E Skurrie (DEECA)" initials="EES(" userId="S::erin.skurrie@delwp.vic.gov.au::40d278f5-2685-46d8-addf-99a3a9e7eb73" providerId="AD"/>
  <p188:author id="{9EFAF5A5-B1CD-6DBD-8B64-61D35DF2A5E0}" name="Scott D Matheson (DEECA)" initials="SDM(" userId="S::scott.matheson@delwp.vic.gov.au::ca67bcd2-1d88-4878-9268-c1471086911e"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17D7D"/>
    <a:srgbClr val="53565A"/>
    <a:srgbClr val="0000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0C9C0B6-E754-4828-A43B-BF67AD66D68B}" v="68" dt="2023-07-31T00:42:18.93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581" autoAdjust="0"/>
  </p:normalViewPr>
  <p:slideViewPr>
    <p:cSldViewPr snapToGrid="0">
      <p:cViewPr varScale="1">
        <p:scale>
          <a:sx n="73" d="100"/>
          <a:sy n="73" d="100"/>
        </p:scale>
        <p:origin x="3912" y="77"/>
      </p:cViewPr>
      <p:guideLst>
        <p:guide orient="horz" pos="3367"/>
        <p:guide pos="238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tags" Target="tags/tag1.xml"/><Relationship Id="rId18" Type="http://schemas.microsoft.com/office/2016/11/relationships/changesInfo" Target="changesInfos/changesInfo1.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notesMaster" Target="notesMasters/notesMaster1.xml"/><Relationship Id="rId17"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theme" Target="theme/theme1.xml"/><Relationship Id="rId20"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viewProps" Target="viewProps.xml"/><Relationship Id="rId10" Type="http://schemas.openxmlformats.org/officeDocument/2006/relationships/slide" Target="slides/slide6.xml"/><Relationship Id="rId19"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lannah Tran" userId="ca071bd6-a585-4695-914d-bc8a7ace8862" providerId="ADAL" clId="{F0C9C0B6-E754-4828-A43B-BF67AD66D68B}"/>
    <pc:docChg chg="custSel modSld replTag">
      <pc:chgData name="Alannah Tran" userId="ca071bd6-a585-4695-914d-bc8a7ace8862" providerId="ADAL" clId="{F0C9C0B6-E754-4828-A43B-BF67AD66D68B}" dt="2023-07-31T00:42:18.931" v="696"/>
      <pc:docMkLst>
        <pc:docMk/>
      </pc:docMkLst>
      <pc:sldChg chg="modSp mod">
        <pc:chgData name="Alannah Tran" userId="ca071bd6-a585-4695-914d-bc8a7ace8862" providerId="ADAL" clId="{F0C9C0B6-E754-4828-A43B-BF67AD66D68B}" dt="2023-07-31T00:40:08.344" v="1"/>
        <pc:sldMkLst>
          <pc:docMk/>
          <pc:sldMk cId="468147565" sldId="361"/>
        </pc:sldMkLst>
        <pc:graphicFrameChg chg="mod modVis">
          <ac:chgData name="Alannah Tran" userId="ca071bd6-a585-4695-914d-bc8a7ace8862" providerId="ADAL" clId="{F0C9C0B6-E754-4828-A43B-BF67AD66D68B}" dt="2023-07-31T00:40:08.344" v="1"/>
          <ac:graphicFrameMkLst>
            <pc:docMk/>
            <pc:sldMk cId="468147565" sldId="361"/>
            <ac:graphicFrameMk id="7" creationId="{A3318C26-A74E-1BFA-1EA9-1936095480E6}"/>
          </ac:graphicFrameMkLst>
        </pc:graphicFrameChg>
      </pc:sldChg>
      <pc:sldChg chg="addSp delSp modSp mod">
        <pc:chgData name="Alannah Tran" userId="ca071bd6-a585-4695-914d-bc8a7ace8862" providerId="ADAL" clId="{F0C9C0B6-E754-4828-A43B-BF67AD66D68B}" dt="2023-07-31T00:41:47.524" v="105"/>
        <pc:sldMkLst>
          <pc:docMk/>
          <pc:sldMk cId="673645428" sldId="374"/>
        </pc:sldMkLst>
        <pc:spChg chg="mod">
          <ac:chgData name="Alannah Tran" userId="ca071bd6-a585-4695-914d-bc8a7ace8862" providerId="ADAL" clId="{F0C9C0B6-E754-4828-A43B-BF67AD66D68B}" dt="2023-07-31T00:41:47.497" v="62" actId="948"/>
          <ac:spMkLst>
            <pc:docMk/>
            <pc:sldMk cId="673645428" sldId="374"/>
            <ac:spMk id="2" creationId="{BE775851-1710-1ECE-9244-8DB335407B32}"/>
          </ac:spMkLst>
        </pc:spChg>
        <pc:spChg chg="add del mod modVis">
          <ac:chgData name="Alannah Tran" userId="ca071bd6-a585-4695-914d-bc8a7ace8862" providerId="ADAL" clId="{F0C9C0B6-E754-4828-A43B-BF67AD66D68B}" dt="2023-07-31T00:41:47.523" v="103"/>
          <ac:spMkLst>
            <pc:docMk/>
            <pc:sldMk cId="673645428" sldId="374"/>
            <ac:spMk id="6" creationId="{D188EC58-6E85-D2C5-632B-39C45A92CBD3}"/>
          </ac:spMkLst>
        </pc:spChg>
        <pc:graphicFrameChg chg="mod modVis">
          <ac:chgData name="Alannah Tran" userId="ca071bd6-a585-4695-914d-bc8a7ace8862" providerId="ADAL" clId="{F0C9C0B6-E754-4828-A43B-BF67AD66D68B}" dt="2023-07-31T00:41:47.524" v="105"/>
          <ac:graphicFrameMkLst>
            <pc:docMk/>
            <pc:sldMk cId="673645428" sldId="374"/>
            <ac:graphicFrameMk id="7" creationId="{C6871745-70F1-810B-2F65-4ADD984C12EF}"/>
          </ac:graphicFrameMkLst>
        </pc:graphicFrameChg>
      </pc:sldChg>
      <pc:sldChg chg="addSp delSp modSp mod">
        <pc:chgData name="Alannah Tran" userId="ca071bd6-a585-4695-914d-bc8a7ace8862" providerId="ADAL" clId="{F0C9C0B6-E754-4828-A43B-BF67AD66D68B}" dt="2023-07-31T00:41:54.817" v="197"/>
        <pc:sldMkLst>
          <pc:docMk/>
          <pc:sldMk cId="2062473286" sldId="375"/>
        </pc:sldMkLst>
        <pc:spChg chg="mod">
          <ac:chgData name="Alannah Tran" userId="ca071bd6-a585-4695-914d-bc8a7ace8862" providerId="ADAL" clId="{F0C9C0B6-E754-4828-A43B-BF67AD66D68B}" dt="2023-07-31T00:41:54.791" v="154" actId="948"/>
          <ac:spMkLst>
            <pc:docMk/>
            <pc:sldMk cId="2062473286" sldId="375"/>
            <ac:spMk id="2" creationId="{BE775851-1710-1ECE-9244-8DB335407B32}"/>
          </ac:spMkLst>
        </pc:spChg>
        <pc:spChg chg="add del mod modVis">
          <ac:chgData name="Alannah Tran" userId="ca071bd6-a585-4695-914d-bc8a7ace8862" providerId="ADAL" clId="{F0C9C0B6-E754-4828-A43B-BF67AD66D68B}" dt="2023-07-31T00:41:53.233" v="148"/>
          <ac:spMkLst>
            <pc:docMk/>
            <pc:sldMk cId="2062473286" sldId="375"/>
            <ac:spMk id="6" creationId="{58F47917-9BAC-18E9-B744-F4B4C220C150}"/>
          </ac:spMkLst>
        </pc:spChg>
        <pc:spChg chg="add del mod modVis">
          <ac:chgData name="Alannah Tran" userId="ca071bd6-a585-4695-914d-bc8a7ace8862" providerId="ADAL" clId="{F0C9C0B6-E754-4828-A43B-BF67AD66D68B}" dt="2023-07-31T00:41:54.815" v="195"/>
          <ac:spMkLst>
            <pc:docMk/>
            <pc:sldMk cId="2062473286" sldId="375"/>
            <ac:spMk id="8" creationId="{2C5479EB-E243-917B-E253-F821430EE8E6}"/>
          </ac:spMkLst>
        </pc:spChg>
        <pc:graphicFrameChg chg="mod modVis">
          <ac:chgData name="Alannah Tran" userId="ca071bd6-a585-4695-914d-bc8a7ace8862" providerId="ADAL" clId="{F0C9C0B6-E754-4828-A43B-BF67AD66D68B}" dt="2023-07-31T00:41:54.817" v="197"/>
          <ac:graphicFrameMkLst>
            <pc:docMk/>
            <pc:sldMk cId="2062473286" sldId="375"/>
            <ac:graphicFrameMk id="7" creationId="{0B6F0D2C-288C-F8BE-1C34-05192D444831}"/>
          </ac:graphicFrameMkLst>
        </pc:graphicFrameChg>
      </pc:sldChg>
      <pc:sldChg chg="addSp delSp modSp mod">
        <pc:chgData name="Alannah Tran" userId="ca071bd6-a585-4695-914d-bc8a7ace8862" providerId="ADAL" clId="{F0C9C0B6-E754-4828-A43B-BF67AD66D68B}" dt="2023-07-31T00:41:58.556" v="288"/>
        <pc:sldMkLst>
          <pc:docMk/>
          <pc:sldMk cId="679724053" sldId="376"/>
        </pc:sldMkLst>
        <pc:spChg chg="mod">
          <ac:chgData name="Alannah Tran" userId="ca071bd6-a585-4695-914d-bc8a7ace8862" providerId="ADAL" clId="{F0C9C0B6-E754-4828-A43B-BF67AD66D68B}" dt="2023-07-31T00:41:58.529" v="245" actId="948"/>
          <ac:spMkLst>
            <pc:docMk/>
            <pc:sldMk cId="679724053" sldId="376"/>
            <ac:spMk id="2" creationId="{BE775851-1710-1ECE-9244-8DB335407B32}"/>
          </ac:spMkLst>
        </pc:spChg>
        <pc:spChg chg="add del mod modVis">
          <ac:chgData name="Alannah Tran" userId="ca071bd6-a585-4695-914d-bc8a7ace8862" providerId="ADAL" clId="{F0C9C0B6-E754-4828-A43B-BF67AD66D68B}" dt="2023-07-31T00:41:40.070" v="56"/>
          <ac:spMkLst>
            <pc:docMk/>
            <pc:sldMk cId="679724053" sldId="376"/>
            <ac:spMk id="6" creationId="{FAE0C62A-A16E-E9E4-F2B2-7414FC713F06}"/>
          </ac:spMkLst>
        </pc:spChg>
        <pc:spChg chg="add del mod modVis">
          <ac:chgData name="Alannah Tran" userId="ca071bd6-a585-4695-914d-bc8a7ace8862" providerId="ADAL" clId="{F0C9C0B6-E754-4828-A43B-BF67AD66D68B}" dt="2023-07-31T00:41:57.395" v="240"/>
          <ac:spMkLst>
            <pc:docMk/>
            <pc:sldMk cId="679724053" sldId="376"/>
            <ac:spMk id="8" creationId="{C6903A23-CE98-2A36-D935-EEB52539BEFC}"/>
          </ac:spMkLst>
        </pc:spChg>
        <pc:spChg chg="add del mod modVis">
          <ac:chgData name="Alannah Tran" userId="ca071bd6-a585-4695-914d-bc8a7ace8862" providerId="ADAL" clId="{F0C9C0B6-E754-4828-A43B-BF67AD66D68B}" dt="2023-07-31T00:41:58.555" v="286"/>
          <ac:spMkLst>
            <pc:docMk/>
            <pc:sldMk cId="679724053" sldId="376"/>
            <ac:spMk id="9" creationId="{1D3229E3-0074-A4C5-9BDE-FD5E5AC55F50}"/>
          </ac:spMkLst>
        </pc:spChg>
        <pc:graphicFrameChg chg="mod modVis">
          <ac:chgData name="Alannah Tran" userId="ca071bd6-a585-4695-914d-bc8a7ace8862" providerId="ADAL" clId="{F0C9C0B6-E754-4828-A43B-BF67AD66D68B}" dt="2023-07-31T00:41:58.556" v="288"/>
          <ac:graphicFrameMkLst>
            <pc:docMk/>
            <pc:sldMk cId="679724053" sldId="376"/>
            <ac:graphicFrameMk id="7" creationId="{1383E9CA-E92B-4ADA-8FFF-BEDCDA7D307D}"/>
          </ac:graphicFrameMkLst>
        </pc:graphicFrameChg>
      </pc:sldChg>
      <pc:sldChg chg="addSp delSp modSp mod">
        <pc:chgData name="Alannah Tran" userId="ca071bd6-a585-4695-914d-bc8a7ace8862" providerId="ADAL" clId="{F0C9C0B6-E754-4828-A43B-BF67AD66D68B}" dt="2023-07-31T00:42:05.718" v="424"/>
        <pc:sldMkLst>
          <pc:docMk/>
          <pc:sldMk cId="3206367845" sldId="377"/>
        </pc:sldMkLst>
        <pc:spChg chg="mod">
          <ac:chgData name="Alannah Tran" userId="ca071bd6-a585-4695-914d-bc8a7ace8862" providerId="ADAL" clId="{F0C9C0B6-E754-4828-A43B-BF67AD66D68B}" dt="2023-07-31T00:42:05.690" v="381" actId="948"/>
          <ac:spMkLst>
            <pc:docMk/>
            <pc:sldMk cId="3206367845" sldId="377"/>
            <ac:spMk id="2" creationId="{BE775851-1710-1ECE-9244-8DB335407B32}"/>
          </ac:spMkLst>
        </pc:spChg>
        <pc:spChg chg="add del mod modVis">
          <ac:chgData name="Alannah Tran" userId="ca071bd6-a585-4695-914d-bc8a7ace8862" providerId="ADAL" clId="{F0C9C0B6-E754-4828-A43B-BF67AD66D68B}" dt="2023-07-31T00:42:03.557" v="331"/>
          <ac:spMkLst>
            <pc:docMk/>
            <pc:sldMk cId="3206367845" sldId="377"/>
            <ac:spMk id="6" creationId="{50A34781-466E-264A-3AE8-F677415EB5A3}"/>
          </ac:spMkLst>
        </pc:spChg>
        <pc:spChg chg="add del mod modVis">
          <ac:chgData name="Alannah Tran" userId="ca071bd6-a585-4695-914d-bc8a7ace8862" providerId="ADAL" clId="{F0C9C0B6-E754-4828-A43B-BF67AD66D68B}" dt="2023-07-31T00:42:04.870" v="377"/>
          <ac:spMkLst>
            <pc:docMk/>
            <pc:sldMk cId="3206367845" sldId="377"/>
            <ac:spMk id="8" creationId="{224099D0-0B82-4D9B-492D-50377872EF2B}"/>
          </ac:spMkLst>
        </pc:spChg>
        <pc:spChg chg="add del mod modVis">
          <ac:chgData name="Alannah Tran" userId="ca071bd6-a585-4695-914d-bc8a7ace8862" providerId="ADAL" clId="{F0C9C0B6-E754-4828-A43B-BF67AD66D68B}" dt="2023-07-31T00:42:05.716" v="422"/>
          <ac:spMkLst>
            <pc:docMk/>
            <pc:sldMk cId="3206367845" sldId="377"/>
            <ac:spMk id="9" creationId="{F87F3D17-3A17-673A-E097-11A37C0BEAA6}"/>
          </ac:spMkLst>
        </pc:spChg>
        <pc:graphicFrameChg chg="mod modVis">
          <ac:chgData name="Alannah Tran" userId="ca071bd6-a585-4695-914d-bc8a7ace8862" providerId="ADAL" clId="{F0C9C0B6-E754-4828-A43B-BF67AD66D68B}" dt="2023-07-31T00:42:05.718" v="424"/>
          <ac:graphicFrameMkLst>
            <pc:docMk/>
            <pc:sldMk cId="3206367845" sldId="377"/>
            <ac:graphicFrameMk id="7" creationId="{E328B557-A9B5-A5B2-92E9-BA16465CA7F0}"/>
          </ac:graphicFrameMkLst>
        </pc:graphicFrameChg>
      </pc:sldChg>
      <pc:sldChg chg="addSp delSp modSp mod">
        <pc:chgData name="Alannah Tran" userId="ca071bd6-a585-4695-914d-bc8a7ace8862" providerId="ADAL" clId="{F0C9C0B6-E754-4828-A43B-BF67AD66D68B}" dt="2023-07-31T00:42:11.967" v="560"/>
        <pc:sldMkLst>
          <pc:docMk/>
          <pc:sldMk cId="2882888243" sldId="378"/>
        </pc:sldMkLst>
        <pc:spChg chg="mod">
          <ac:chgData name="Alannah Tran" userId="ca071bd6-a585-4695-914d-bc8a7ace8862" providerId="ADAL" clId="{F0C9C0B6-E754-4828-A43B-BF67AD66D68B}" dt="2023-07-31T00:42:11.932" v="517" actId="948"/>
          <ac:spMkLst>
            <pc:docMk/>
            <pc:sldMk cId="2882888243" sldId="378"/>
            <ac:spMk id="2" creationId="{BE775851-1710-1ECE-9244-8DB335407B32}"/>
          </ac:spMkLst>
        </pc:spChg>
        <pc:spChg chg="add del mod modVis">
          <ac:chgData name="Alannah Tran" userId="ca071bd6-a585-4695-914d-bc8a7ace8862" providerId="ADAL" clId="{F0C9C0B6-E754-4828-A43B-BF67AD66D68B}" dt="2023-07-31T00:42:10.030" v="467"/>
          <ac:spMkLst>
            <pc:docMk/>
            <pc:sldMk cId="2882888243" sldId="378"/>
            <ac:spMk id="6" creationId="{644A2DCC-D609-6EDB-EB49-622B0BCD8359}"/>
          </ac:spMkLst>
        </pc:spChg>
        <pc:spChg chg="add del mod modVis">
          <ac:chgData name="Alannah Tran" userId="ca071bd6-a585-4695-914d-bc8a7ace8862" providerId="ADAL" clId="{F0C9C0B6-E754-4828-A43B-BF67AD66D68B}" dt="2023-07-31T00:42:11.281" v="513"/>
          <ac:spMkLst>
            <pc:docMk/>
            <pc:sldMk cId="2882888243" sldId="378"/>
            <ac:spMk id="8" creationId="{CDCA996F-6F62-256E-A18B-6F316D017871}"/>
          </ac:spMkLst>
        </pc:spChg>
        <pc:spChg chg="add del mod modVis">
          <ac:chgData name="Alannah Tran" userId="ca071bd6-a585-4695-914d-bc8a7ace8862" providerId="ADAL" clId="{F0C9C0B6-E754-4828-A43B-BF67AD66D68B}" dt="2023-07-31T00:42:11.966" v="558"/>
          <ac:spMkLst>
            <pc:docMk/>
            <pc:sldMk cId="2882888243" sldId="378"/>
            <ac:spMk id="9" creationId="{29572064-4D49-0201-A341-DF5EDDF7EC3D}"/>
          </ac:spMkLst>
        </pc:spChg>
        <pc:graphicFrameChg chg="mod modVis">
          <ac:chgData name="Alannah Tran" userId="ca071bd6-a585-4695-914d-bc8a7ace8862" providerId="ADAL" clId="{F0C9C0B6-E754-4828-A43B-BF67AD66D68B}" dt="2023-07-31T00:42:11.967" v="560"/>
          <ac:graphicFrameMkLst>
            <pc:docMk/>
            <pc:sldMk cId="2882888243" sldId="378"/>
            <ac:graphicFrameMk id="7" creationId="{64181988-8DBE-AE95-CF5D-104E05127A32}"/>
          </ac:graphicFrameMkLst>
        </pc:graphicFrameChg>
      </pc:sldChg>
      <pc:sldChg chg="addSp delSp modSp mod">
        <pc:chgData name="Alannah Tran" userId="ca071bd6-a585-4695-914d-bc8a7ace8862" providerId="ADAL" clId="{F0C9C0B6-E754-4828-A43B-BF67AD66D68B}" dt="2023-07-31T00:42:18.931" v="696"/>
        <pc:sldMkLst>
          <pc:docMk/>
          <pc:sldMk cId="924689935" sldId="379"/>
        </pc:sldMkLst>
        <pc:spChg chg="mod">
          <ac:chgData name="Alannah Tran" userId="ca071bd6-a585-4695-914d-bc8a7ace8862" providerId="ADAL" clId="{F0C9C0B6-E754-4828-A43B-BF67AD66D68B}" dt="2023-07-31T00:42:18.902" v="653" actId="948"/>
          <ac:spMkLst>
            <pc:docMk/>
            <pc:sldMk cId="924689935" sldId="379"/>
            <ac:spMk id="2" creationId="{BE775851-1710-1ECE-9244-8DB335407B32}"/>
          </ac:spMkLst>
        </pc:spChg>
        <pc:spChg chg="add del mod modVis">
          <ac:chgData name="Alannah Tran" userId="ca071bd6-a585-4695-914d-bc8a7ace8862" providerId="ADAL" clId="{F0C9C0B6-E754-4828-A43B-BF67AD66D68B}" dt="2023-07-31T00:42:17.268" v="603"/>
          <ac:spMkLst>
            <pc:docMk/>
            <pc:sldMk cId="924689935" sldId="379"/>
            <ac:spMk id="6" creationId="{D81703F6-3CD8-B092-7C3A-8763652EC96A}"/>
          </ac:spMkLst>
        </pc:spChg>
        <pc:spChg chg="add del mod modVis">
          <ac:chgData name="Alannah Tran" userId="ca071bd6-a585-4695-914d-bc8a7ace8862" providerId="ADAL" clId="{F0C9C0B6-E754-4828-A43B-BF67AD66D68B}" dt="2023-07-31T00:42:18.337" v="649"/>
          <ac:spMkLst>
            <pc:docMk/>
            <pc:sldMk cId="924689935" sldId="379"/>
            <ac:spMk id="18" creationId="{356DD62C-7D34-F42F-493D-73000CCEB801}"/>
          </ac:spMkLst>
        </pc:spChg>
        <pc:spChg chg="add del mod modVis">
          <ac:chgData name="Alannah Tran" userId="ca071bd6-a585-4695-914d-bc8a7ace8862" providerId="ADAL" clId="{F0C9C0B6-E754-4828-A43B-BF67AD66D68B}" dt="2023-07-31T00:42:18.929" v="694"/>
          <ac:spMkLst>
            <pc:docMk/>
            <pc:sldMk cId="924689935" sldId="379"/>
            <ac:spMk id="19" creationId="{C003D2C0-718B-BFDD-CF84-3DC4809B1958}"/>
          </ac:spMkLst>
        </pc:spChg>
        <pc:graphicFrameChg chg="mod modVis">
          <ac:chgData name="Alannah Tran" userId="ca071bd6-a585-4695-914d-bc8a7ace8862" providerId="ADAL" clId="{F0C9C0B6-E754-4828-A43B-BF67AD66D68B}" dt="2023-07-31T00:42:18.931" v="696"/>
          <ac:graphicFrameMkLst>
            <pc:docMk/>
            <pc:sldMk cId="924689935" sldId="379"/>
            <ac:graphicFrameMk id="1397" creationId="{5B33BB8E-3721-126A-8EED-B11FBEC62625}"/>
          </ac:graphicFrameMkLst>
        </pc:graphicFrame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3CCD3B2-4D7A-4E7B-BDA7-2DB5BDD53175}" type="datetimeFigureOut">
              <a:rPr lang="en-AU" smtClean="0"/>
              <a:t>31/07/2023</a:t>
            </a:fld>
            <a:endParaRPr lang="en-AU"/>
          </a:p>
        </p:txBody>
      </p:sp>
      <p:sp>
        <p:nvSpPr>
          <p:cNvPr id="4" name="Slide Image Placeholder 3"/>
          <p:cNvSpPr>
            <a:spLocks noGrp="1" noRot="1" noChangeAspect="1"/>
          </p:cNvSpPr>
          <p:nvPr>
            <p:ph type="sldImg" idx="2"/>
          </p:nvPr>
        </p:nvSpPr>
        <p:spPr>
          <a:xfrm>
            <a:off x="2338388" y="1143000"/>
            <a:ext cx="2181225"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A4C1774-FB25-401F-8CDD-2DAF6D4705F7}" type="slidenum">
              <a:rPr lang="en-AU" smtClean="0"/>
              <a:t>‹#›</a:t>
            </a:fld>
            <a:endParaRPr lang="en-AU"/>
          </a:p>
        </p:txBody>
      </p:sp>
    </p:spTree>
    <p:extLst>
      <p:ext uri="{BB962C8B-B14F-4D97-AF65-F5344CB8AC3E}">
        <p14:creationId xmlns:p14="http://schemas.microsoft.com/office/powerpoint/2010/main" val="3989712793"/>
      </p:ext>
    </p:extLst>
  </p:cSld>
  <p:clrMap bg1="lt1" tx1="dk1" bg2="lt2" tx2="dk2" accent1="accent1" accent2="accent2" accent3="accent3" accent4="accent4" accent5="accent5" accent6="accent6" hlink="hlink" folHlink="folHlink"/>
  <p:notesStyle>
    <a:lvl1pPr marL="0" algn="l" defTabSz="995507" rtl="0" eaLnBrk="1" latinLnBrk="0" hangingPunct="1">
      <a:defRPr sz="1306" kern="1200">
        <a:solidFill>
          <a:schemeClr val="tx1"/>
        </a:solidFill>
        <a:latin typeface="+mn-lt"/>
        <a:ea typeface="+mn-ea"/>
        <a:cs typeface="+mn-cs"/>
      </a:defRPr>
    </a:lvl1pPr>
    <a:lvl2pPr marL="497754" algn="l" defTabSz="995507" rtl="0" eaLnBrk="1" latinLnBrk="0" hangingPunct="1">
      <a:defRPr sz="1306" kern="1200">
        <a:solidFill>
          <a:schemeClr val="tx1"/>
        </a:solidFill>
        <a:latin typeface="+mn-lt"/>
        <a:ea typeface="+mn-ea"/>
        <a:cs typeface="+mn-cs"/>
      </a:defRPr>
    </a:lvl2pPr>
    <a:lvl3pPr marL="995507" algn="l" defTabSz="995507" rtl="0" eaLnBrk="1" latinLnBrk="0" hangingPunct="1">
      <a:defRPr sz="1306" kern="1200">
        <a:solidFill>
          <a:schemeClr val="tx1"/>
        </a:solidFill>
        <a:latin typeface="+mn-lt"/>
        <a:ea typeface="+mn-ea"/>
        <a:cs typeface="+mn-cs"/>
      </a:defRPr>
    </a:lvl3pPr>
    <a:lvl4pPr marL="1493261" algn="l" defTabSz="995507" rtl="0" eaLnBrk="1" latinLnBrk="0" hangingPunct="1">
      <a:defRPr sz="1306" kern="1200">
        <a:solidFill>
          <a:schemeClr val="tx1"/>
        </a:solidFill>
        <a:latin typeface="+mn-lt"/>
        <a:ea typeface="+mn-ea"/>
        <a:cs typeface="+mn-cs"/>
      </a:defRPr>
    </a:lvl4pPr>
    <a:lvl5pPr marL="1991015" algn="l" defTabSz="995507" rtl="0" eaLnBrk="1" latinLnBrk="0" hangingPunct="1">
      <a:defRPr sz="1306" kern="1200">
        <a:solidFill>
          <a:schemeClr val="tx1"/>
        </a:solidFill>
        <a:latin typeface="+mn-lt"/>
        <a:ea typeface="+mn-ea"/>
        <a:cs typeface="+mn-cs"/>
      </a:defRPr>
    </a:lvl5pPr>
    <a:lvl6pPr marL="2488768" algn="l" defTabSz="995507" rtl="0" eaLnBrk="1" latinLnBrk="0" hangingPunct="1">
      <a:defRPr sz="1306" kern="1200">
        <a:solidFill>
          <a:schemeClr val="tx1"/>
        </a:solidFill>
        <a:latin typeface="+mn-lt"/>
        <a:ea typeface="+mn-ea"/>
        <a:cs typeface="+mn-cs"/>
      </a:defRPr>
    </a:lvl6pPr>
    <a:lvl7pPr marL="2986522" algn="l" defTabSz="995507" rtl="0" eaLnBrk="1" latinLnBrk="0" hangingPunct="1">
      <a:defRPr sz="1306" kern="1200">
        <a:solidFill>
          <a:schemeClr val="tx1"/>
        </a:solidFill>
        <a:latin typeface="+mn-lt"/>
        <a:ea typeface="+mn-ea"/>
        <a:cs typeface="+mn-cs"/>
      </a:defRPr>
    </a:lvl7pPr>
    <a:lvl8pPr marL="3484275" algn="l" defTabSz="995507" rtl="0" eaLnBrk="1" latinLnBrk="0" hangingPunct="1">
      <a:defRPr sz="1306" kern="1200">
        <a:solidFill>
          <a:schemeClr val="tx1"/>
        </a:solidFill>
        <a:latin typeface="+mn-lt"/>
        <a:ea typeface="+mn-ea"/>
        <a:cs typeface="+mn-cs"/>
      </a:defRPr>
    </a:lvl8pPr>
    <a:lvl9pPr marL="3982029" algn="l" defTabSz="995507" rtl="0" eaLnBrk="1" latinLnBrk="0" hangingPunct="1">
      <a:defRPr sz="130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t>Map of </a:t>
            </a:r>
          </a:p>
          <a:p>
            <a:r>
              <a:rPr lang="en-US" b="0" dirty="0"/>
              <a:t>Lot Boundaries </a:t>
            </a:r>
          </a:p>
          <a:p>
            <a:pPr marL="0" marR="0" lvl="0" indent="0" algn="l" defTabSz="995507" rtl="0" eaLnBrk="1" fontAlgn="auto" latinLnBrk="0" hangingPunct="1">
              <a:lnSpc>
                <a:spcPct val="100000"/>
              </a:lnSpc>
              <a:spcBef>
                <a:spcPts val="0"/>
              </a:spcBef>
              <a:spcAft>
                <a:spcPts val="0"/>
              </a:spcAft>
              <a:buClrTx/>
              <a:buSzTx/>
              <a:buFontTx/>
              <a:buNone/>
              <a:tabLst/>
              <a:defRPr/>
            </a:pPr>
            <a:r>
              <a:rPr lang="en-AU" sz="1400" b="1" dirty="0"/>
              <a:t>Private property</a:t>
            </a:r>
          </a:p>
          <a:p>
            <a:r>
              <a:rPr lang="en-AU" sz="1400" dirty="0"/>
              <a:t>Zone set aside for the </a:t>
            </a:r>
            <a:r>
              <a:rPr lang="en-AU" sz="1400" b="1" dirty="0"/>
              <a:t>protection of the tree</a:t>
            </a:r>
          </a:p>
          <a:p>
            <a:pPr marL="0" marR="0" lvl="0" indent="0" algn="l" defTabSz="995507" rtl="0" eaLnBrk="1" fontAlgn="auto" latinLnBrk="0" hangingPunct="1">
              <a:lnSpc>
                <a:spcPct val="100000"/>
              </a:lnSpc>
              <a:spcBef>
                <a:spcPts val="0"/>
              </a:spcBef>
              <a:spcAft>
                <a:spcPts val="0"/>
              </a:spcAft>
              <a:buClrTx/>
              <a:buSzTx/>
              <a:buFontTx/>
              <a:buNone/>
              <a:tabLst/>
              <a:defRPr/>
            </a:pPr>
            <a:r>
              <a:rPr lang="en-AU" sz="1400" b="1" dirty="0"/>
              <a:t>Outbuilding/store</a:t>
            </a:r>
          </a:p>
          <a:p>
            <a:pPr marL="0" marR="0" lvl="0" indent="0" algn="l" defTabSz="995507" rtl="0" eaLnBrk="1" fontAlgn="auto" latinLnBrk="0" hangingPunct="1">
              <a:lnSpc>
                <a:spcPct val="100000"/>
              </a:lnSpc>
              <a:spcBef>
                <a:spcPts val="0"/>
              </a:spcBef>
              <a:spcAft>
                <a:spcPts val="0"/>
              </a:spcAft>
              <a:buClrTx/>
              <a:buSzTx/>
              <a:buFontTx/>
              <a:buNone/>
              <a:tabLst/>
              <a:defRPr/>
            </a:pPr>
            <a:r>
              <a:rPr lang="en-AU" sz="1400" b="0" dirty="0"/>
              <a:t>Access</a:t>
            </a:r>
          </a:p>
          <a:p>
            <a:pPr marL="0" marR="0" lvl="0" indent="0" algn="l" defTabSz="995507" rtl="0" eaLnBrk="1" fontAlgn="auto" latinLnBrk="0" hangingPunct="1">
              <a:lnSpc>
                <a:spcPct val="100000"/>
              </a:lnSpc>
              <a:spcBef>
                <a:spcPts val="0"/>
              </a:spcBef>
              <a:spcAft>
                <a:spcPts val="0"/>
              </a:spcAft>
              <a:buClrTx/>
              <a:buSzTx/>
              <a:buFontTx/>
              <a:buNone/>
              <a:tabLst/>
              <a:defRPr/>
            </a:pPr>
            <a:r>
              <a:rPr lang="en-AU" sz="1400" b="1" dirty="0"/>
              <a:t>Trafficable width: </a:t>
            </a:r>
            <a:r>
              <a:rPr lang="en-AU" sz="1400" dirty="0"/>
              <a:t>sufficiently wide road for emergency vehicles (~3.5m)</a:t>
            </a:r>
          </a:p>
          <a:p>
            <a:pPr marL="0" marR="0" lvl="0" indent="0" algn="l" defTabSz="995507" rtl="0" eaLnBrk="1" fontAlgn="auto" latinLnBrk="0" hangingPunct="1">
              <a:lnSpc>
                <a:spcPct val="100000"/>
              </a:lnSpc>
              <a:spcBef>
                <a:spcPts val="0"/>
              </a:spcBef>
              <a:spcAft>
                <a:spcPts val="0"/>
              </a:spcAft>
              <a:buClrTx/>
              <a:buSzTx/>
              <a:buFontTx/>
              <a:buNone/>
              <a:tabLst/>
              <a:defRPr/>
            </a:pPr>
            <a:r>
              <a:rPr lang="en-AU" sz="1400" b="0" dirty="0"/>
              <a:t>Crossover</a:t>
            </a:r>
          </a:p>
          <a:p>
            <a:pPr marL="0" marR="0" lvl="0" indent="0" algn="l" defTabSz="995507" rtl="0" eaLnBrk="1" fontAlgn="auto" latinLnBrk="0" hangingPunct="1">
              <a:lnSpc>
                <a:spcPct val="100000"/>
              </a:lnSpc>
              <a:spcBef>
                <a:spcPts val="0"/>
              </a:spcBef>
              <a:spcAft>
                <a:spcPts val="0"/>
              </a:spcAft>
              <a:buClrTx/>
              <a:buSzTx/>
              <a:buFontTx/>
              <a:buNone/>
              <a:tabLst/>
              <a:defRPr/>
            </a:pPr>
            <a:r>
              <a:rPr lang="en-AU" sz="1400" b="1" dirty="0"/>
              <a:t>Effluent disposal area: </a:t>
            </a:r>
            <a:r>
              <a:rPr lang="en-AU" sz="1400" dirty="0"/>
              <a:t>set aside for the treatment of wastewater</a:t>
            </a:r>
          </a:p>
          <a:p>
            <a:pPr marL="0" marR="0" lvl="0" indent="0" algn="l" defTabSz="995507" rtl="0" eaLnBrk="1" fontAlgn="auto" latinLnBrk="0" hangingPunct="1">
              <a:lnSpc>
                <a:spcPct val="100000"/>
              </a:lnSpc>
              <a:spcBef>
                <a:spcPts val="0"/>
              </a:spcBef>
              <a:spcAft>
                <a:spcPts val="0"/>
              </a:spcAft>
              <a:buClrTx/>
              <a:buSzTx/>
              <a:buFontTx/>
              <a:buNone/>
              <a:tabLst/>
              <a:defRPr/>
            </a:pPr>
            <a:r>
              <a:rPr lang="en-AU" sz="1400" b="1" dirty="0"/>
              <a:t>Dwelling: </a:t>
            </a:r>
            <a:r>
              <a:rPr lang="en-AU" sz="1400" dirty="0"/>
              <a:t>A self-contained building with kitchen and sanitation facilities</a:t>
            </a:r>
          </a:p>
          <a:p>
            <a:pPr marL="0" marR="0" lvl="0" indent="0" algn="l" defTabSz="995507" rtl="0" eaLnBrk="1" fontAlgn="auto" latinLnBrk="0" hangingPunct="1">
              <a:lnSpc>
                <a:spcPct val="100000"/>
              </a:lnSpc>
              <a:spcBef>
                <a:spcPts val="0"/>
              </a:spcBef>
              <a:spcAft>
                <a:spcPts val="0"/>
              </a:spcAft>
              <a:buClrTx/>
              <a:buSzTx/>
              <a:buFontTx/>
              <a:buNone/>
              <a:tabLst/>
              <a:defRPr/>
            </a:pPr>
            <a:r>
              <a:rPr lang="en-US" altLang="en-US" sz="1400" dirty="0">
                <a:solidFill>
                  <a:srgbClr val="000000"/>
                </a:solidFill>
              </a:rPr>
              <a:t>Proposed for </a:t>
            </a:r>
            <a:r>
              <a:rPr lang="en-US" altLang="en-US" sz="1400" b="1" dirty="0">
                <a:solidFill>
                  <a:srgbClr val="000000"/>
                </a:solidFill>
              </a:rPr>
              <a:t>vegetation removal</a:t>
            </a:r>
          </a:p>
          <a:p>
            <a:pPr marL="0" marR="0" lvl="0" indent="0" algn="l" defTabSz="995507" rtl="0" eaLnBrk="1" fontAlgn="auto" latinLnBrk="0" hangingPunct="1">
              <a:lnSpc>
                <a:spcPct val="100000"/>
              </a:lnSpc>
              <a:spcBef>
                <a:spcPts val="0"/>
              </a:spcBef>
              <a:spcAft>
                <a:spcPts val="0"/>
              </a:spcAft>
              <a:buClrTx/>
              <a:buSzTx/>
              <a:buFontTx/>
              <a:buNone/>
              <a:tabLst/>
              <a:defRPr/>
            </a:pPr>
            <a:r>
              <a:rPr lang="en-US" altLang="en-US" sz="1400" b="1" dirty="0">
                <a:solidFill>
                  <a:srgbClr val="000000"/>
                </a:solidFill>
              </a:rPr>
              <a:t>Footpath</a:t>
            </a:r>
          </a:p>
          <a:p>
            <a:pPr marL="0" marR="0" lvl="0" indent="0" algn="l" defTabSz="995507" rtl="0" eaLnBrk="1" fontAlgn="auto" latinLnBrk="0" hangingPunct="1">
              <a:lnSpc>
                <a:spcPct val="100000"/>
              </a:lnSpc>
              <a:spcBef>
                <a:spcPts val="0"/>
              </a:spcBef>
              <a:spcAft>
                <a:spcPts val="0"/>
              </a:spcAft>
              <a:buClrTx/>
              <a:buSzTx/>
              <a:buFontTx/>
              <a:buNone/>
              <a:tabLst/>
              <a:defRPr/>
            </a:pPr>
            <a:r>
              <a:rPr lang="en-US" altLang="en-US" sz="1400" b="1" dirty="0">
                <a:solidFill>
                  <a:srgbClr val="000000"/>
                </a:solidFill>
              </a:rPr>
              <a:t>Nature strip</a:t>
            </a:r>
          </a:p>
          <a:p>
            <a:pPr marL="0" marR="0" lvl="0" indent="0" algn="l" defTabSz="995507" rtl="0" eaLnBrk="1" fontAlgn="auto" latinLnBrk="0" hangingPunct="1">
              <a:lnSpc>
                <a:spcPct val="100000"/>
              </a:lnSpc>
              <a:spcBef>
                <a:spcPts val="0"/>
              </a:spcBef>
              <a:spcAft>
                <a:spcPts val="0"/>
              </a:spcAft>
              <a:buClrTx/>
              <a:buSzTx/>
              <a:buFontTx/>
              <a:buNone/>
              <a:tabLst/>
              <a:defRPr/>
            </a:pPr>
            <a:r>
              <a:rPr lang="en-US" altLang="en-US" sz="1400" b="1" dirty="0" err="1">
                <a:solidFill>
                  <a:srgbClr val="000000"/>
                </a:solidFill>
              </a:rPr>
              <a:t>Kerb</a:t>
            </a:r>
            <a:endParaRPr lang="en-US" altLang="en-US" sz="1400" b="1" dirty="0">
              <a:solidFill>
                <a:srgbClr val="000000"/>
              </a:solidFill>
            </a:endParaRPr>
          </a:p>
          <a:p>
            <a:pPr marL="0" marR="0" lvl="0" indent="0" algn="l" defTabSz="995507" rtl="0" eaLnBrk="1" fontAlgn="auto" latinLnBrk="0" hangingPunct="1">
              <a:lnSpc>
                <a:spcPct val="100000"/>
              </a:lnSpc>
              <a:spcBef>
                <a:spcPts val="0"/>
              </a:spcBef>
              <a:spcAft>
                <a:spcPts val="0"/>
              </a:spcAft>
              <a:buClrTx/>
              <a:buSzTx/>
              <a:buFontTx/>
              <a:buNone/>
              <a:tabLst/>
              <a:defRPr/>
            </a:pPr>
            <a:r>
              <a:rPr lang="en-AU" sz="1400" b="1" dirty="0"/>
              <a:t>Easement: </a:t>
            </a:r>
            <a:r>
              <a:rPr lang="en-AU" sz="1400" dirty="0"/>
              <a:t>area with restrictions and rights attached</a:t>
            </a:r>
          </a:p>
          <a:p>
            <a:pPr marL="0" marR="0" lvl="0" indent="0" algn="l" defTabSz="995507" rtl="0" eaLnBrk="1" fontAlgn="auto" latinLnBrk="0" hangingPunct="1">
              <a:lnSpc>
                <a:spcPct val="100000"/>
              </a:lnSpc>
              <a:spcBef>
                <a:spcPts val="0"/>
              </a:spcBef>
              <a:spcAft>
                <a:spcPts val="0"/>
              </a:spcAft>
              <a:buClrTx/>
              <a:buSzTx/>
              <a:buFontTx/>
              <a:buNone/>
              <a:tabLst/>
              <a:defRPr/>
            </a:pPr>
            <a:r>
              <a:rPr lang="en-US" altLang="en-US" sz="1400" b="1" dirty="0">
                <a:solidFill>
                  <a:srgbClr val="000000"/>
                </a:solidFill>
              </a:rPr>
              <a:t>Reticulated water supply</a:t>
            </a:r>
          </a:p>
          <a:p>
            <a:pPr marL="0" marR="0" lvl="0" indent="0" algn="l" defTabSz="995507" rtl="0" eaLnBrk="1" fontAlgn="auto" latinLnBrk="0" hangingPunct="1">
              <a:lnSpc>
                <a:spcPct val="100000"/>
              </a:lnSpc>
              <a:spcBef>
                <a:spcPts val="0"/>
              </a:spcBef>
              <a:spcAft>
                <a:spcPts val="0"/>
              </a:spcAft>
              <a:buClrTx/>
              <a:buSzTx/>
              <a:buFontTx/>
              <a:buNone/>
              <a:tabLst/>
              <a:defRPr/>
            </a:pPr>
            <a:r>
              <a:rPr lang="en-US" altLang="en-US" sz="1400" b="1" dirty="0">
                <a:solidFill>
                  <a:srgbClr val="000000"/>
                </a:solidFill>
              </a:rPr>
              <a:t>Setbacks</a:t>
            </a:r>
            <a:r>
              <a:rPr lang="en-US" altLang="en-US" sz="1400" dirty="0">
                <a:solidFill>
                  <a:srgbClr val="000000"/>
                </a:solidFill>
              </a:rPr>
              <a:t>: the distance to the lot boundary</a:t>
            </a:r>
            <a:endParaRPr lang="en-US" altLang="en-US" sz="1400" dirty="0"/>
          </a:p>
          <a:p>
            <a:pPr marL="0" marR="0" lvl="0" indent="0" algn="l" defTabSz="995507" rtl="0" eaLnBrk="1" fontAlgn="auto" latinLnBrk="0" hangingPunct="1">
              <a:lnSpc>
                <a:spcPct val="100000"/>
              </a:lnSpc>
              <a:spcBef>
                <a:spcPts val="0"/>
              </a:spcBef>
              <a:spcAft>
                <a:spcPts val="0"/>
              </a:spcAft>
              <a:buClrTx/>
              <a:buSzTx/>
              <a:buFontTx/>
              <a:buNone/>
              <a:tabLst/>
              <a:defRPr/>
            </a:pPr>
            <a:r>
              <a:rPr lang="en-AU" sz="1400" b="1" dirty="0"/>
              <a:t>Road reserve</a:t>
            </a:r>
          </a:p>
          <a:p>
            <a:pPr marL="0" marR="0" lvl="0" indent="0" algn="l" defTabSz="995507" rtl="0" eaLnBrk="1" fontAlgn="auto" latinLnBrk="0" hangingPunct="1">
              <a:lnSpc>
                <a:spcPct val="100000"/>
              </a:lnSpc>
              <a:spcBef>
                <a:spcPts val="0"/>
              </a:spcBef>
              <a:spcAft>
                <a:spcPts val="0"/>
              </a:spcAft>
              <a:buClrTx/>
              <a:buSzTx/>
              <a:buFontTx/>
              <a:buNone/>
              <a:tabLst/>
              <a:defRPr/>
            </a:pPr>
            <a:endParaRPr lang="en-US" altLang="en-US" sz="1400" dirty="0"/>
          </a:p>
          <a:p>
            <a:pPr marL="0" marR="0" lvl="0" indent="0" algn="l" defTabSz="995507" rtl="0" eaLnBrk="1" fontAlgn="auto" latinLnBrk="0" hangingPunct="1">
              <a:lnSpc>
                <a:spcPct val="100000"/>
              </a:lnSpc>
              <a:spcBef>
                <a:spcPts val="0"/>
              </a:spcBef>
              <a:spcAft>
                <a:spcPts val="0"/>
              </a:spcAft>
              <a:buClrTx/>
              <a:buSzTx/>
              <a:buFontTx/>
              <a:buNone/>
              <a:tabLst/>
              <a:defRPr/>
            </a:pPr>
            <a:endParaRPr lang="en-AU" sz="1400" dirty="0"/>
          </a:p>
          <a:p>
            <a:pPr marL="0" marR="0" lvl="0" indent="0" algn="l" defTabSz="995507" rtl="0" eaLnBrk="1" fontAlgn="auto" latinLnBrk="0" hangingPunct="1">
              <a:lnSpc>
                <a:spcPct val="100000"/>
              </a:lnSpc>
              <a:spcBef>
                <a:spcPts val="0"/>
              </a:spcBef>
              <a:spcAft>
                <a:spcPts val="0"/>
              </a:spcAft>
              <a:buClrTx/>
              <a:buSzTx/>
              <a:buFontTx/>
              <a:buNone/>
              <a:tabLst/>
              <a:defRPr/>
            </a:pPr>
            <a:endParaRPr lang="en-US" altLang="en-US" sz="1400" b="1" dirty="0">
              <a:solidFill>
                <a:srgbClr val="000000"/>
              </a:solidFill>
            </a:endParaRPr>
          </a:p>
          <a:p>
            <a:pPr marL="0" marR="0" lvl="0" indent="0" algn="l" defTabSz="995507" rtl="0" eaLnBrk="1" fontAlgn="auto" latinLnBrk="0" hangingPunct="1">
              <a:lnSpc>
                <a:spcPct val="100000"/>
              </a:lnSpc>
              <a:spcBef>
                <a:spcPts val="0"/>
              </a:spcBef>
              <a:spcAft>
                <a:spcPts val="0"/>
              </a:spcAft>
              <a:buClrTx/>
              <a:buSzTx/>
              <a:buFontTx/>
              <a:buNone/>
              <a:tabLst/>
              <a:defRPr/>
            </a:pPr>
            <a:endParaRPr lang="en-US" altLang="en-US" sz="1400" b="1" dirty="0"/>
          </a:p>
          <a:p>
            <a:pPr marL="0" marR="0" lvl="0" indent="0" algn="l" defTabSz="995507" rtl="0" eaLnBrk="1" fontAlgn="auto" latinLnBrk="0" hangingPunct="1">
              <a:lnSpc>
                <a:spcPct val="100000"/>
              </a:lnSpc>
              <a:spcBef>
                <a:spcPts val="0"/>
              </a:spcBef>
              <a:spcAft>
                <a:spcPts val="0"/>
              </a:spcAft>
              <a:buClrTx/>
              <a:buSzTx/>
              <a:buFontTx/>
              <a:buNone/>
              <a:tabLst/>
              <a:defRPr/>
            </a:pPr>
            <a:endParaRPr lang="en-AU" sz="1400" dirty="0"/>
          </a:p>
          <a:p>
            <a:pPr marL="0" marR="0" lvl="0" indent="0" algn="l" defTabSz="995507" rtl="0" eaLnBrk="1" fontAlgn="auto" latinLnBrk="0" hangingPunct="1">
              <a:lnSpc>
                <a:spcPct val="100000"/>
              </a:lnSpc>
              <a:spcBef>
                <a:spcPts val="0"/>
              </a:spcBef>
              <a:spcAft>
                <a:spcPts val="0"/>
              </a:spcAft>
              <a:buClrTx/>
              <a:buSzTx/>
              <a:buFontTx/>
              <a:buNone/>
              <a:tabLst/>
              <a:defRPr/>
            </a:pPr>
            <a:endParaRPr lang="en-AU" sz="1400" dirty="0"/>
          </a:p>
          <a:p>
            <a:pPr marL="0" marR="0" lvl="0" indent="0" algn="l" defTabSz="995507" rtl="0" eaLnBrk="1" fontAlgn="auto" latinLnBrk="0" hangingPunct="1">
              <a:lnSpc>
                <a:spcPct val="100000"/>
              </a:lnSpc>
              <a:spcBef>
                <a:spcPts val="0"/>
              </a:spcBef>
              <a:spcAft>
                <a:spcPts val="0"/>
              </a:spcAft>
              <a:buClrTx/>
              <a:buSzTx/>
              <a:buFontTx/>
              <a:buNone/>
              <a:tabLst/>
              <a:defRPr/>
            </a:pPr>
            <a:endParaRPr lang="en-AU" sz="1400" b="0" dirty="0"/>
          </a:p>
          <a:p>
            <a:pPr marL="0" marR="0" lvl="0" indent="0" algn="l" defTabSz="995507" rtl="0" eaLnBrk="1" fontAlgn="auto" latinLnBrk="0" hangingPunct="1">
              <a:lnSpc>
                <a:spcPct val="100000"/>
              </a:lnSpc>
              <a:spcBef>
                <a:spcPts val="0"/>
              </a:spcBef>
              <a:spcAft>
                <a:spcPts val="0"/>
              </a:spcAft>
              <a:buClrTx/>
              <a:buSzTx/>
              <a:buFontTx/>
              <a:buNone/>
              <a:tabLst/>
              <a:defRPr/>
            </a:pPr>
            <a:endParaRPr lang="en-AU" sz="1400" b="0" dirty="0"/>
          </a:p>
          <a:p>
            <a:endParaRPr lang="en-US" b="0" dirty="0"/>
          </a:p>
          <a:p>
            <a:endParaRPr lang="en-ID" b="0" dirty="0"/>
          </a:p>
        </p:txBody>
      </p:sp>
      <p:sp>
        <p:nvSpPr>
          <p:cNvPr id="4" name="Slide Number Placeholder 3"/>
          <p:cNvSpPr>
            <a:spLocks noGrp="1"/>
          </p:cNvSpPr>
          <p:nvPr>
            <p:ph type="sldNum" sz="quarter" idx="5"/>
          </p:nvPr>
        </p:nvSpPr>
        <p:spPr/>
        <p:txBody>
          <a:bodyPr/>
          <a:lstStyle/>
          <a:p>
            <a:fld id="{4A4C1774-FB25-401F-8CDD-2DAF6D4705F7}" type="slidenum">
              <a:rPr lang="en-AU" smtClean="0"/>
              <a:t>7</a:t>
            </a:fld>
            <a:endParaRPr lang="en-AU"/>
          </a:p>
        </p:txBody>
      </p:sp>
    </p:spTree>
    <p:extLst>
      <p:ext uri="{BB962C8B-B14F-4D97-AF65-F5344CB8AC3E}">
        <p14:creationId xmlns:p14="http://schemas.microsoft.com/office/powerpoint/2010/main" val="367431791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51" name="Free-form: Shape 50">
            <a:extLst>
              <a:ext uri="{FF2B5EF4-FFF2-40B4-BE49-F238E27FC236}">
                <a16:creationId xmlns:a16="http://schemas.microsoft.com/office/drawing/2014/main" id="{15537C9B-4C25-A668-540C-915BC5DCFBDF}"/>
              </a:ext>
            </a:extLst>
          </p:cNvPr>
          <p:cNvSpPr/>
          <p:nvPr userDrawn="1"/>
        </p:nvSpPr>
        <p:spPr>
          <a:xfrm>
            <a:off x="1" y="3482012"/>
            <a:ext cx="7565036" cy="6224263"/>
          </a:xfrm>
          <a:custGeom>
            <a:avLst/>
            <a:gdLst>
              <a:gd name="connsiteX0" fmla="*/ 0 w 8820023"/>
              <a:gd name="connsiteY0" fmla="*/ 0 h 3990721"/>
              <a:gd name="connsiteX1" fmla="*/ 8820023 w 8820023"/>
              <a:gd name="connsiteY1" fmla="*/ 0 h 3990721"/>
              <a:gd name="connsiteX2" fmla="*/ 8820023 w 8820023"/>
              <a:gd name="connsiteY2" fmla="*/ 3990721 h 3990721"/>
              <a:gd name="connsiteX3" fmla="*/ 0 w 8820023"/>
              <a:gd name="connsiteY3" fmla="*/ 3990721 h 3990721"/>
            </a:gdLst>
            <a:ahLst/>
            <a:cxnLst>
              <a:cxn ang="0">
                <a:pos x="connsiteX0" y="connsiteY0"/>
              </a:cxn>
              <a:cxn ang="0">
                <a:pos x="connsiteX1" y="connsiteY1"/>
              </a:cxn>
              <a:cxn ang="0">
                <a:pos x="connsiteX2" y="connsiteY2"/>
              </a:cxn>
              <a:cxn ang="0">
                <a:pos x="connsiteX3" y="connsiteY3"/>
              </a:cxn>
            </a:cxnLst>
            <a:rect l="l" t="t" r="r" b="b"/>
            <a:pathLst>
              <a:path w="8820023" h="3990721">
                <a:moveTo>
                  <a:pt x="0" y="0"/>
                </a:moveTo>
                <a:lnTo>
                  <a:pt x="8820023" y="0"/>
                </a:lnTo>
                <a:lnTo>
                  <a:pt x="8820023" y="3990721"/>
                </a:lnTo>
                <a:lnTo>
                  <a:pt x="0" y="3990721"/>
                </a:lnTo>
                <a:close/>
              </a:path>
            </a:pathLst>
          </a:custGeom>
          <a:solidFill>
            <a:srgbClr val="E0EDF8"/>
          </a:solidFill>
          <a:ln w="6350" cap="flat">
            <a:noFill/>
            <a:prstDash val="solid"/>
            <a:miter/>
          </a:ln>
        </p:spPr>
        <p:txBody>
          <a:bodyPr rtlCol="0" anchor="ctr"/>
          <a:lstStyle/>
          <a:p>
            <a:pPr lvl="0"/>
            <a:endParaRPr lang="en-AU" sz="1457">
              <a:solidFill>
                <a:schemeClr val="accent6"/>
              </a:solidFill>
            </a:endParaRPr>
          </a:p>
        </p:txBody>
      </p:sp>
      <p:sp>
        <p:nvSpPr>
          <p:cNvPr id="24" name="Subtitle 2">
            <a:extLst>
              <a:ext uri="{FF2B5EF4-FFF2-40B4-BE49-F238E27FC236}">
                <a16:creationId xmlns:a16="http://schemas.microsoft.com/office/drawing/2014/main" id="{6B334685-C921-7BF8-BD42-E66D7F73CDEC}"/>
              </a:ext>
            </a:extLst>
          </p:cNvPr>
          <p:cNvSpPr>
            <a:spLocks noGrp="1"/>
          </p:cNvSpPr>
          <p:nvPr>
            <p:ph type="subTitle" idx="1" hasCustomPrompt="1"/>
          </p:nvPr>
        </p:nvSpPr>
        <p:spPr>
          <a:xfrm>
            <a:off x="401607" y="869373"/>
            <a:ext cx="3794719" cy="2245000"/>
          </a:xfrm>
        </p:spPr>
        <p:txBody>
          <a:bodyPr/>
          <a:lstStyle>
            <a:lvl1pPr marL="0" indent="0" algn="l">
              <a:buNone/>
              <a:defRPr sz="2509" b="0">
                <a:solidFill>
                  <a:schemeClr val="accent6"/>
                </a:solidFill>
              </a:defRPr>
            </a:lvl1pPr>
            <a:lvl2pPr marL="0" indent="0" algn="l">
              <a:buNone/>
              <a:defRPr sz="1862" b="0">
                <a:solidFill>
                  <a:schemeClr val="accent6"/>
                </a:solidFill>
              </a:defRPr>
            </a:lvl2pPr>
            <a:lvl3pPr marL="0" indent="0" algn="l">
              <a:buNone/>
              <a:defRPr sz="1862" b="0">
                <a:solidFill>
                  <a:schemeClr val="accent6"/>
                </a:solidFill>
              </a:defRPr>
            </a:lvl3pPr>
            <a:lvl4pPr marL="0" indent="0" algn="l">
              <a:buNone/>
              <a:defRPr sz="1862" b="0">
                <a:solidFill>
                  <a:schemeClr val="accent6"/>
                </a:solidFill>
              </a:defRPr>
            </a:lvl4pPr>
            <a:lvl5pPr marL="0" indent="0" algn="l">
              <a:buNone/>
              <a:defRPr sz="1862" b="0">
                <a:solidFill>
                  <a:schemeClr val="accent6"/>
                </a:solidFill>
              </a:defRPr>
            </a:lvl5pPr>
            <a:lvl6pPr marL="0" indent="0" algn="l">
              <a:buNone/>
              <a:defRPr sz="1862" b="0">
                <a:solidFill>
                  <a:schemeClr val="accent6"/>
                </a:solidFill>
              </a:defRPr>
            </a:lvl6pPr>
            <a:lvl7pPr marL="0" indent="0" algn="l">
              <a:buNone/>
              <a:defRPr sz="1862" b="0">
                <a:solidFill>
                  <a:schemeClr val="accent6"/>
                </a:solidFill>
              </a:defRPr>
            </a:lvl7pPr>
            <a:lvl8pPr marL="0" indent="0" algn="l">
              <a:buNone/>
              <a:defRPr sz="1862" b="0">
                <a:solidFill>
                  <a:schemeClr val="accent6"/>
                </a:solidFill>
              </a:defRPr>
            </a:lvl8pPr>
            <a:lvl9pPr marL="0" indent="0" algn="l">
              <a:buNone/>
              <a:defRPr sz="1862" b="0">
                <a:solidFill>
                  <a:schemeClr val="accent6"/>
                </a:solidFill>
              </a:defRPr>
            </a:lvl9pPr>
          </a:lstStyle>
          <a:p>
            <a:r>
              <a:rPr lang="en-AU"/>
              <a:t>Title heading-first level</a:t>
            </a:r>
            <a:endParaRPr lang="en-GB"/>
          </a:p>
          <a:p>
            <a:pPr lvl="1"/>
            <a:r>
              <a:rPr lang="en-US"/>
              <a:t>Subheading-second level</a:t>
            </a:r>
            <a:endParaRPr lang="en-GB"/>
          </a:p>
        </p:txBody>
      </p:sp>
      <p:sp>
        <p:nvSpPr>
          <p:cNvPr id="8" name="Footer Placeholder 7">
            <a:extLst>
              <a:ext uri="{FF2B5EF4-FFF2-40B4-BE49-F238E27FC236}">
                <a16:creationId xmlns:a16="http://schemas.microsoft.com/office/drawing/2014/main" id="{A3DD9C57-C900-FB86-2C43-875E69AA3398}"/>
              </a:ext>
            </a:extLst>
          </p:cNvPr>
          <p:cNvSpPr>
            <a:spLocks noGrp="1"/>
          </p:cNvSpPr>
          <p:nvPr>
            <p:ph type="ftr" sz="quarter" idx="11"/>
          </p:nvPr>
        </p:nvSpPr>
        <p:spPr/>
        <p:txBody>
          <a:bodyPr/>
          <a:lstStyle>
            <a:lvl1pPr>
              <a:defRPr>
                <a:solidFill>
                  <a:schemeClr val="accent6"/>
                </a:solidFill>
              </a:defRPr>
            </a:lvl1pPr>
          </a:lstStyle>
          <a:p>
            <a:r>
              <a:rPr lang="en-GB"/>
              <a:t>To add a Footer, select 'Insert &gt; Header &amp; Footer'</a:t>
            </a:r>
          </a:p>
        </p:txBody>
      </p:sp>
      <p:sp>
        <p:nvSpPr>
          <p:cNvPr id="9" name="Slide Number Placeholder 8">
            <a:extLst>
              <a:ext uri="{FF2B5EF4-FFF2-40B4-BE49-F238E27FC236}">
                <a16:creationId xmlns:a16="http://schemas.microsoft.com/office/drawing/2014/main" id="{625E74D0-2044-8BDA-EA8E-0C5A69005427}"/>
              </a:ext>
            </a:extLst>
          </p:cNvPr>
          <p:cNvSpPr>
            <a:spLocks noGrp="1"/>
          </p:cNvSpPr>
          <p:nvPr>
            <p:ph type="sldNum" sz="quarter" idx="12"/>
          </p:nvPr>
        </p:nvSpPr>
        <p:spPr/>
        <p:txBody>
          <a:bodyPr/>
          <a:lstStyle>
            <a:lvl1pPr>
              <a:defRPr>
                <a:solidFill>
                  <a:schemeClr val="accent6"/>
                </a:solidFill>
              </a:defRPr>
            </a:lvl1pPr>
          </a:lstStyle>
          <a:p>
            <a:r>
              <a:rPr lang="en-GB"/>
              <a:t>Page </a:t>
            </a:r>
            <a:fld id="{F5AEA0E0-5CC6-4BD0-905C-A0021E419432}" type="slidenum">
              <a:rPr lang="en-GB" smtClean="0"/>
              <a:pPr/>
              <a:t>‹#›</a:t>
            </a:fld>
            <a:endParaRPr lang="en-GB"/>
          </a:p>
        </p:txBody>
      </p:sp>
      <p:pic>
        <p:nvPicPr>
          <p:cNvPr id="19" name="Graphic 18">
            <a:extLst>
              <a:ext uri="{FF2B5EF4-FFF2-40B4-BE49-F238E27FC236}">
                <a16:creationId xmlns:a16="http://schemas.microsoft.com/office/drawing/2014/main" id="{28DD7BC2-4298-2530-CB9E-B3B21FD37D0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873550" y="1410571"/>
            <a:ext cx="1386890" cy="803256"/>
          </a:xfrm>
          <a:prstGeom prst="rect">
            <a:avLst/>
          </a:prstGeom>
        </p:spPr>
      </p:pic>
      <p:sp>
        <p:nvSpPr>
          <p:cNvPr id="52" name="Free-form: Shape 51">
            <a:extLst>
              <a:ext uri="{FF2B5EF4-FFF2-40B4-BE49-F238E27FC236}">
                <a16:creationId xmlns:a16="http://schemas.microsoft.com/office/drawing/2014/main" id="{E6AA8BCE-511F-1556-14D4-2884B2E45DD0}"/>
              </a:ext>
            </a:extLst>
          </p:cNvPr>
          <p:cNvSpPr/>
          <p:nvPr userDrawn="1"/>
        </p:nvSpPr>
        <p:spPr>
          <a:xfrm>
            <a:off x="3830870" y="6185"/>
            <a:ext cx="2148943" cy="5175828"/>
          </a:xfrm>
          <a:custGeom>
            <a:avLst/>
            <a:gdLst>
              <a:gd name="connsiteX0" fmla="*/ 2599309 w 2599309"/>
              <a:gd name="connsiteY0" fmla="*/ 0 h 3319907"/>
              <a:gd name="connsiteX1" fmla="*/ 1567307 w 2599309"/>
              <a:gd name="connsiteY1" fmla="*/ 0 h 3319907"/>
              <a:gd name="connsiteX2" fmla="*/ 1161923 w 2599309"/>
              <a:gd name="connsiteY2" fmla="*/ 859155 h 3319907"/>
              <a:gd name="connsiteX3" fmla="*/ 1161161 w 2599309"/>
              <a:gd name="connsiteY3" fmla="*/ 859155 h 3319907"/>
              <a:gd name="connsiteX4" fmla="*/ 0 w 2599309"/>
              <a:gd name="connsiteY4" fmla="*/ 3319907 h 3319907"/>
              <a:gd name="connsiteX5" fmla="*/ 1023366 w 2599309"/>
              <a:gd name="connsiteY5" fmla="*/ 3319907 h 3319907"/>
              <a:gd name="connsiteX6" fmla="*/ 2194560 w 2599309"/>
              <a:gd name="connsiteY6" fmla="*/ 859155 h 3319907"/>
              <a:gd name="connsiteX7" fmla="*/ 2190369 w 2599309"/>
              <a:gd name="connsiteY7" fmla="*/ 859155 h 3319907"/>
              <a:gd name="connsiteX8" fmla="*/ 2599309 w 2599309"/>
              <a:gd name="connsiteY8" fmla="*/ 0 h 3319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99309" h="3319907">
                <a:moveTo>
                  <a:pt x="2599309" y="0"/>
                </a:moveTo>
                <a:lnTo>
                  <a:pt x="1567307" y="0"/>
                </a:lnTo>
                <a:lnTo>
                  <a:pt x="1161923" y="859155"/>
                </a:lnTo>
                <a:lnTo>
                  <a:pt x="1161161" y="859155"/>
                </a:lnTo>
                <a:lnTo>
                  <a:pt x="0" y="3319907"/>
                </a:lnTo>
                <a:lnTo>
                  <a:pt x="1023366" y="3319907"/>
                </a:lnTo>
                <a:lnTo>
                  <a:pt x="2194560" y="859155"/>
                </a:lnTo>
                <a:lnTo>
                  <a:pt x="2190369" y="859155"/>
                </a:lnTo>
                <a:lnTo>
                  <a:pt x="2599309" y="0"/>
                </a:lnTo>
                <a:close/>
              </a:path>
            </a:pathLst>
          </a:custGeom>
          <a:solidFill>
            <a:srgbClr val="CEDC00"/>
          </a:solidFill>
          <a:ln w="12695" cap="flat">
            <a:noFill/>
            <a:prstDash val="solid"/>
            <a:miter/>
          </a:ln>
        </p:spPr>
        <p:txBody>
          <a:bodyPr rtlCol="0" anchor="ctr"/>
          <a:lstStyle/>
          <a:p>
            <a:endParaRPr lang="en-AU" sz="1457">
              <a:solidFill>
                <a:schemeClr val="accent6"/>
              </a:solidFill>
            </a:endParaRPr>
          </a:p>
        </p:txBody>
      </p:sp>
      <p:sp>
        <p:nvSpPr>
          <p:cNvPr id="53" name="Free-form: Shape 52">
            <a:extLst>
              <a:ext uri="{FF2B5EF4-FFF2-40B4-BE49-F238E27FC236}">
                <a16:creationId xmlns:a16="http://schemas.microsoft.com/office/drawing/2014/main" id="{6B539416-25CC-C2D3-72E7-4C65BD51B5A1}"/>
              </a:ext>
            </a:extLst>
          </p:cNvPr>
          <p:cNvSpPr/>
          <p:nvPr userDrawn="1"/>
        </p:nvSpPr>
        <p:spPr>
          <a:xfrm>
            <a:off x="4254527" y="3488744"/>
            <a:ext cx="849728" cy="1693267"/>
          </a:xfrm>
          <a:custGeom>
            <a:avLst/>
            <a:gdLst>
              <a:gd name="connsiteX0" fmla="*/ 510921 w 1027810"/>
              <a:gd name="connsiteY0" fmla="*/ 1086104 h 1086104"/>
              <a:gd name="connsiteX1" fmla="*/ 1027811 w 1027810"/>
              <a:gd name="connsiteY1" fmla="*/ 0 h 1086104"/>
              <a:gd name="connsiteX2" fmla="*/ 0 w 1027810"/>
              <a:gd name="connsiteY2" fmla="*/ 0 h 1086104"/>
              <a:gd name="connsiteX3" fmla="*/ 510921 w 1027810"/>
              <a:gd name="connsiteY3" fmla="*/ 1086104 h 1086104"/>
            </a:gdLst>
            <a:ahLst/>
            <a:cxnLst>
              <a:cxn ang="0">
                <a:pos x="connsiteX0" y="connsiteY0"/>
              </a:cxn>
              <a:cxn ang="0">
                <a:pos x="connsiteX1" y="connsiteY1"/>
              </a:cxn>
              <a:cxn ang="0">
                <a:pos x="connsiteX2" y="connsiteY2"/>
              </a:cxn>
              <a:cxn ang="0">
                <a:pos x="connsiteX3" y="connsiteY3"/>
              </a:cxn>
            </a:cxnLst>
            <a:rect l="l" t="t" r="r" b="b"/>
            <a:pathLst>
              <a:path w="1027810" h="1086104">
                <a:moveTo>
                  <a:pt x="510921" y="1086104"/>
                </a:moveTo>
                <a:lnTo>
                  <a:pt x="1027811" y="0"/>
                </a:lnTo>
                <a:lnTo>
                  <a:pt x="0" y="0"/>
                </a:lnTo>
                <a:cubicBezTo>
                  <a:pt x="0" y="0"/>
                  <a:pt x="510921" y="1086104"/>
                  <a:pt x="510921" y="1086104"/>
                </a:cubicBezTo>
                <a:close/>
              </a:path>
            </a:pathLst>
          </a:custGeom>
          <a:solidFill>
            <a:srgbClr val="FFFFFF">
              <a:alpha val="30000"/>
            </a:srgbClr>
          </a:solidFill>
          <a:ln w="6350" cap="flat">
            <a:noFill/>
            <a:prstDash val="solid"/>
            <a:miter/>
          </a:ln>
        </p:spPr>
        <p:txBody>
          <a:bodyPr rtlCol="0" anchor="ctr"/>
          <a:lstStyle/>
          <a:p>
            <a:pPr lvl="0"/>
            <a:endParaRPr lang="en-AU" sz="1457">
              <a:solidFill>
                <a:schemeClr val="accent6"/>
              </a:solidFill>
            </a:endParaRPr>
          </a:p>
        </p:txBody>
      </p:sp>
      <p:sp>
        <p:nvSpPr>
          <p:cNvPr id="54" name="Free-form: Shape 53">
            <a:extLst>
              <a:ext uri="{FF2B5EF4-FFF2-40B4-BE49-F238E27FC236}">
                <a16:creationId xmlns:a16="http://schemas.microsoft.com/office/drawing/2014/main" id="{AE37A05A-1CA9-47EB-3D17-768B91E48B21}"/>
              </a:ext>
            </a:extLst>
          </p:cNvPr>
          <p:cNvSpPr/>
          <p:nvPr userDrawn="1"/>
        </p:nvSpPr>
        <p:spPr>
          <a:xfrm>
            <a:off x="3408474" y="3488744"/>
            <a:ext cx="1268450" cy="1693267"/>
          </a:xfrm>
          <a:custGeom>
            <a:avLst/>
            <a:gdLst>
              <a:gd name="connsiteX0" fmla="*/ 1534287 w 1534287"/>
              <a:gd name="connsiteY0" fmla="*/ 1086104 h 1086104"/>
              <a:gd name="connsiteX1" fmla="*/ 1023366 w 1534287"/>
              <a:gd name="connsiteY1" fmla="*/ 0 h 1086104"/>
              <a:gd name="connsiteX2" fmla="*/ 0 w 1534287"/>
              <a:gd name="connsiteY2" fmla="*/ 0 h 1086104"/>
              <a:gd name="connsiteX3" fmla="*/ 510921 w 1534287"/>
              <a:gd name="connsiteY3" fmla="*/ 1086104 h 1086104"/>
              <a:gd name="connsiteX4" fmla="*/ 1534287 w 1534287"/>
              <a:gd name="connsiteY4" fmla="*/ 1086104 h 1086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4287" h="1086104">
                <a:moveTo>
                  <a:pt x="1534287" y="1086104"/>
                </a:moveTo>
                <a:lnTo>
                  <a:pt x="1023366" y="0"/>
                </a:lnTo>
                <a:lnTo>
                  <a:pt x="0" y="0"/>
                </a:lnTo>
                <a:cubicBezTo>
                  <a:pt x="0" y="0"/>
                  <a:pt x="510921" y="1086104"/>
                  <a:pt x="510921" y="1086104"/>
                </a:cubicBezTo>
                <a:lnTo>
                  <a:pt x="1534287" y="1086104"/>
                </a:lnTo>
                <a:close/>
              </a:path>
            </a:pathLst>
          </a:custGeom>
          <a:solidFill>
            <a:srgbClr val="FFFFFF">
              <a:alpha val="50000"/>
            </a:srgbClr>
          </a:solidFill>
          <a:ln w="6350" cap="flat">
            <a:noFill/>
            <a:prstDash val="solid"/>
            <a:miter/>
          </a:ln>
        </p:spPr>
        <p:txBody>
          <a:bodyPr rtlCol="0" anchor="ctr"/>
          <a:lstStyle/>
          <a:p>
            <a:pPr lvl="0"/>
            <a:endParaRPr lang="en-AU" sz="1457">
              <a:solidFill>
                <a:schemeClr val="accent6"/>
              </a:solidFill>
            </a:endParaRPr>
          </a:p>
        </p:txBody>
      </p:sp>
      <p:sp>
        <p:nvSpPr>
          <p:cNvPr id="57" name="Free-form: Shape 56">
            <a:extLst>
              <a:ext uri="{FF2B5EF4-FFF2-40B4-BE49-F238E27FC236}">
                <a16:creationId xmlns:a16="http://schemas.microsoft.com/office/drawing/2014/main" id="{6A384F39-0A4B-B0FD-E107-CEA489180716}"/>
              </a:ext>
            </a:extLst>
          </p:cNvPr>
          <p:cNvSpPr/>
          <p:nvPr userDrawn="1"/>
        </p:nvSpPr>
        <p:spPr>
          <a:xfrm>
            <a:off x="5280228" y="7555988"/>
            <a:ext cx="1615881" cy="2154399"/>
          </a:xfrm>
          <a:custGeom>
            <a:avLst/>
            <a:gdLst>
              <a:gd name="connsiteX0" fmla="*/ 0 w 1954530"/>
              <a:gd name="connsiteY0" fmla="*/ 0 h 1381886"/>
              <a:gd name="connsiteX1" fmla="*/ 649478 w 1954530"/>
              <a:gd name="connsiteY1" fmla="*/ 1381887 h 1381886"/>
              <a:gd name="connsiteX2" fmla="*/ 1954530 w 1954530"/>
              <a:gd name="connsiteY2" fmla="*/ 1381887 h 1381886"/>
              <a:gd name="connsiteX3" fmla="*/ 1305052 w 1954530"/>
              <a:gd name="connsiteY3" fmla="*/ 0 h 1381886"/>
              <a:gd name="connsiteX4" fmla="*/ 0 w 1954530"/>
              <a:gd name="connsiteY4" fmla="*/ 0 h 13818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4530" h="1381886">
                <a:moveTo>
                  <a:pt x="0" y="0"/>
                </a:moveTo>
                <a:lnTo>
                  <a:pt x="649478" y="1381887"/>
                </a:lnTo>
                <a:lnTo>
                  <a:pt x="1954530" y="1381887"/>
                </a:lnTo>
                <a:cubicBezTo>
                  <a:pt x="1954530" y="1381887"/>
                  <a:pt x="1305052" y="0"/>
                  <a:pt x="1305052" y="0"/>
                </a:cubicBezTo>
                <a:lnTo>
                  <a:pt x="0" y="0"/>
                </a:lnTo>
                <a:close/>
              </a:path>
            </a:pathLst>
          </a:custGeom>
          <a:solidFill>
            <a:srgbClr val="FFFFFF">
              <a:alpha val="50000"/>
            </a:srgbClr>
          </a:solidFill>
          <a:ln w="6350" cap="flat">
            <a:noFill/>
            <a:prstDash val="solid"/>
            <a:miter/>
          </a:ln>
        </p:spPr>
        <p:txBody>
          <a:bodyPr rtlCol="0" anchor="ctr"/>
          <a:lstStyle/>
          <a:p>
            <a:pPr lvl="0"/>
            <a:endParaRPr lang="en-AU" sz="1457">
              <a:solidFill>
                <a:schemeClr val="accent6"/>
              </a:solidFill>
            </a:endParaRPr>
          </a:p>
        </p:txBody>
      </p:sp>
      <p:sp>
        <p:nvSpPr>
          <p:cNvPr id="66" name="Free-form: Shape 65">
            <a:extLst>
              <a:ext uri="{FF2B5EF4-FFF2-40B4-BE49-F238E27FC236}">
                <a16:creationId xmlns:a16="http://schemas.microsoft.com/office/drawing/2014/main" id="{3A422AEC-8593-2ABB-3C00-C4F91727399C}"/>
              </a:ext>
            </a:extLst>
          </p:cNvPr>
          <p:cNvSpPr/>
          <p:nvPr userDrawn="1"/>
        </p:nvSpPr>
        <p:spPr>
          <a:xfrm>
            <a:off x="4584425" y="7549806"/>
            <a:ext cx="1774739" cy="2763834"/>
          </a:xfrm>
          <a:custGeom>
            <a:avLst/>
            <a:gdLst>
              <a:gd name="connsiteX0" fmla="*/ 841629 w 2146681"/>
              <a:gd name="connsiteY0" fmla="*/ 0 h 1772793"/>
              <a:gd name="connsiteX1" fmla="*/ 185674 w 2146681"/>
              <a:gd name="connsiteY1" fmla="*/ 1381887 h 1772793"/>
              <a:gd name="connsiteX2" fmla="*/ 185674 w 2146681"/>
              <a:gd name="connsiteY2" fmla="*/ 1381887 h 1772793"/>
              <a:gd name="connsiteX3" fmla="*/ 0 w 2146681"/>
              <a:gd name="connsiteY3" fmla="*/ 1772793 h 1772793"/>
              <a:gd name="connsiteX4" fmla="*/ 1305814 w 2146681"/>
              <a:gd name="connsiteY4" fmla="*/ 1772793 h 1772793"/>
              <a:gd name="connsiteX5" fmla="*/ 1491107 w 2146681"/>
              <a:gd name="connsiteY5" fmla="*/ 1381887 h 1772793"/>
              <a:gd name="connsiteX6" fmla="*/ 2146681 w 2146681"/>
              <a:gd name="connsiteY6" fmla="*/ 0 h 1772793"/>
              <a:gd name="connsiteX7" fmla="*/ 841629 w 2146681"/>
              <a:gd name="connsiteY7" fmla="*/ 0 h 1772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46681" h="1772793">
                <a:moveTo>
                  <a:pt x="841629" y="0"/>
                </a:moveTo>
                <a:lnTo>
                  <a:pt x="185674" y="1381887"/>
                </a:lnTo>
                <a:lnTo>
                  <a:pt x="185674" y="1381887"/>
                </a:lnTo>
                <a:lnTo>
                  <a:pt x="0" y="1772793"/>
                </a:lnTo>
                <a:lnTo>
                  <a:pt x="1305814" y="1772793"/>
                </a:lnTo>
                <a:lnTo>
                  <a:pt x="1491107" y="1381887"/>
                </a:lnTo>
                <a:lnTo>
                  <a:pt x="2146681" y="0"/>
                </a:lnTo>
                <a:lnTo>
                  <a:pt x="841629" y="0"/>
                </a:lnTo>
                <a:close/>
              </a:path>
            </a:pathLst>
          </a:custGeom>
          <a:solidFill>
            <a:srgbClr val="00B2A9"/>
          </a:solidFill>
          <a:ln w="12695" cap="flat">
            <a:noFill/>
            <a:prstDash val="solid"/>
            <a:miter/>
          </a:ln>
        </p:spPr>
        <p:txBody>
          <a:bodyPr rtlCol="0" anchor="ctr"/>
          <a:lstStyle/>
          <a:p>
            <a:endParaRPr lang="en-AU" sz="1457">
              <a:solidFill>
                <a:schemeClr val="accent6"/>
              </a:solidFill>
            </a:endParaRPr>
          </a:p>
        </p:txBody>
      </p:sp>
      <p:sp>
        <p:nvSpPr>
          <p:cNvPr id="67" name="Free-form: Shape 66">
            <a:extLst>
              <a:ext uri="{FF2B5EF4-FFF2-40B4-BE49-F238E27FC236}">
                <a16:creationId xmlns:a16="http://schemas.microsoft.com/office/drawing/2014/main" id="{AC33B5E6-8F3D-5E3E-7D9A-EAFBCDBAC63A}"/>
              </a:ext>
            </a:extLst>
          </p:cNvPr>
          <p:cNvSpPr/>
          <p:nvPr userDrawn="1"/>
        </p:nvSpPr>
        <p:spPr>
          <a:xfrm>
            <a:off x="4737929" y="7549805"/>
            <a:ext cx="1079249" cy="2154399"/>
          </a:xfrm>
          <a:custGeom>
            <a:avLst/>
            <a:gdLst>
              <a:gd name="connsiteX0" fmla="*/ 655955 w 1305433"/>
              <a:gd name="connsiteY0" fmla="*/ 0 h 1381886"/>
              <a:gd name="connsiteX1" fmla="*/ 0 w 1305433"/>
              <a:gd name="connsiteY1" fmla="*/ 1381887 h 1381886"/>
              <a:gd name="connsiteX2" fmla="*/ 1305433 w 1305433"/>
              <a:gd name="connsiteY2" fmla="*/ 1381887 h 1381886"/>
              <a:gd name="connsiteX3" fmla="*/ 655955 w 1305433"/>
              <a:gd name="connsiteY3" fmla="*/ 0 h 1381886"/>
            </a:gdLst>
            <a:ahLst/>
            <a:cxnLst>
              <a:cxn ang="0">
                <a:pos x="connsiteX0" y="connsiteY0"/>
              </a:cxn>
              <a:cxn ang="0">
                <a:pos x="connsiteX1" y="connsiteY1"/>
              </a:cxn>
              <a:cxn ang="0">
                <a:pos x="connsiteX2" y="connsiteY2"/>
              </a:cxn>
              <a:cxn ang="0">
                <a:pos x="connsiteX3" y="connsiteY3"/>
              </a:cxn>
            </a:cxnLst>
            <a:rect l="l" t="t" r="r" b="b"/>
            <a:pathLst>
              <a:path w="1305433" h="1381886">
                <a:moveTo>
                  <a:pt x="655955" y="0"/>
                </a:moveTo>
                <a:lnTo>
                  <a:pt x="0" y="1381887"/>
                </a:lnTo>
                <a:lnTo>
                  <a:pt x="1305433" y="1381887"/>
                </a:lnTo>
                <a:lnTo>
                  <a:pt x="655955" y="0"/>
                </a:lnTo>
                <a:close/>
              </a:path>
            </a:pathLst>
          </a:custGeom>
          <a:solidFill>
            <a:srgbClr val="FFFFFF">
              <a:alpha val="30000"/>
            </a:srgbClr>
          </a:solidFill>
          <a:ln w="6350" cap="flat">
            <a:noFill/>
            <a:prstDash val="solid"/>
            <a:miter/>
          </a:ln>
        </p:spPr>
        <p:txBody>
          <a:bodyPr rtlCol="0" anchor="ctr"/>
          <a:lstStyle/>
          <a:p>
            <a:pPr lvl="0"/>
            <a:endParaRPr lang="en-AU" sz="1457">
              <a:solidFill>
                <a:schemeClr val="accent6"/>
              </a:solidFill>
            </a:endParaRPr>
          </a:p>
        </p:txBody>
      </p:sp>
      <p:sp>
        <p:nvSpPr>
          <p:cNvPr id="69" name="Free-form: Shape 68">
            <a:extLst>
              <a:ext uri="{FF2B5EF4-FFF2-40B4-BE49-F238E27FC236}">
                <a16:creationId xmlns:a16="http://schemas.microsoft.com/office/drawing/2014/main" id="{54C5F44E-C5F1-3D65-009F-DB234152592E}"/>
              </a:ext>
            </a:extLst>
          </p:cNvPr>
          <p:cNvSpPr/>
          <p:nvPr userDrawn="1"/>
        </p:nvSpPr>
        <p:spPr>
          <a:xfrm>
            <a:off x="4489929" y="9704206"/>
            <a:ext cx="1327248" cy="987607"/>
          </a:xfrm>
          <a:custGeom>
            <a:avLst/>
            <a:gdLst>
              <a:gd name="connsiteX0" fmla="*/ 1605407 w 1605407"/>
              <a:gd name="connsiteY0" fmla="*/ 0 h 633476"/>
              <a:gd name="connsiteX1" fmla="*/ 299974 w 1605407"/>
              <a:gd name="connsiteY1" fmla="*/ 0 h 633476"/>
              <a:gd name="connsiteX2" fmla="*/ 114300 w 1605407"/>
              <a:gd name="connsiteY2" fmla="*/ 390906 h 633476"/>
              <a:gd name="connsiteX3" fmla="*/ 115189 w 1605407"/>
              <a:gd name="connsiteY3" fmla="*/ 390906 h 633476"/>
              <a:gd name="connsiteX4" fmla="*/ 0 w 1605407"/>
              <a:gd name="connsiteY4" fmla="*/ 633476 h 633476"/>
              <a:gd name="connsiteX5" fmla="*/ 1305814 w 1605407"/>
              <a:gd name="connsiteY5" fmla="*/ 633476 h 633476"/>
              <a:gd name="connsiteX6" fmla="*/ 1490472 w 1605407"/>
              <a:gd name="connsiteY6" fmla="*/ 243713 h 633476"/>
              <a:gd name="connsiteX7" fmla="*/ 1489837 w 1605407"/>
              <a:gd name="connsiteY7" fmla="*/ 243713 h 633476"/>
              <a:gd name="connsiteX8" fmla="*/ 1605407 w 1605407"/>
              <a:gd name="connsiteY8" fmla="*/ 0 h 633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05407" h="633476">
                <a:moveTo>
                  <a:pt x="1605407" y="0"/>
                </a:moveTo>
                <a:lnTo>
                  <a:pt x="299974" y="0"/>
                </a:lnTo>
                <a:lnTo>
                  <a:pt x="114300" y="390906"/>
                </a:lnTo>
                <a:lnTo>
                  <a:pt x="115189" y="390906"/>
                </a:lnTo>
                <a:lnTo>
                  <a:pt x="0" y="633476"/>
                </a:lnTo>
                <a:lnTo>
                  <a:pt x="1305814" y="633476"/>
                </a:lnTo>
                <a:lnTo>
                  <a:pt x="1490472" y="243713"/>
                </a:lnTo>
                <a:lnTo>
                  <a:pt x="1489837" y="243713"/>
                </a:lnTo>
                <a:lnTo>
                  <a:pt x="1605407" y="0"/>
                </a:lnTo>
                <a:close/>
              </a:path>
            </a:pathLst>
          </a:custGeom>
          <a:solidFill>
            <a:srgbClr val="00B2A9"/>
          </a:solidFill>
          <a:ln w="12695" cap="flat">
            <a:noFill/>
            <a:prstDash val="solid"/>
            <a:miter/>
          </a:ln>
        </p:spPr>
        <p:txBody>
          <a:bodyPr rtlCol="0" anchor="ctr"/>
          <a:lstStyle/>
          <a:p>
            <a:endParaRPr lang="en-AU" sz="1457">
              <a:solidFill>
                <a:schemeClr val="accent6"/>
              </a:solidFill>
            </a:endParaRPr>
          </a:p>
        </p:txBody>
      </p:sp>
      <p:cxnSp>
        <p:nvCxnSpPr>
          <p:cNvPr id="70" name="Straight Connector 69">
            <a:extLst>
              <a:ext uri="{FF2B5EF4-FFF2-40B4-BE49-F238E27FC236}">
                <a16:creationId xmlns:a16="http://schemas.microsoft.com/office/drawing/2014/main" id="{A224B4F1-853F-0203-EE31-DF5D42CD7C16}"/>
              </a:ext>
            </a:extLst>
          </p:cNvPr>
          <p:cNvCxnSpPr/>
          <p:nvPr userDrawn="1"/>
        </p:nvCxnSpPr>
        <p:spPr>
          <a:xfrm>
            <a:off x="6803250" y="10078027"/>
            <a:ext cx="0" cy="242545"/>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68" name="Free-form: Shape 67">
            <a:extLst>
              <a:ext uri="{FF2B5EF4-FFF2-40B4-BE49-F238E27FC236}">
                <a16:creationId xmlns:a16="http://schemas.microsoft.com/office/drawing/2014/main" id="{5CB1A71F-769E-D0CB-FA51-63EAE73B574F}"/>
              </a:ext>
            </a:extLst>
          </p:cNvPr>
          <p:cNvSpPr/>
          <p:nvPr userDrawn="1"/>
        </p:nvSpPr>
        <p:spPr>
          <a:xfrm>
            <a:off x="5280229" y="7549805"/>
            <a:ext cx="1615881" cy="2154399"/>
          </a:xfrm>
          <a:custGeom>
            <a:avLst/>
            <a:gdLst>
              <a:gd name="connsiteX0" fmla="*/ 0 w 1954530"/>
              <a:gd name="connsiteY0" fmla="*/ 0 h 1381886"/>
              <a:gd name="connsiteX1" fmla="*/ 649478 w 1954530"/>
              <a:gd name="connsiteY1" fmla="*/ 1381887 h 1381886"/>
              <a:gd name="connsiteX2" fmla="*/ 1954530 w 1954530"/>
              <a:gd name="connsiteY2" fmla="*/ 1381887 h 1381886"/>
              <a:gd name="connsiteX3" fmla="*/ 1305052 w 1954530"/>
              <a:gd name="connsiteY3" fmla="*/ 0 h 1381886"/>
              <a:gd name="connsiteX4" fmla="*/ 0 w 1954530"/>
              <a:gd name="connsiteY4" fmla="*/ 0 h 13818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4530" h="1381886">
                <a:moveTo>
                  <a:pt x="0" y="0"/>
                </a:moveTo>
                <a:lnTo>
                  <a:pt x="649478" y="1381887"/>
                </a:lnTo>
                <a:lnTo>
                  <a:pt x="1954530" y="1381887"/>
                </a:lnTo>
                <a:cubicBezTo>
                  <a:pt x="1954530" y="1381887"/>
                  <a:pt x="1305052" y="0"/>
                  <a:pt x="1305052" y="0"/>
                </a:cubicBezTo>
                <a:lnTo>
                  <a:pt x="0" y="0"/>
                </a:lnTo>
                <a:close/>
              </a:path>
            </a:pathLst>
          </a:custGeom>
          <a:solidFill>
            <a:srgbClr val="FFFFFF">
              <a:alpha val="50000"/>
            </a:srgbClr>
          </a:solidFill>
          <a:ln w="6350" cap="flat">
            <a:noFill/>
            <a:prstDash val="solid"/>
            <a:miter/>
          </a:ln>
        </p:spPr>
        <p:txBody>
          <a:bodyPr rtlCol="0" anchor="ctr"/>
          <a:lstStyle/>
          <a:p>
            <a:pPr lvl="0"/>
            <a:endParaRPr lang="en-AU" sz="1457">
              <a:solidFill>
                <a:schemeClr val="accent6"/>
              </a:solidFill>
            </a:endParaRPr>
          </a:p>
        </p:txBody>
      </p:sp>
    </p:spTree>
    <p:extLst>
      <p:ext uri="{BB962C8B-B14F-4D97-AF65-F5344CB8AC3E}">
        <p14:creationId xmlns:p14="http://schemas.microsoft.com/office/powerpoint/2010/main" val="242943877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Section Header green-image">
    <p:spTree>
      <p:nvGrpSpPr>
        <p:cNvPr id="1" name=""/>
        <p:cNvGrpSpPr/>
        <p:nvPr/>
      </p:nvGrpSpPr>
      <p:grpSpPr>
        <a:xfrm>
          <a:off x="0" y="0"/>
          <a:ext cx="0" cy="0"/>
          <a:chOff x="0" y="0"/>
          <a:chExt cx="0" cy="0"/>
        </a:xfrm>
      </p:grpSpPr>
      <p:sp>
        <p:nvSpPr>
          <p:cNvPr id="39" name="Free-form: Shape 38">
            <a:extLst>
              <a:ext uri="{FF2B5EF4-FFF2-40B4-BE49-F238E27FC236}">
                <a16:creationId xmlns:a16="http://schemas.microsoft.com/office/drawing/2014/main" id="{B3F9F954-4071-0FCB-A8F6-174F333AE253}"/>
              </a:ext>
            </a:extLst>
          </p:cNvPr>
          <p:cNvSpPr/>
          <p:nvPr/>
        </p:nvSpPr>
        <p:spPr>
          <a:xfrm>
            <a:off x="2" y="981265"/>
            <a:ext cx="7557368" cy="8716995"/>
          </a:xfrm>
          <a:custGeom>
            <a:avLst/>
            <a:gdLst>
              <a:gd name="connsiteX0" fmla="*/ 0 w 8820023"/>
              <a:gd name="connsiteY0" fmla="*/ 0 h 5591302"/>
              <a:gd name="connsiteX1" fmla="*/ 8820023 w 8820023"/>
              <a:gd name="connsiteY1" fmla="*/ 0 h 5591302"/>
              <a:gd name="connsiteX2" fmla="*/ 8820023 w 8820023"/>
              <a:gd name="connsiteY2" fmla="*/ 5591302 h 5591302"/>
              <a:gd name="connsiteX3" fmla="*/ 0 w 8820023"/>
              <a:gd name="connsiteY3" fmla="*/ 5591302 h 5591302"/>
            </a:gdLst>
            <a:ahLst/>
            <a:cxnLst>
              <a:cxn ang="0">
                <a:pos x="connsiteX0" y="connsiteY0"/>
              </a:cxn>
              <a:cxn ang="0">
                <a:pos x="connsiteX1" y="connsiteY1"/>
              </a:cxn>
              <a:cxn ang="0">
                <a:pos x="connsiteX2" y="connsiteY2"/>
              </a:cxn>
              <a:cxn ang="0">
                <a:pos x="connsiteX3" y="connsiteY3"/>
              </a:cxn>
            </a:cxnLst>
            <a:rect l="l" t="t" r="r" b="b"/>
            <a:pathLst>
              <a:path w="8820023" h="5591302">
                <a:moveTo>
                  <a:pt x="0" y="0"/>
                </a:moveTo>
                <a:lnTo>
                  <a:pt x="8820023" y="0"/>
                </a:lnTo>
                <a:lnTo>
                  <a:pt x="8820023" y="5591302"/>
                </a:lnTo>
                <a:lnTo>
                  <a:pt x="0" y="5591302"/>
                </a:lnTo>
                <a:close/>
              </a:path>
            </a:pathLst>
          </a:custGeom>
          <a:solidFill>
            <a:srgbClr val="00B1A8"/>
          </a:solidFill>
          <a:ln w="6350" cap="flat">
            <a:noFill/>
            <a:prstDash val="solid"/>
            <a:miter/>
          </a:ln>
        </p:spPr>
        <p:txBody>
          <a:bodyPr rtlCol="0" anchor="ctr"/>
          <a:lstStyle/>
          <a:p>
            <a:pPr lvl="0"/>
            <a:endParaRPr lang="en-AU" sz="1457"/>
          </a:p>
        </p:txBody>
      </p:sp>
      <p:sp>
        <p:nvSpPr>
          <p:cNvPr id="60" name="Picture Placeholder 59">
            <a:extLst>
              <a:ext uri="{FF2B5EF4-FFF2-40B4-BE49-F238E27FC236}">
                <a16:creationId xmlns:a16="http://schemas.microsoft.com/office/drawing/2014/main" id="{7B6F0F54-9CE1-47BC-8BB5-F63D9769A8E7}"/>
              </a:ext>
            </a:extLst>
          </p:cNvPr>
          <p:cNvSpPr>
            <a:spLocks noGrp="1" noChangeAspect="1"/>
          </p:cNvSpPr>
          <p:nvPr>
            <p:ph type="pic" sz="quarter" idx="20" hasCustomPrompt="1"/>
          </p:nvPr>
        </p:nvSpPr>
        <p:spPr>
          <a:xfrm>
            <a:off x="2786793" y="981264"/>
            <a:ext cx="4770470" cy="8717985"/>
          </a:xfrm>
          <a:custGeom>
            <a:avLst/>
            <a:gdLst>
              <a:gd name="connsiteX0" fmla="*/ 2644140 w 5770245"/>
              <a:gd name="connsiteY0" fmla="*/ 0 h 5591937"/>
              <a:gd name="connsiteX1" fmla="*/ 5770245 w 5770245"/>
              <a:gd name="connsiteY1" fmla="*/ 0 h 5591937"/>
              <a:gd name="connsiteX2" fmla="*/ 5770245 w 5770245"/>
              <a:gd name="connsiteY2" fmla="*/ 5591937 h 5591937"/>
              <a:gd name="connsiteX3" fmla="*/ 0 w 5770245"/>
              <a:gd name="connsiteY3" fmla="*/ 5591937 h 5591937"/>
            </a:gdLst>
            <a:ahLst/>
            <a:cxnLst>
              <a:cxn ang="0">
                <a:pos x="connsiteX0" y="connsiteY0"/>
              </a:cxn>
              <a:cxn ang="0">
                <a:pos x="connsiteX1" y="connsiteY1"/>
              </a:cxn>
              <a:cxn ang="0">
                <a:pos x="connsiteX2" y="connsiteY2"/>
              </a:cxn>
              <a:cxn ang="0">
                <a:pos x="connsiteX3" y="connsiteY3"/>
              </a:cxn>
            </a:cxnLst>
            <a:rect l="l" t="t" r="r" b="b"/>
            <a:pathLst>
              <a:path w="5770245" h="5591937">
                <a:moveTo>
                  <a:pt x="2644140" y="0"/>
                </a:moveTo>
                <a:lnTo>
                  <a:pt x="5770245" y="0"/>
                </a:lnTo>
                <a:lnTo>
                  <a:pt x="5770245" y="5591937"/>
                </a:lnTo>
                <a:lnTo>
                  <a:pt x="0" y="5591937"/>
                </a:lnTo>
                <a:close/>
              </a:path>
            </a:pathLst>
          </a:custGeom>
          <a:solidFill>
            <a:schemeClr val="bg1">
              <a:lumMod val="75000"/>
            </a:schemeClr>
          </a:solidFill>
        </p:spPr>
        <p:txBody>
          <a:bodyPr wrap="square" lIns="3600000" tIns="288000" rIns="360000" bIns="360000" anchor="t" anchorCtr="0">
            <a:noAutofit/>
          </a:bodyPr>
          <a:lstStyle>
            <a:lvl1pPr algn="r">
              <a:defRPr sz="1133" b="0">
                <a:solidFill>
                  <a:schemeClr val="bg1"/>
                </a:solidFill>
                <a:latin typeface="+mj-lt"/>
                <a:ea typeface="Roboto" panose="02000000000000000000" pitchFamily="2" charset="0"/>
              </a:defRPr>
            </a:lvl1pPr>
            <a:lvl2pPr algn="ctr">
              <a:defRPr b="0">
                <a:solidFill>
                  <a:schemeClr val="accent2"/>
                </a:solidFill>
                <a:latin typeface="Roboto" panose="02000000000000000000" pitchFamily="2" charset="0"/>
                <a:ea typeface="Roboto" panose="02000000000000000000" pitchFamily="2" charset="0"/>
              </a:defRPr>
            </a:lvl2pPr>
          </a:lstStyle>
          <a:p>
            <a:r>
              <a:rPr lang="en-AU"/>
              <a:t>To insert an image, select ‘Insert Picture’, or click on icon. Select ‘Picture Format &gt; Crop’ to edit size and position of picture.</a:t>
            </a:r>
          </a:p>
        </p:txBody>
      </p:sp>
      <p:sp>
        <p:nvSpPr>
          <p:cNvPr id="10" name="Subtitle 2">
            <a:extLst>
              <a:ext uri="{FF2B5EF4-FFF2-40B4-BE49-F238E27FC236}">
                <a16:creationId xmlns:a16="http://schemas.microsoft.com/office/drawing/2014/main" id="{D39926BE-0D9D-4400-A90E-88C8BB726BE5}"/>
              </a:ext>
            </a:extLst>
          </p:cNvPr>
          <p:cNvSpPr>
            <a:spLocks noGrp="1"/>
          </p:cNvSpPr>
          <p:nvPr>
            <p:ph type="subTitle" idx="1" hasCustomPrompt="1"/>
          </p:nvPr>
        </p:nvSpPr>
        <p:spPr>
          <a:xfrm>
            <a:off x="399299" y="3784313"/>
            <a:ext cx="3125063" cy="2245000"/>
          </a:xfrm>
        </p:spPr>
        <p:txBody>
          <a:bodyPr/>
          <a:lstStyle>
            <a:lvl1pPr marL="0" indent="0" algn="l">
              <a:buNone/>
              <a:defRPr sz="1862" b="0">
                <a:solidFill>
                  <a:schemeClr val="bg1"/>
                </a:solidFill>
              </a:defRPr>
            </a:lvl1pPr>
            <a:lvl2pPr marL="0" indent="0" algn="l">
              <a:buNone/>
              <a:defRPr sz="1862" b="0">
                <a:solidFill>
                  <a:schemeClr val="accent3"/>
                </a:solidFill>
              </a:defRPr>
            </a:lvl2pPr>
            <a:lvl3pPr marL="0" indent="0" algn="l">
              <a:buNone/>
              <a:defRPr sz="1862" b="0">
                <a:solidFill>
                  <a:schemeClr val="bg1"/>
                </a:solidFill>
              </a:defRPr>
            </a:lvl3pPr>
            <a:lvl4pPr marL="0" indent="0" algn="l">
              <a:buNone/>
              <a:defRPr sz="1862" b="0">
                <a:solidFill>
                  <a:schemeClr val="bg1"/>
                </a:solidFill>
              </a:defRPr>
            </a:lvl4pPr>
            <a:lvl5pPr marL="0" indent="0" algn="l">
              <a:buNone/>
              <a:defRPr sz="1862" b="0">
                <a:solidFill>
                  <a:schemeClr val="bg1"/>
                </a:solidFill>
              </a:defRPr>
            </a:lvl5pPr>
            <a:lvl6pPr marL="0" indent="0" algn="l">
              <a:buNone/>
              <a:defRPr sz="1862" b="0">
                <a:solidFill>
                  <a:schemeClr val="bg1"/>
                </a:solidFill>
              </a:defRPr>
            </a:lvl6pPr>
            <a:lvl7pPr marL="0" indent="0" algn="l">
              <a:buNone/>
              <a:defRPr sz="1862" b="0">
                <a:solidFill>
                  <a:schemeClr val="bg1"/>
                </a:solidFill>
              </a:defRPr>
            </a:lvl7pPr>
            <a:lvl8pPr marL="0" indent="0" algn="l">
              <a:buNone/>
              <a:defRPr sz="1862" b="0">
                <a:solidFill>
                  <a:schemeClr val="bg1"/>
                </a:solidFill>
              </a:defRPr>
            </a:lvl8pPr>
            <a:lvl9pPr marL="0" indent="0" algn="l">
              <a:buNone/>
              <a:defRPr sz="1862" b="0">
                <a:solidFill>
                  <a:schemeClr val="bg1"/>
                </a:solidFill>
              </a:defRPr>
            </a:lvl9pPr>
          </a:lstStyle>
          <a:p>
            <a:r>
              <a:rPr lang="en-US"/>
              <a:t>Click to add subheading</a:t>
            </a:r>
            <a:endParaRPr lang="en-GB"/>
          </a:p>
        </p:txBody>
      </p:sp>
      <p:sp>
        <p:nvSpPr>
          <p:cNvPr id="11" name="Title 10">
            <a:extLst>
              <a:ext uri="{FF2B5EF4-FFF2-40B4-BE49-F238E27FC236}">
                <a16:creationId xmlns:a16="http://schemas.microsoft.com/office/drawing/2014/main" id="{36FDE619-A8FC-4AAE-B02B-476D7475B937}"/>
              </a:ext>
            </a:extLst>
          </p:cNvPr>
          <p:cNvSpPr>
            <a:spLocks noGrp="1"/>
          </p:cNvSpPr>
          <p:nvPr>
            <p:ph type="title" hasCustomPrompt="1"/>
          </p:nvPr>
        </p:nvSpPr>
        <p:spPr>
          <a:xfrm>
            <a:off x="401607" y="1968473"/>
            <a:ext cx="3125063" cy="1683750"/>
          </a:xfrm>
        </p:spPr>
        <p:txBody>
          <a:bodyPr anchor="b" anchorCtr="0"/>
          <a:lstStyle>
            <a:lvl1pPr>
              <a:defRPr sz="2509">
                <a:solidFill>
                  <a:schemeClr val="bg1"/>
                </a:solidFill>
              </a:defRPr>
            </a:lvl1pPr>
          </a:lstStyle>
          <a:p>
            <a:r>
              <a:rPr lang="en-US"/>
              <a:t>Section Header</a:t>
            </a:r>
            <a:endParaRPr lang="en-GB"/>
          </a:p>
        </p:txBody>
      </p:sp>
      <p:sp>
        <p:nvSpPr>
          <p:cNvPr id="61" name="Text Placeholder 60">
            <a:extLst>
              <a:ext uri="{FF2B5EF4-FFF2-40B4-BE49-F238E27FC236}">
                <a16:creationId xmlns:a16="http://schemas.microsoft.com/office/drawing/2014/main" id="{2DD25AD8-4B3B-5469-2A0A-638B0947814E}"/>
              </a:ext>
            </a:extLst>
          </p:cNvPr>
          <p:cNvSpPr>
            <a:spLocks noGrp="1"/>
          </p:cNvSpPr>
          <p:nvPr>
            <p:ph type="body" sz="quarter" idx="15"/>
          </p:nvPr>
        </p:nvSpPr>
        <p:spPr>
          <a:xfrm>
            <a:off x="4972904" y="981263"/>
            <a:ext cx="732133" cy="1460026"/>
          </a:xfrm>
          <a:custGeom>
            <a:avLst/>
            <a:gdLst>
              <a:gd name="connsiteX0" fmla="*/ 442786 w 885571"/>
              <a:gd name="connsiteY0" fmla="*/ 936364 h 936498"/>
              <a:gd name="connsiteX1" fmla="*/ 442849 w 885571"/>
              <a:gd name="connsiteY1" fmla="*/ 936498 h 936498"/>
              <a:gd name="connsiteX2" fmla="*/ 442722 w 885571"/>
              <a:gd name="connsiteY2" fmla="*/ 936498 h 936498"/>
              <a:gd name="connsiteX3" fmla="*/ 0 w 885571"/>
              <a:gd name="connsiteY3" fmla="*/ 0 h 936498"/>
              <a:gd name="connsiteX4" fmla="*/ 885571 w 885571"/>
              <a:gd name="connsiteY4" fmla="*/ 0 h 936498"/>
              <a:gd name="connsiteX5" fmla="*/ 442786 w 885571"/>
              <a:gd name="connsiteY5" fmla="*/ 936364 h 936498"/>
              <a:gd name="connsiteX6" fmla="*/ 437876 w 885571"/>
              <a:gd name="connsiteY6" fmla="*/ 925981 h 936498"/>
              <a:gd name="connsiteX7" fmla="*/ 0 w 885571"/>
              <a:gd name="connsiteY7" fmla="*/ 0 h 936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5571" h="936498">
                <a:moveTo>
                  <a:pt x="442786" y="936364"/>
                </a:moveTo>
                <a:lnTo>
                  <a:pt x="442849" y="936498"/>
                </a:lnTo>
                <a:lnTo>
                  <a:pt x="442722" y="936498"/>
                </a:lnTo>
                <a:close/>
                <a:moveTo>
                  <a:pt x="0" y="0"/>
                </a:moveTo>
                <a:lnTo>
                  <a:pt x="885571" y="0"/>
                </a:lnTo>
                <a:lnTo>
                  <a:pt x="442786" y="936364"/>
                </a:lnTo>
                <a:lnTo>
                  <a:pt x="437876" y="925981"/>
                </a:lnTo>
                <a:cubicBezTo>
                  <a:pt x="389223" y="823094"/>
                  <a:pt x="0" y="0"/>
                  <a:pt x="0" y="0"/>
                </a:cubicBezTo>
                <a:close/>
              </a:path>
            </a:pathLst>
          </a:custGeom>
          <a:solidFill>
            <a:schemeClr val="accent1">
              <a:alpha val="66000"/>
            </a:schemeClr>
          </a:solidFill>
        </p:spPr>
        <p:txBody>
          <a:bodyPr wrap="square">
            <a:noAutofit/>
          </a:bodyPr>
          <a:lstStyle>
            <a:lvl1pPr>
              <a:spcBef>
                <a:spcPts val="0"/>
              </a:spcBef>
              <a:defRPr sz="324">
                <a:noFill/>
              </a:defRPr>
            </a:lvl1pPr>
            <a:lvl2pPr marL="0" indent="0">
              <a:spcBef>
                <a:spcPts val="0"/>
              </a:spcBef>
              <a:buNone/>
              <a:defRPr sz="324">
                <a:noFill/>
              </a:defRPr>
            </a:lvl2pPr>
            <a:lvl3pPr marL="0" indent="0">
              <a:spcBef>
                <a:spcPts val="0"/>
              </a:spcBef>
              <a:buNone/>
              <a:defRPr sz="324">
                <a:noFill/>
              </a:defRPr>
            </a:lvl3pPr>
            <a:lvl4pPr>
              <a:spcBef>
                <a:spcPts val="0"/>
              </a:spcBef>
              <a:defRPr sz="324" b="0">
                <a:noFill/>
              </a:defRPr>
            </a:lvl4pPr>
            <a:lvl5pPr>
              <a:spcBef>
                <a:spcPts val="0"/>
              </a:spcBef>
              <a:defRPr sz="324">
                <a:noFill/>
              </a:defRPr>
            </a:lvl5pPr>
            <a:lvl6pPr>
              <a:spcBef>
                <a:spcPts val="0"/>
              </a:spcBef>
              <a:defRPr sz="324">
                <a:noFill/>
              </a:defRPr>
            </a:lvl6pPr>
            <a:lvl7pPr>
              <a:spcBef>
                <a:spcPts val="0"/>
              </a:spcBef>
              <a:defRPr sz="324">
                <a:noFill/>
              </a:defRPr>
            </a:lvl7pPr>
            <a:lvl8pPr>
              <a:spcBef>
                <a:spcPts val="0"/>
              </a:spcBef>
              <a:defRPr sz="324">
                <a:noFill/>
              </a:defRPr>
            </a:lvl8pPr>
            <a:lvl9pPr>
              <a:spcBef>
                <a:spcPts val="0"/>
              </a:spcBef>
              <a:defRPr sz="324">
                <a:noFill/>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a:p>
        </p:txBody>
      </p:sp>
      <p:sp>
        <p:nvSpPr>
          <p:cNvPr id="62" name="Text Placeholder 61">
            <a:extLst>
              <a:ext uri="{FF2B5EF4-FFF2-40B4-BE49-F238E27FC236}">
                <a16:creationId xmlns:a16="http://schemas.microsoft.com/office/drawing/2014/main" id="{D4E0CD83-95C3-6463-68B5-540D5EFFF7BA}"/>
              </a:ext>
            </a:extLst>
          </p:cNvPr>
          <p:cNvSpPr>
            <a:spLocks noGrp="1"/>
          </p:cNvSpPr>
          <p:nvPr>
            <p:ph type="body" sz="quarter" idx="17"/>
          </p:nvPr>
        </p:nvSpPr>
        <p:spPr>
          <a:xfrm>
            <a:off x="4606680" y="981262"/>
            <a:ext cx="732133" cy="1460026"/>
          </a:xfrm>
          <a:custGeom>
            <a:avLst/>
            <a:gdLst>
              <a:gd name="connsiteX0" fmla="*/ 442786 w 885571"/>
              <a:gd name="connsiteY0" fmla="*/ 134 h 936498"/>
              <a:gd name="connsiteX1" fmla="*/ 447696 w 885571"/>
              <a:gd name="connsiteY1" fmla="*/ 10517 h 936498"/>
              <a:gd name="connsiteX2" fmla="*/ 885571 w 885571"/>
              <a:gd name="connsiteY2" fmla="*/ 936498 h 936498"/>
              <a:gd name="connsiteX3" fmla="*/ 0 w 885571"/>
              <a:gd name="connsiteY3" fmla="*/ 936498 h 936498"/>
              <a:gd name="connsiteX4" fmla="*/ 442722 w 885571"/>
              <a:gd name="connsiteY4" fmla="*/ 0 h 936498"/>
              <a:gd name="connsiteX5" fmla="*/ 442849 w 885571"/>
              <a:gd name="connsiteY5" fmla="*/ 0 h 936498"/>
              <a:gd name="connsiteX6" fmla="*/ 442786 w 885571"/>
              <a:gd name="connsiteY6" fmla="*/ 134 h 936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5571" h="936498">
                <a:moveTo>
                  <a:pt x="442786" y="134"/>
                </a:moveTo>
                <a:lnTo>
                  <a:pt x="447696" y="10517"/>
                </a:lnTo>
                <a:cubicBezTo>
                  <a:pt x="496349" y="113404"/>
                  <a:pt x="885571" y="936498"/>
                  <a:pt x="885571" y="936498"/>
                </a:cubicBezTo>
                <a:lnTo>
                  <a:pt x="0" y="936498"/>
                </a:lnTo>
                <a:close/>
                <a:moveTo>
                  <a:pt x="442722" y="0"/>
                </a:moveTo>
                <a:lnTo>
                  <a:pt x="442849" y="0"/>
                </a:lnTo>
                <a:lnTo>
                  <a:pt x="442786" y="134"/>
                </a:lnTo>
                <a:close/>
              </a:path>
            </a:pathLst>
          </a:custGeom>
          <a:solidFill>
            <a:schemeClr val="accent1">
              <a:alpha val="66000"/>
            </a:schemeClr>
          </a:solidFill>
        </p:spPr>
        <p:txBody>
          <a:bodyPr wrap="square">
            <a:noAutofit/>
          </a:bodyPr>
          <a:lstStyle>
            <a:lvl1pPr>
              <a:spcBef>
                <a:spcPts val="0"/>
              </a:spcBef>
              <a:defRPr sz="324">
                <a:noFill/>
              </a:defRPr>
            </a:lvl1pPr>
            <a:lvl2pPr marL="0" indent="0">
              <a:spcBef>
                <a:spcPts val="0"/>
              </a:spcBef>
              <a:buNone/>
              <a:defRPr sz="324">
                <a:noFill/>
              </a:defRPr>
            </a:lvl2pPr>
            <a:lvl3pPr marL="0" indent="0">
              <a:spcBef>
                <a:spcPts val="0"/>
              </a:spcBef>
              <a:buNone/>
              <a:defRPr sz="324">
                <a:noFill/>
              </a:defRPr>
            </a:lvl3pPr>
            <a:lvl4pPr>
              <a:spcBef>
                <a:spcPts val="0"/>
              </a:spcBef>
              <a:defRPr sz="324" b="0">
                <a:noFill/>
              </a:defRPr>
            </a:lvl4pPr>
            <a:lvl5pPr>
              <a:spcBef>
                <a:spcPts val="0"/>
              </a:spcBef>
              <a:defRPr sz="324">
                <a:noFill/>
              </a:defRPr>
            </a:lvl5pPr>
            <a:lvl6pPr>
              <a:spcBef>
                <a:spcPts val="0"/>
              </a:spcBef>
              <a:defRPr sz="324">
                <a:noFill/>
              </a:defRPr>
            </a:lvl6pPr>
            <a:lvl7pPr>
              <a:spcBef>
                <a:spcPts val="0"/>
              </a:spcBef>
              <a:defRPr sz="324">
                <a:noFill/>
              </a:defRPr>
            </a:lvl7pPr>
            <a:lvl8pPr>
              <a:spcBef>
                <a:spcPts val="0"/>
              </a:spcBef>
              <a:defRPr sz="324">
                <a:noFill/>
              </a:defRPr>
            </a:lvl8pPr>
            <a:lvl9pPr>
              <a:spcBef>
                <a:spcPts val="0"/>
              </a:spcBef>
              <a:defRPr sz="324">
                <a:noFill/>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a:p>
        </p:txBody>
      </p:sp>
      <p:sp>
        <p:nvSpPr>
          <p:cNvPr id="52" name="Free-form: Shape 51">
            <a:extLst>
              <a:ext uri="{FF2B5EF4-FFF2-40B4-BE49-F238E27FC236}">
                <a16:creationId xmlns:a16="http://schemas.microsoft.com/office/drawing/2014/main" id="{E1058DF6-0B4D-4561-F410-CF4A6EC5587F}"/>
              </a:ext>
            </a:extLst>
          </p:cNvPr>
          <p:cNvSpPr/>
          <p:nvPr/>
        </p:nvSpPr>
        <p:spPr>
          <a:xfrm>
            <a:off x="5336399" y="9699053"/>
            <a:ext cx="1092688" cy="987013"/>
          </a:xfrm>
          <a:custGeom>
            <a:avLst/>
            <a:gdLst>
              <a:gd name="connsiteX0" fmla="*/ 1321689 w 1321689"/>
              <a:gd name="connsiteY0" fmla="*/ 0 h 633095"/>
              <a:gd name="connsiteX1" fmla="*/ 300863 w 1321689"/>
              <a:gd name="connsiteY1" fmla="*/ 0 h 633095"/>
              <a:gd name="connsiteX2" fmla="*/ 0 w 1321689"/>
              <a:gd name="connsiteY2" fmla="*/ 633095 h 633095"/>
              <a:gd name="connsiteX3" fmla="*/ 1020953 w 1321689"/>
              <a:gd name="connsiteY3" fmla="*/ 633095 h 633095"/>
              <a:gd name="connsiteX4" fmla="*/ 1321562 w 1321689"/>
              <a:gd name="connsiteY4" fmla="*/ 0 h 6330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1689" h="633095">
                <a:moveTo>
                  <a:pt x="1321689" y="0"/>
                </a:moveTo>
                <a:lnTo>
                  <a:pt x="300863" y="0"/>
                </a:lnTo>
                <a:lnTo>
                  <a:pt x="0" y="633095"/>
                </a:lnTo>
                <a:lnTo>
                  <a:pt x="1020953" y="633095"/>
                </a:lnTo>
                <a:lnTo>
                  <a:pt x="1321562" y="0"/>
                </a:lnTo>
                <a:close/>
              </a:path>
            </a:pathLst>
          </a:custGeom>
          <a:solidFill>
            <a:srgbClr val="53565A"/>
          </a:solidFill>
          <a:ln w="6350" cap="flat">
            <a:noFill/>
            <a:prstDash val="solid"/>
            <a:miter/>
          </a:ln>
        </p:spPr>
        <p:txBody>
          <a:bodyPr rtlCol="0" anchor="ctr"/>
          <a:lstStyle/>
          <a:p>
            <a:pPr lvl="0"/>
            <a:endParaRPr lang="en-AU" sz="1457"/>
          </a:p>
        </p:txBody>
      </p:sp>
      <p:sp>
        <p:nvSpPr>
          <p:cNvPr id="46" name="Free-form: Shape 45">
            <a:extLst>
              <a:ext uri="{FF2B5EF4-FFF2-40B4-BE49-F238E27FC236}">
                <a16:creationId xmlns:a16="http://schemas.microsoft.com/office/drawing/2014/main" id="{83821572-8A3F-6B76-EC63-FFFF39B4D8E2}"/>
              </a:ext>
            </a:extLst>
          </p:cNvPr>
          <p:cNvSpPr/>
          <p:nvPr/>
        </p:nvSpPr>
        <p:spPr>
          <a:xfrm>
            <a:off x="4972799" y="-5747"/>
            <a:ext cx="979083" cy="987011"/>
          </a:xfrm>
          <a:custGeom>
            <a:avLst/>
            <a:gdLst>
              <a:gd name="connsiteX0" fmla="*/ 299339 w 1184275"/>
              <a:gd name="connsiteY0" fmla="*/ 0 h 633094"/>
              <a:gd name="connsiteX1" fmla="*/ 0 w 1184275"/>
              <a:gd name="connsiteY1" fmla="*/ 633095 h 633094"/>
              <a:gd name="connsiteX2" fmla="*/ 885572 w 1184275"/>
              <a:gd name="connsiteY2" fmla="*/ 633095 h 633094"/>
              <a:gd name="connsiteX3" fmla="*/ 1184275 w 1184275"/>
              <a:gd name="connsiteY3" fmla="*/ 0 h 633094"/>
              <a:gd name="connsiteX4" fmla="*/ 299339 w 1184275"/>
              <a:gd name="connsiteY4" fmla="*/ 0 h 633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275" h="633094">
                <a:moveTo>
                  <a:pt x="299339" y="0"/>
                </a:moveTo>
                <a:lnTo>
                  <a:pt x="0" y="633095"/>
                </a:lnTo>
                <a:lnTo>
                  <a:pt x="885572" y="633095"/>
                </a:lnTo>
                <a:cubicBezTo>
                  <a:pt x="885572" y="633095"/>
                  <a:pt x="1184275" y="0"/>
                  <a:pt x="1184275" y="0"/>
                </a:cubicBezTo>
                <a:lnTo>
                  <a:pt x="299339" y="0"/>
                </a:lnTo>
                <a:close/>
              </a:path>
            </a:pathLst>
          </a:custGeom>
          <a:solidFill>
            <a:srgbClr val="CEDC00"/>
          </a:solidFill>
          <a:ln w="12691" cap="flat">
            <a:noFill/>
            <a:prstDash val="solid"/>
            <a:miter/>
          </a:ln>
        </p:spPr>
        <p:txBody>
          <a:bodyPr rtlCol="0" anchor="ctr"/>
          <a:lstStyle/>
          <a:p>
            <a:endParaRPr lang="en-AU" sz="1457"/>
          </a:p>
        </p:txBody>
      </p:sp>
      <p:sp>
        <p:nvSpPr>
          <p:cNvPr id="48" name="Free-form: Shape 47">
            <a:extLst>
              <a:ext uri="{FF2B5EF4-FFF2-40B4-BE49-F238E27FC236}">
                <a16:creationId xmlns:a16="http://schemas.microsoft.com/office/drawing/2014/main" id="{7147DF2A-84C9-29DC-6E61-6969EC837D59}"/>
              </a:ext>
            </a:extLst>
          </p:cNvPr>
          <p:cNvSpPr/>
          <p:nvPr/>
        </p:nvSpPr>
        <p:spPr>
          <a:xfrm>
            <a:off x="5338815" y="981265"/>
            <a:ext cx="366120" cy="1460025"/>
          </a:xfrm>
          <a:custGeom>
            <a:avLst/>
            <a:gdLst>
              <a:gd name="connsiteX0" fmla="*/ 442849 w 442849"/>
              <a:gd name="connsiteY0" fmla="*/ 0 h 936497"/>
              <a:gd name="connsiteX1" fmla="*/ 0 w 442849"/>
              <a:gd name="connsiteY1" fmla="*/ 936498 h 936497"/>
            </a:gdLst>
            <a:ahLst/>
            <a:cxnLst>
              <a:cxn ang="0">
                <a:pos x="connsiteX0" y="connsiteY0"/>
              </a:cxn>
              <a:cxn ang="0">
                <a:pos x="connsiteX1" y="connsiteY1"/>
              </a:cxn>
            </a:cxnLst>
            <a:rect l="l" t="t" r="r" b="b"/>
            <a:pathLst>
              <a:path w="442849" h="936497">
                <a:moveTo>
                  <a:pt x="442849" y="0"/>
                </a:moveTo>
                <a:lnTo>
                  <a:pt x="0" y="936498"/>
                </a:lnTo>
              </a:path>
            </a:pathLst>
          </a:custGeom>
          <a:solidFill>
            <a:srgbClr val="FFFFFF"/>
          </a:solidFill>
          <a:ln w="12691" cap="flat">
            <a:noFill/>
            <a:prstDash val="solid"/>
            <a:miter/>
          </a:ln>
        </p:spPr>
        <p:txBody>
          <a:bodyPr rtlCol="0" anchor="ctr"/>
          <a:lstStyle/>
          <a:p>
            <a:endParaRPr lang="en-AU" sz="1457"/>
          </a:p>
        </p:txBody>
      </p:sp>
      <p:sp>
        <p:nvSpPr>
          <p:cNvPr id="55" name="Free-form: Shape 54">
            <a:extLst>
              <a:ext uri="{FF2B5EF4-FFF2-40B4-BE49-F238E27FC236}">
                <a16:creationId xmlns:a16="http://schemas.microsoft.com/office/drawing/2014/main" id="{BD8D172D-4A33-0DD4-E56D-113639EAFAE9}"/>
              </a:ext>
            </a:extLst>
          </p:cNvPr>
          <p:cNvSpPr/>
          <p:nvPr/>
        </p:nvSpPr>
        <p:spPr>
          <a:xfrm>
            <a:off x="265537" y="9699051"/>
            <a:ext cx="7296451" cy="987211"/>
          </a:xfrm>
          <a:custGeom>
            <a:avLst/>
            <a:gdLst>
              <a:gd name="connsiteX0" fmla="*/ 0 w 8825611"/>
              <a:gd name="connsiteY0" fmla="*/ 0 h 633222"/>
              <a:gd name="connsiteX1" fmla="*/ 8825611 w 8825611"/>
              <a:gd name="connsiteY1" fmla="*/ 0 h 633222"/>
              <a:gd name="connsiteX2" fmla="*/ 8825611 w 8825611"/>
              <a:gd name="connsiteY2" fmla="*/ 633222 h 633222"/>
              <a:gd name="connsiteX3" fmla="*/ 0 w 8825611"/>
              <a:gd name="connsiteY3" fmla="*/ 633222 h 633222"/>
            </a:gdLst>
            <a:ahLst/>
            <a:cxnLst>
              <a:cxn ang="0">
                <a:pos x="connsiteX0" y="connsiteY0"/>
              </a:cxn>
              <a:cxn ang="0">
                <a:pos x="connsiteX1" y="connsiteY1"/>
              </a:cxn>
              <a:cxn ang="0">
                <a:pos x="connsiteX2" y="connsiteY2"/>
              </a:cxn>
              <a:cxn ang="0">
                <a:pos x="connsiteX3" y="connsiteY3"/>
              </a:cxn>
            </a:cxnLst>
            <a:rect l="l" t="t" r="r" b="b"/>
            <a:pathLst>
              <a:path w="8825611" h="633222">
                <a:moveTo>
                  <a:pt x="0" y="0"/>
                </a:moveTo>
                <a:lnTo>
                  <a:pt x="8825611" y="0"/>
                </a:lnTo>
                <a:lnTo>
                  <a:pt x="8825611" y="633222"/>
                </a:lnTo>
                <a:lnTo>
                  <a:pt x="0" y="633222"/>
                </a:lnTo>
                <a:close/>
              </a:path>
            </a:pathLst>
          </a:custGeom>
          <a:noFill/>
          <a:ln w="12691" cap="flat">
            <a:noFill/>
            <a:prstDash val="solid"/>
            <a:miter/>
          </a:ln>
        </p:spPr>
        <p:txBody>
          <a:bodyPr rtlCol="0" anchor="ctr"/>
          <a:lstStyle/>
          <a:p>
            <a:endParaRPr lang="en-AU" sz="1457"/>
          </a:p>
        </p:txBody>
      </p:sp>
      <p:sp>
        <p:nvSpPr>
          <p:cNvPr id="56" name="Free-form: Shape 55">
            <a:extLst>
              <a:ext uri="{FF2B5EF4-FFF2-40B4-BE49-F238E27FC236}">
                <a16:creationId xmlns:a16="http://schemas.microsoft.com/office/drawing/2014/main" id="{4E22A3CD-7A86-3297-24D4-607873FB419F}"/>
              </a:ext>
            </a:extLst>
          </p:cNvPr>
          <p:cNvSpPr/>
          <p:nvPr/>
        </p:nvSpPr>
        <p:spPr>
          <a:xfrm>
            <a:off x="263227" y="-5749"/>
            <a:ext cx="7296451" cy="987211"/>
          </a:xfrm>
          <a:custGeom>
            <a:avLst/>
            <a:gdLst>
              <a:gd name="connsiteX0" fmla="*/ 0 w 8825611"/>
              <a:gd name="connsiteY0" fmla="*/ 0 h 633222"/>
              <a:gd name="connsiteX1" fmla="*/ 8825611 w 8825611"/>
              <a:gd name="connsiteY1" fmla="*/ 0 h 633222"/>
              <a:gd name="connsiteX2" fmla="*/ 8825611 w 8825611"/>
              <a:gd name="connsiteY2" fmla="*/ 633222 h 633222"/>
              <a:gd name="connsiteX3" fmla="*/ 0 w 8825611"/>
              <a:gd name="connsiteY3" fmla="*/ 633222 h 633222"/>
            </a:gdLst>
            <a:ahLst/>
            <a:cxnLst>
              <a:cxn ang="0">
                <a:pos x="connsiteX0" y="connsiteY0"/>
              </a:cxn>
              <a:cxn ang="0">
                <a:pos x="connsiteX1" y="connsiteY1"/>
              </a:cxn>
              <a:cxn ang="0">
                <a:pos x="connsiteX2" y="connsiteY2"/>
              </a:cxn>
              <a:cxn ang="0">
                <a:pos x="connsiteX3" y="connsiteY3"/>
              </a:cxn>
            </a:cxnLst>
            <a:rect l="l" t="t" r="r" b="b"/>
            <a:pathLst>
              <a:path w="8825611" h="633222">
                <a:moveTo>
                  <a:pt x="0" y="0"/>
                </a:moveTo>
                <a:lnTo>
                  <a:pt x="8825611" y="0"/>
                </a:lnTo>
                <a:lnTo>
                  <a:pt x="8825611" y="633222"/>
                </a:lnTo>
                <a:lnTo>
                  <a:pt x="0" y="633222"/>
                </a:lnTo>
                <a:close/>
              </a:path>
            </a:pathLst>
          </a:custGeom>
          <a:noFill/>
          <a:ln w="12691" cap="flat">
            <a:noFill/>
            <a:prstDash val="solid"/>
            <a:miter/>
          </a:ln>
        </p:spPr>
        <p:txBody>
          <a:bodyPr rtlCol="0" anchor="ctr"/>
          <a:lstStyle/>
          <a:p>
            <a:endParaRPr lang="en-AU" sz="1457"/>
          </a:p>
        </p:txBody>
      </p:sp>
      <p:sp>
        <p:nvSpPr>
          <p:cNvPr id="63" name="Text Placeholder 62">
            <a:extLst>
              <a:ext uri="{FF2B5EF4-FFF2-40B4-BE49-F238E27FC236}">
                <a16:creationId xmlns:a16="http://schemas.microsoft.com/office/drawing/2014/main" id="{245E7C8D-18CE-D16D-EBFC-B55D24729C2C}"/>
              </a:ext>
            </a:extLst>
          </p:cNvPr>
          <p:cNvSpPr>
            <a:spLocks noGrp="1"/>
          </p:cNvSpPr>
          <p:nvPr>
            <p:ph type="body" sz="quarter" idx="18"/>
          </p:nvPr>
        </p:nvSpPr>
        <p:spPr>
          <a:xfrm>
            <a:off x="4240666" y="981262"/>
            <a:ext cx="1098253" cy="1460026"/>
          </a:xfrm>
          <a:custGeom>
            <a:avLst/>
            <a:gdLst>
              <a:gd name="connsiteX0" fmla="*/ 0 w 1328420"/>
              <a:gd name="connsiteY0" fmla="*/ 0 h 936498"/>
              <a:gd name="connsiteX1" fmla="*/ 885571 w 1328420"/>
              <a:gd name="connsiteY1" fmla="*/ 0 h 936498"/>
              <a:gd name="connsiteX2" fmla="*/ 1328420 w 1328420"/>
              <a:gd name="connsiteY2" fmla="*/ 936498 h 936498"/>
              <a:gd name="connsiteX3" fmla="*/ 442849 w 1328420"/>
              <a:gd name="connsiteY3" fmla="*/ 936498 h 936498"/>
              <a:gd name="connsiteX4" fmla="*/ 0 w 1328420"/>
              <a:gd name="connsiteY4" fmla="*/ 0 h 9364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8420" h="936498">
                <a:moveTo>
                  <a:pt x="0" y="0"/>
                </a:moveTo>
                <a:lnTo>
                  <a:pt x="885571" y="0"/>
                </a:lnTo>
                <a:lnTo>
                  <a:pt x="1328420" y="936498"/>
                </a:lnTo>
                <a:lnTo>
                  <a:pt x="442849" y="936498"/>
                </a:lnTo>
                <a:cubicBezTo>
                  <a:pt x="442849" y="936498"/>
                  <a:pt x="0" y="0"/>
                  <a:pt x="0" y="0"/>
                </a:cubicBezTo>
                <a:close/>
              </a:path>
            </a:pathLst>
          </a:custGeom>
          <a:solidFill>
            <a:schemeClr val="bg1">
              <a:alpha val="33000"/>
            </a:schemeClr>
          </a:solidFill>
        </p:spPr>
        <p:txBody>
          <a:bodyPr wrap="square">
            <a:noAutofit/>
          </a:bodyPr>
          <a:lstStyle>
            <a:lvl1pPr>
              <a:spcBef>
                <a:spcPts val="0"/>
              </a:spcBef>
              <a:defRPr sz="324">
                <a:noFill/>
              </a:defRPr>
            </a:lvl1pPr>
            <a:lvl2pPr marL="0" indent="0">
              <a:spcBef>
                <a:spcPts val="0"/>
              </a:spcBef>
              <a:buNone/>
              <a:defRPr sz="324">
                <a:noFill/>
              </a:defRPr>
            </a:lvl2pPr>
            <a:lvl3pPr marL="0" indent="0">
              <a:spcBef>
                <a:spcPts val="0"/>
              </a:spcBef>
              <a:buNone/>
              <a:defRPr sz="324">
                <a:noFill/>
              </a:defRPr>
            </a:lvl3pPr>
            <a:lvl4pPr>
              <a:spcBef>
                <a:spcPts val="0"/>
              </a:spcBef>
              <a:defRPr sz="324" b="0">
                <a:noFill/>
              </a:defRPr>
            </a:lvl4pPr>
            <a:lvl5pPr>
              <a:spcBef>
                <a:spcPts val="0"/>
              </a:spcBef>
              <a:defRPr sz="324">
                <a:noFill/>
              </a:defRPr>
            </a:lvl5pPr>
            <a:lvl6pPr>
              <a:spcBef>
                <a:spcPts val="0"/>
              </a:spcBef>
              <a:defRPr sz="324">
                <a:noFill/>
              </a:defRPr>
            </a:lvl6pPr>
            <a:lvl7pPr>
              <a:spcBef>
                <a:spcPts val="0"/>
              </a:spcBef>
              <a:defRPr sz="324">
                <a:noFill/>
              </a:defRPr>
            </a:lvl7pPr>
            <a:lvl8pPr>
              <a:spcBef>
                <a:spcPts val="0"/>
              </a:spcBef>
              <a:defRPr sz="324">
                <a:noFill/>
              </a:defRPr>
            </a:lvl8pPr>
            <a:lvl9pPr>
              <a:spcBef>
                <a:spcPts val="0"/>
              </a:spcBef>
              <a:defRPr sz="324">
                <a:noFill/>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a:p>
        </p:txBody>
      </p:sp>
      <p:sp>
        <p:nvSpPr>
          <p:cNvPr id="65" name="Text Placeholder 64">
            <a:extLst>
              <a:ext uri="{FF2B5EF4-FFF2-40B4-BE49-F238E27FC236}">
                <a16:creationId xmlns:a16="http://schemas.microsoft.com/office/drawing/2014/main" id="{430465A8-B110-5F4A-EF48-43014E78D4DF}"/>
              </a:ext>
            </a:extLst>
          </p:cNvPr>
          <p:cNvSpPr>
            <a:spLocks noGrp="1"/>
          </p:cNvSpPr>
          <p:nvPr>
            <p:ph type="body" sz="quarter" idx="19"/>
          </p:nvPr>
        </p:nvSpPr>
        <p:spPr>
          <a:xfrm>
            <a:off x="5584188" y="8014498"/>
            <a:ext cx="1268765" cy="1688515"/>
          </a:xfrm>
          <a:custGeom>
            <a:avLst/>
            <a:gdLst>
              <a:gd name="connsiteX0" fmla="*/ 513969 w 1534668"/>
              <a:gd name="connsiteY0" fmla="*/ 0 h 1083056"/>
              <a:gd name="connsiteX1" fmla="*/ 1534668 w 1534668"/>
              <a:gd name="connsiteY1" fmla="*/ 0 h 1083056"/>
              <a:gd name="connsiteX2" fmla="*/ 1021969 w 1534668"/>
              <a:gd name="connsiteY2" fmla="*/ 1080516 h 1083056"/>
              <a:gd name="connsiteX3" fmla="*/ 0 w 1534668"/>
              <a:gd name="connsiteY3" fmla="*/ 1083056 h 1083056"/>
            </a:gdLst>
            <a:ahLst/>
            <a:cxnLst>
              <a:cxn ang="0">
                <a:pos x="connsiteX0" y="connsiteY0"/>
              </a:cxn>
              <a:cxn ang="0">
                <a:pos x="connsiteX1" y="connsiteY1"/>
              </a:cxn>
              <a:cxn ang="0">
                <a:pos x="connsiteX2" y="connsiteY2"/>
              </a:cxn>
              <a:cxn ang="0">
                <a:pos x="connsiteX3" y="connsiteY3"/>
              </a:cxn>
            </a:cxnLst>
            <a:rect l="l" t="t" r="r" b="b"/>
            <a:pathLst>
              <a:path w="1534668" h="1083056">
                <a:moveTo>
                  <a:pt x="513969" y="0"/>
                </a:moveTo>
                <a:lnTo>
                  <a:pt x="1534668" y="0"/>
                </a:lnTo>
                <a:lnTo>
                  <a:pt x="1021969" y="1080516"/>
                </a:lnTo>
                <a:lnTo>
                  <a:pt x="0" y="1083056"/>
                </a:lnTo>
                <a:close/>
              </a:path>
            </a:pathLst>
          </a:custGeom>
          <a:solidFill>
            <a:schemeClr val="accent6">
              <a:alpha val="50000"/>
            </a:schemeClr>
          </a:solidFill>
        </p:spPr>
        <p:txBody>
          <a:bodyPr wrap="square">
            <a:noAutofit/>
          </a:bodyPr>
          <a:lstStyle>
            <a:lvl1pPr>
              <a:spcBef>
                <a:spcPts val="0"/>
              </a:spcBef>
              <a:defRPr sz="324">
                <a:noFill/>
              </a:defRPr>
            </a:lvl1pPr>
            <a:lvl2pPr marL="0" indent="0">
              <a:spcBef>
                <a:spcPts val="0"/>
              </a:spcBef>
              <a:buNone/>
              <a:defRPr sz="324">
                <a:noFill/>
              </a:defRPr>
            </a:lvl2pPr>
            <a:lvl3pPr marL="0" indent="0">
              <a:spcBef>
                <a:spcPts val="0"/>
              </a:spcBef>
              <a:buNone/>
              <a:defRPr sz="324">
                <a:noFill/>
              </a:defRPr>
            </a:lvl3pPr>
            <a:lvl4pPr>
              <a:spcBef>
                <a:spcPts val="0"/>
              </a:spcBef>
              <a:defRPr sz="324" b="0">
                <a:noFill/>
              </a:defRPr>
            </a:lvl4pPr>
            <a:lvl5pPr>
              <a:spcBef>
                <a:spcPts val="0"/>
              </a:spcBef>
              <a:defRPr sz="324">
                <a:noFill/>
              </a:defRPr>
            </a:lvl5pPr>
            <a:lvl6pPr>
              <a:spcBef>
                <a:spcPts val="0"/>
              </a:spcBef>
              <a:defRPr sz="324">
                <a:noFill/>
              </a:defRPr>
            </a:lvl6pPr>
            <a:lvl7pPr>
              <a:spcBef>
                <a:spcPts val="0"/>
              </a:spcBef>
              <a:defRPr sz="324">
                <a:noFill/>
              </a:defRPr>
            </a:lvl7pPr>
            <a:lvl8pPr>
              <a:spcBef>
                <a:spcPts val="0"/>
              </a:spcBef>
              <a:defRPr sz="324">
                <a:noFill/>
              </a:defRPr>
            </a:lvl8pPr>
            <a:lvl9pPr>
              <a:spcBef>
                <a:spcPts val="0"/>
              </a:spcBef>
              <a:defRPr sz="324">
                <a:noFill/>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a:p>
        </p:txBody>
      </p:sp>
      <p:sp>
        <p:nvSpPr>
          <p:cNvPr id="67" name="Text Placeholder 66">
            <a:extLst>
              <a:ext uri="{FF2B5EF4-FFF2-40B4-BE49-F238E27FC236}">
                <a16:creationId xmlns:a16="http://schemas.microsoft.com/office/drawing/2014/main" id="{6711808D-4AD1-4428-129E-131055EC5C88}"/>
              </a:ext>
            </a:extLst>
          </p:cNvPr>
          <p:cNvSpPr>
            <a:spLocks noGrp="1"/>
          </p:cNvSpPr>
          <p:nvPr>
            <p:ph type="body" sz="quarter" idx="16"/>
          </p:nvPr>
        </p:nvSpPr>
        <p:spPr>
          <a:xfrm>
            <a:off x="6009105" y="8014499"/>
            <a:ext cx="1263726" cy="1684752"/>
          </a:xfrm>
          <a:custGeom>
            <a:avLst/>
            <a:gdLst>
              <a:gd name="connsiteX0" fmla="*/ 0 w 1528572"/>
              <a:gd name="connsiteY0" fmla="*/ 0 h 1080643"/>
              <a:gd name="connsiteX1" fmla="*/ 1020572 w 1528572"/>
              <a:gd name="connsiteY1" fmla="*/ 0 h 1080643"/>
              <a:gd name="connsiteX2" fmla="*/ 1528572 w 1528572"/>
              <a:gd name="connsiteY2" fmla="*/ 1080643 h 1080643"/>
              <a:gd name="connsiteX3" fmla="*/ 508000 w 1528572"/>
              <a:gd name="connsiteY3" fmla="*/ 1080643 h 1080643"/>
            </a:gdLst>
            <a:ahLst/>
            <a:cxnLst>
              <a:cxn ang="0">
                <a:pos x="connsiteX0" y="connsiteY0"/>
              </a:cxn>
              <a:cxn ang="0">
                <a:pos x="connsiteX1" y="connsiteY1"/>
              </a:cxn>
              <a:cxn ang="0">
                <a:pos x="connsiteX2" y="connsiteY2"/>
              </a:cxn>
              <a:cxn ang="0">
                <a:pos x="connsiteX3" y="connsiteY3"/>
              </a:cxn>
            </a:cxnLst>
            <a:rect l="l" t="t" r="r" b="b"/>
            <a:pathLst>
              <a:path w="1528572" h="1080643">
                <a:moveTo>
                  <a:pt x="0" y="0"/>
                </a:moveTo>
                <a:lnTo>
                  <a:pt x="1020572" y="0"/>
                </a:lnTo>
                <a:cubicBezTo>
                  <a:pt x="1020572" y="0"/>
                  <a:pt x="1528572" y="1080643"/>
                  <a:pt x="1528572" y="1080643"/>
                </a:cubicBezTo>
                <a:lnTo>
                  <a:pt x="508000" y="1080643"/>
                </a:lnTo>
                <a:close/>
              </a:path>
            </a:pathLst>
          </a:custGeom>
          <a:solidFill>
            <a:schemeClr val="bg1">
              <a:alpha val="33000"/>
            </a:schemeClr>
          </a:solidFill>
        </p:spPr>
        <p:txBody>
          <a:bodyPr wrap="square">
            <a:noAutofit/>
          </a:bodyPr>
          <a:lstStyle>
            <a:lvl1pPr>
              <a:spcBef>
                <a:spcPts val="0"/>
              </a:spcBef>
              <a:defRPr sz="324">
                <a:noFill/>
              </a:defRPr>
            </a:lvl1pPr>
            <a:lvl2pPr marL="0" indent="0">
              <a:spcBef>
                <a:spcPts val="0"/>
              </a:spcBef>
              <a:buNone/>
              <a:defRPr sz="324">
                <a:noFill/>
              </a:defRPr>
            </a:lvl2pPr>
            <a:lvl3pPr marL="0" indent="0">
              <a:spcBef>
                <a:spcPts val="0"/>
              </a:spcBef>
              <a:buNone/>
              <a:defRPr sz="324">
                <a:noFill/>
              </a:defRPr>
            </a:lvl3pPr>
            <a:lvl4pPr>
              <a:spcBef>
                <a:spcPts val="0"/>
              </a:spcBef>
              <a:defRPr sz="324" b="0">
                <a:noFill/>
              </a:defRPr>
            </a:lvl4pPr>
            <a:lvl5pPr>
              <a:spcBef>
                <a:spcPts val="0"/>
              </a:spcBef>
              <a:defRPr sz="324">
                <a:noFill/>
              </a:defRPr>
            </a:lvl5pPr>
            <a:lvl6pPr>
              <a:spcBef>
                <a:spcPts val="0"/>
              </a:spcBef>
              <a:defRPr sz="324">
                <a:noFill/>
              </a:defRPr>
            </a:lvl6pPr>
            <a:lvl7pPr>
              <a:spcBef>
                <a:spcPts val="0"/>
              </a:spcBef>
              <a:defRPr sz="324">
                <a:noFill/>
              </a:defRPr>
            </a:lvl7pPr>
            <a:lvl8pPr>
              <a:spcBef>
                <a:spcPts val="0"/>
              </a:spcBef>
              <a:defRPr sz="324">
                <a:noFill/>
              </a:defRPr>
            </a:lvl8pPr>
            <a:lvl9pPr>
              <a:spcBef>
                <a:spcPts val="0"/>
              </a:spcBef>
              <a:defRPr sz="324">
                <a:noFill/>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a:p>
        </p:txBody>
      </p:sp>
      <p:sp>
        <p:nvSpPr>
          <p:cNvPr id="4" name="Footer Placeholder 3">
            <a:extLst>
              <a:ext uri="{FF2B5EF4-FFF2-40B4-BE49-F238E27FC236}">
                <a16:creationId xmlns:a16="http://schemas.microsoft.com/office/drawing/2014/main" id="{AD6E9CC3-6786-46BB-D73B-768CE7C9405B}"/>
              </a:ext>
            </a:extLst>
          </p:cNvPr>
          <p:cNvSpPr>
            <a:spLocks noGrp="1"/>
          </p:cNvSpPr>
          <p:nvPr>
            <p:ph type="ftr" sz="quarter" idx="22"/>
          </p:nvPr>
        </p:nvSpPr>
        <p:spPr/>
        <p:txBody>
          <a:bodyPr/>
          <a:lstStyle/>
          <a:p>
            <a:r>
              <a:rPr lang="en-GB"/>
              <a:t>To add a Footer, select 'Insert &gt; Header &amp; Footer'</a:t>
            </a:r>
          </a:p>
        </p:txBody>
      </p:sp>
      <p:sp>
        <p:nvSpPr>
          <p:cNvPr id="6" name="Slide Number Placeholder 5">
            <a:extLst>
              <a:ext uri="{FF2B5EF4-FFF2-40B4-BE49-F238E27FC236}">
                <a16:creationId xmlns:a16="http://schemas.microsoft.com/office/drawing/2014/main" id="{832AE132-488B-C489-A635-15025EFDB9E2}"/>
              </a:ext>
            </a:extLst>
          </p:cNvPr>
          <p:cNvSpPr>
            <a:spLocks noGrp="1"/>
          </p:cNvSpPr>
          <p:nvPr>
            <p:ph type="sldNum" sz="quarter" idx="4"/>
          </p:nvPr>
        </p:nvSpPr>
        <p:spPr>
          <a:xfrm>
            <a:off x="6893918" y="9905984"/>
            <a:ext cx="446438" cy="561250"/>
          </a:xfrm>
          <a:prstGeom prst="rect">
            <a:avLst/>
          </a:prstGeom>
        </p:spPr>
        <p:txBody>
          <a:bodyPr vert="horz" lIns="0" tIns="0" rIns="0" bIns="0" rtlCol="0" anchor="ctr"/>
          <a:lstStyle>
            <a:lvl1pPr algn="l">
              <a:defRPr sz="809">
                <a:solidFill>
                  <a:schemeClr val="accent6"/>
                </a:solidFill>
              </a:defRPr>
            </a:lvl1pPr>
          </a:lstStyle>
          <a:p>
            <a:r>
              <a:rPr lang="en-GB"/>
              <a:t>Page </a:t>
            </a:r>
            <a:fld id="{F5AEA0E0-5CC6-4BD0-905C-A0021E419432}" type="slidenum">
              <a:rPr lang="en-GB" smtClean="0"/>
              <a:pPr/>
              <a:t>‹#›</a:t>
            </a:fld>
            <a:endParaRPr lang="en-GB"/>
          </a:p>
        </p:txBody>
      </p:sp>
      <p:cxnSp>
        <p:nvCxnSpPr>
          <p:cNvPr id="7" name="Straight Connector 6">
            <a:extLst>
              <a:ext uri="{FF2B5EF4-FFF2-40B4-BE49-F238E27FC236}">
                <a16:creationId xmlns:a16="http://schemas.microsoft.com/office/drawing/2014/main" id="{70FF2009-CFB8-CF28-3413-0B4284833D97}"/>
              </a:ext>
            </a:extLst>
          </p:cNvPr>
          <p:cNvCxnSpPr/>
          <p:nvPr userDrawn="1"/>
        </p:nvCxnSpPr>
        <p:spPr>
          <a:xfrm>
            <a:off x="6803250" y="10078027"/>
            <a:ext cx="0" cy="242545"/>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4869228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Section Header grey-image">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8179413-F21E-6F8B-5621-FD6158E128DD}"/>
              </a:ext>
            </a:extLst>
          </p:cNvPr>
          <p:cNvSpPr/>
          <p:nvPr userDrawn="1"/>
        </p:nvSpPr>
        <p:spPr>
          <a:xfrm>
            <a:off x="2" y="981265"/>
            <a:ext cx="7557368" cy="8716995"/>
          </a:xfrm>
          <a:custGeom>
            <a:avLst/>
            <a:gdLst>
              <a:gd name="connsiteX0" fmla="*/ 0 w 8820023"/>
              <a:gd name="connsiteY0" fmla="*/ 0 h 5591302"/>
              <a:gd name="connsiteX1" fmla="*/ 8820023 w 8820023"/>
              <a:gd name="connsiteY1" fmla="*/ 0 h 5591302"/>
              <a:gd name="connsiteX2" fmla="*/ 8820023 w 8820023"/>
              <a:gd name="connsiteY2" fmla="*/ 5591302 h 5591302"/>
              <a:gd name="connsiteX3" fmla="*/ 0 w 8820023"/>
              <a:gd name="connsiteY3" fmla="*/ 5591302 h 5591302"/>
            </a:gdLst>
            <a:ahLst/>
            <a:cxnLst>
              <a:cxn ang="0">
                <a:pos x="connsiteX0" y="connsiteY0"/>
              </a:cxn>
              <a:cxn ang="0">
                <a:pos x="connsiteX1" y="connsiteY1"/>
              </a:cxn>
              <a:cxn ang="0">
                <a:pos x="connsiteX2" y="connsiteY2"/>
              </a:cxn>
              <a:cxn ang="0">
                <a:pos x="connsiteX3" y="connsiteY3"/>
              </a:cxn>
            </a:cxnLst>
            <a:rect l="l" t="t" r="r" b="b"/>
            <a:pathLst>
              <a:path w="8820023" h="5591302">
                <a:moveTo>
                  <a:pt x="0" y="0"/>
                </a:moveTo>
                <a:lnTo>
                  <a:pt x="8820023" y="0"/>
                </a:lnTo>
                <a:lnTo>
                  <a:pt x="8820023" y="5591302"/>
                </a:lnTo>
                <a:lnTo>
                  <a:pt x="0" y="5591302"/>
                </a:lnTo>
                <a:close/>
              </a:path>
            </a:pathLst>
          </a:custGeom>
          <a:solidFill>
            <a:schemeClr val="accent6"/>
          </a:solidFill>
          <a:ln w="6350" cap="flat">
            <a:noFill/>
            <a:prstDash val="solid"/>
            <a:miter/>
          </a:ln>
        </p:spPr>
        <p:txBody>
          <a:bodyPr rtlCol="0" anchor="ctr"/>
          <a:lstStyle/>
          <a:p>
            <a:pPr lvl="0"/>
            <a:endParaRPr lang="en-AU" sz="1457"/>
          </a:p>
        </p:txBody>
      </p:sp>
      <p:sp>
        <p:nvSpPr>
          <p:cNvPr id="5" name="Picture Placeholder 4">
            <a:extLst>
              <a:ext uri="{FF2B5EF4-FFF2-40B4-BE49-F238E27FC236}">
                <a16:creationId xmlns:a16="http://schemas.microsoft.com/office/drawing/2014/main" id="{49494BD2-F017-377F-E9DC-49A72415A2B7}"/>
              </a:ext>
            </a:extLst>
          </p:cNvPr>
          <p:cNvSpPr>
            <a:spLocks noGrp="1" noChangeAspect="1"/>
          </p:cNvSpPr>
          <p:nvPr>
            <p:ph type="pic" sz="quarter" idx="20" hasCustomPrompt="1"/>
          </p:nvPr>
        </p:nvSpPr>
        <p:spPr>
          <a:xfrm>
            <a:off x="2786793" y="981264"/>
            <a:ext cx="4770470" cy="8717985"/>
          </a:xfrm>
          <a:custGeom>
            <a:avLst/>
            <a:gdLst>
              <a:gd name="connsiteX0" fmla="*/ 2644140 w 5770245"/>
              <a:gd name="connsiteY0" fmla="*/ 0 h 5591937"/>
              <a:gd name="connsiteX1" fmla="*/ 5770245 w 5770245"/>
              <a:gd name="connsiteY1" fmla="*/ 0 h 5591937"/>
              <a:gd name="connsiteX2" fmla="*/ 5770245 w 5770245"/>
              <a:gd name="connsiteY2" fmla="*/ 5591937 h 5591937"/>
              <a:gd name="connsiteX3" fmla="*/ 0 w 5770245"/>
              <a:gd name="connsiteY3" fmla="*/ 5591937 h 5591937"/>
            </a:gdLst>
            <a:ahLst/>
            <a:cxnLst>
              <a:cxn ang="0">
                <a:pos x="connsiteX0" y="connsiteY0"/>
              </a:cxn>
              <a:cxn ang="0">
                <a:pos x="connsiteX1" y="connsiteY1"/>
              </a:cxn>
              <a:cxn ang="0">
                <a:pos x="connsiteX2" y="connsiteY2"/>
              </a:cxn>
              <a:cxn ang="0">
                <a:pos x="connsiteX3" y="connsiteY3"/>
              </a:cxn>
            </a:cxnLst>
            <a:rect l="l" t="t" r="r" b="b"/>
            <a:pathLst>
              <a:path w="5770245" h="5591937">
                <a:moveTo>
                  <a:pt x="2644140" y="0"/>
                </a:moveTo>
                <a:lnTo>
                  <a:pt x="5770245" y="0"/>
                </a:lnTo>
                <a:lnTo>
                  <a:pt x="5770245" y="5591937"/>
                </a:lnTo>
                <a:lnTo>
                  <a:pt x="0" y="5591937"/>
                </a:lnTo>
                <a:close/>
              </a:path>
            </a:pathLst>
          </a:custGeom>
          <a:solidFill>
            <a:schemeClr val="bg1">
              <a:lumMod val="75000"/>
            </a:schemeClr>
          </a:solidFill>
        </p:spPr>
        <p:txBody>
          <a:bodyPr wrap="square" lIns="3600000" tIns="288000" rIns="360000" bIns="360000" anchor="t" anchorCtr="0">
            <a:noAutofit/>
          </a:bodyPr>
          <a:lstStyle>
            <a:lvl1pPr algn="r">
              <a:defRPr sz="1133" b="0">
                <a:solidFill>
                  <a:schemeClr val="bg1"/>
                </a:solidFill>
                <a:latin typeface="+mj-lt"/>
                <a:ea typeface="Roboto" panose="02000000000000000000" pitchFamily="2" charset="0"/>
              </a:defRPr>
            </a:lvl1pPr>
            <a:lvl2pPr algn="ctr">
              <a:defRPr b="0">
                <a:solidFill>
                  <a:schemeClr val="accent2"/>
                </a:solidFill>
                <a:latin typeface="Roboto" panose="02000000000000000000" pitchFamily="2" charset="0"/>
                <a:ea typeface="Roboto" panose="02000000000000000000" pitchFamily="2" charset="0"/>
              </a:defRPr>
            </a:lvl2pPr>
          </a:lstStyle>
          <a:p>
            <a:r>
              <a:rPr lang="en-AU"/>
              <a:t>To insert an image, select ‘Insert Picture’, or click on icon. Select ‘Picture Format &gt; Crop’ to edit size and position of picture.</a:t>
            </a:r>
          </a:p>
        </p:txBody>
      </p:sp>
      <p:sp>
        <p:nvSpPr>
          <p:cNvPr id="6" name="Text Placeholder 5">
            <a:extLst>
              <a:ext uri="{FF2B5EF4-FFF2-40B4-BE49-F238E27FC236}">
                <a16:creationId xmlns:a16="http://schemas.microsoft.com/office/drawing/2014/main" id="{1E325ACC-A39B-5A9C-08D1-4350B6146F6C}"/>
              </a:ext>
            </a:extLst>
          </p:cNvPr>
          <p:cNvSpPr>
            <a:spLocks noGrp="1"/>
          </p:cNvSpPr>
          <p:nvPr>
            <p:ph type="body" sz="quarter" idx="21"/>
          </p:nvPr>
        </p:nvSpPr>
        <p:spPr>
          <a:xfrm>
            <a:off x="4972904" y="981263"/>
            <a:ext cx="732133" cy="1460026"/>
          </a:xfrm>
          <a:custGeom>
            <a:avLst/>
            <a:gdLst>
              <a:gd name="connsiteX0" fmla="*/ 442786 w 885571"/>
              <a:gd name="connsiteY0" fmla="*/ 936364 h 936498"/>
              <a:gd name="connsiteX1" fmla="*/ 442849 w 885571"/>
              <a:gd name="connsiteY1" fmla="*/ 936498 h 936498"/>
              <a:gd name="connsiteX2" fmla="*/ 442722 w 885571"/>
              <a:gd name="connsiteY2" fmla="*/ 936498 h 936498"/>
              <a:gd name="connsiteX3" fmla="*/ 0 w 885571"/>
              <a:gd name="connsiteY3" fmla="*/ 0 h 936498"/>
              <a:gd name="connsiteX4" fmla="*/ 885571 w 885571"/>
              <a:gd name="connsiteY4" fmla="*/ 0 h 936498"/>
              <a:gd name="connsiteX5" fmla="*/ 442786 w 885571"/>
              <a:gd name="connsiteY5" fmla="*/ 936364 h 936498"/>
              <a:gd name="connsiteX6" fmla="*/ 437876 w 885571"/>
              <a:gd name="connsiteY6" fmla="*/ 925981 h 936498"/>
              <a:gd name="connsiteX7" fmla="*/ 0 w 885571"/>
              <a:gd name="connsiteY7" fmla="*/ 0 h 936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5571" h="936498">
                <a:moveTo>
                  <a:pt x="442786" y="936364"/>
                </a:moveTo>
                <a:lnTo>
                  <a:pt x="442849" y="936498"/>
                </a:lnTo>
                <a:lnTo>
                  <a:pt x="442722" y="936498"/>
                </a:lnTo>
                <a:close/>
                <a:moveTo>
                  <a:pt x="0" y="0"/>
                </a:moveTo>
                <a:lnTo>
                  <a:pt x="885571" y="0"/>
                </a:lnTo>
                <a:lnTo>
                  <a:pt x="442786" y="936364"/>
                </a:lnTo>
                <a:lnTo>
                  <a:pt x="437876" y="925981"/>
                </a:lnTo>
                <a:cubicBezTo>
                  <a:pt x="389223" y="823094"/>
                  <a:pt x="0" y="0"/>
                  <a:pt x="0" y="0"/>
                </a:cubicBezTo>
                <a:close/>
              </a:path>
            </a:pathLst>
          </a:custGeom>
          <a:solidFill>
            <a:schemeClr val="accent1">
              <a:alpha val="66000"/>
            </a:schemeClr>
          </a:solidFill>
        </p:spPr>
        <p:txBody>
          <a:bodyPr wrap="square">
            <a:noAutofit/>
          </a:bodyPr>
          <a:lstStyle>
            <a:lvl1pPr>
              <a:spcBef>
                <a:spcPts val="0"/>
              </a:spcBef>
              <a:defRPr sz="324">
                <a:noFill/>
              </a:defRPr>
            </a:lvl1pPr>
            <a:lvl2pPr marL="0" indent="0">
              <a:spcBef>
                <a:spcPts val="0"/>
              </a:spcBef>
              <a:buNone/>
              <a:defRPr sz="324">
                <a:noFill/>
              </a:defRPr>
            </a:lvl2pPr>
            <a:lvl3pPr marL="0" indent="0">
              <a:spcBef>
                <a:spcPts val="0"/>
              </a:spcBef>
              <a:buNone/>
              <a:defRPr sz="324">
                <a:noFill/>
              </a:defRPr>
            </a:lvl3pPr>
            <a:lvl4pPr>
              <a:spcBef>
                <a:spcPts val="0"/>
              </a:spcBef>
              <a:defRPr sz="324" b="0">
                <a:noFill/>
              </a:defRPr>
            </a:lvl4pPr>
            <a:lvl5pPr>
              <a:spcBef>
                <a:spcPts val="0"/>
              </a:spcBef>
              <a:defRPr sz="324">
                <a:noFill/>
              </a:defRPr>
            </a:lvl5pPr>
            <a:lvl6pPr>
              <a:spcBef>
                <a:spcPts val="0"/>
              </a:spcBef>
              <a:defRPr sz="324">
                <a:noFill/>
              </a:defRPr>
            </a:lvl6pPr>
            <a:lvl7pPr>
              <a:spcBef>
                <a:spcPts val="0"/>
              </a:spcBef>
              <a:defRPr sz="324">
                <a:noFill/>
              </a:defRPr>
            </a:lvl7pPr>
            <a:lvl8pPr>
              <a:spcBef>
                <a:spcPts val="0"/>
              </a:spcBef>
              <a:defRPr sz="324">
                <a:noFill/>
              </a:defRPr>
            </a:lvl8pPr>
            <a:lvl9pPr>
              <a:spcBef>
                <a:spcPts val="0"/>
              </a:spcBef>
              <a:defRPr sz="324">
                <a:noFill/>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a:p>
        </p:txBody>
      </p:sp>
      <p:sp>
        <p:nvSpPr>
          <p:cNvPr id="7" name="Text Placeholder 6">
            <a:extLst>
              <a:ext uri="{FF2B5EF4-FFF2-40B4-BE49-F238E27FC236}">
                <a16:creationId xmlns:a16="http://schemas.microsoft.com/office/drawing/2014/main" id="{33DAFE03-848B-544C-E0CD-10F5B65621C8}"/>
              </a:ext>
            </a:extLst>
          </p:cNvPr>
          <p:cNvSpPr>
            <a:spLocks noGrp="1"/>
          </p:cNvSpPr>
          <p:nvPr>
            <p:ph type="body" sz="quarter" idx="22"/>
          </p:nvPr>
        </p:nvSpPr>
        <p:spPr>
          <a:xfrm>
            <a:off x="4606680" y="981262"/>
            <a:ext cx="732133" cy="1460026"/>
          </a:xfrm>
          <a:custGeom>
            <a:avLst/>
            <a:gdLst>
              <a:gd name="connsiteX0" fmla="*/ 442786 w 885571"/>
              <a:gd name="connsiteY0" fmla="*/ 134 h 936498"/>
              <a:gd name="connsiteX1" fmla="*/ 447696 w 885571"/>
              <a:gd name="connsiteY1" fmla="*/ 10517 h 936498"/>
              <a:gd name="connsiteX2" fmla="*/ 885571 w 885571"/>
              <a:gd name="connsiteY2" fmla="*/ 936498 h 936498"/>
              <a:gd name="connsiteX3" fmla="*/ 0 w 885571"/>
              <a:gd name="connsiteY3" fmla="*/ 936498 h 936498"/>
              <a:gd name="connsiteX4" fmla="*/ 442722 w 885571"/>
              <a:gd name="connsiteY4" fmla="*/ 0 h 936498"/>
              <a:gd name="connsiteX5" fmla="*/ 442849 w 885571"/>
              <a:gd name="connsiteY5" fmla="*/ 0 h 936498"/>
              <a:gd name="connsiteX6" fmla="*/ 442786 w 885571"/>
              <a:gd name="connsiteY6" fmla="*/ 134 h 936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5571" h="936498">
                <a:moveTo>
                  <a:pt x="442786" y="134"/>
                </a:moveTo>
                <a:lnTo>
                  <a:pt x="447696" y="10517"/>
                </a:lnTo>
                <a:cubicBezTo>
                  <a:pt x="496349" y="113404"/>
                  <a:pt x="885571" y="936498"/>
                  <a:pt x="885571" y="936498"/>
                </a:cubicBezTo>
                <a:lnTo>
                  <a:pt x="0" y="936498"/>
                </a:lnTo>
                <a:close/>
                <a:moveTo>
                  <a:pt x="442722" y="0"/>
                </a:moveTo>
                <a:lnTo>
                  <a:pt x="442849" y="0"/>
                </a:lnTo>
                <a:lnTo>
                  <a:pt x="442786" y="134"/>
                </a:lnTo>
                <a:close/>
              </a:path>
            </a:pathLst>
          </a:custGeom>
          <a:solidFill>
            <a:schemeClr val="accent1">
              <a:alpha val="66000"/>
            </a:schemeClr>
          </a:solidFill>
        </p:spPr>
        <p:txBody>
          <a:bodyPr wrap="square">
            <a:noAutofit/>
          </a:bodyPr>
          <a:lstStyle>
            <a:lvl1pPr>
              <a:spcBef>
                <a:spcPts val="0"/>
              </a:spcBef>
              <a:defRPr sz="324">
                <a:noFill/>
              </a:defRPr>
            </a:lvl1pPr>
            <a:lvl2pPr marL="0" indent="0">
              <a:spcBef>
                <a:spcPts val="0"/>
              </a:spcBef>
              <a:buNone/>
              <a:defRPr sz="324">
                <a:noFill/>
              </a:defRPr>
            </a:lvl2pPr>
            <a:lvl3pPr marL="0" indent="0">
              <a:spcBef>
                <a:spcPts val="0"/>
              </a:spcBef>
              <a:buNone/>
              <a:defRPr sz="324">
                <a:noFill/>
              </a:defRPr>
            </a:lvl3pPr>
            <a:lvl4pPr>
              <a:spcBef>
                <a:spcPts val="0"/>
              </a:spcBef>
              <a:defRPr sz="324" b="0">
                <a:noFill/>
              </a:defRPr>
            </a:lvl4pPr>
            <a:lvl5pPr>
              <a:spcBef>
                <a:spcPts val="0"/>
              </a:spcBef>
              <a:defRPr sz="324">
                <a:noFill/>
              </a:defRPr>
            </a:lvl5pPr>
            <a:lvl6pPr>
              <a:spcBef>
                <a:spcPts val="0"/>
              </a:spcBef>
              <a:defRPr sz="324">
                <a:noFill/>
              </a:defRPr>
            </a:lvl6pPr>
            <a:lvl7pPr>
              <a:spcBef>
                <a:spcPts val="0"/>
              </a:spcBef>
              <a:defRPr sz="324">
                <a:noFill/>
              </a:defRPr>
            </a:lvl7pPr>
            <a:lvl8pPr>
              <a:spcBef>
                <a:spcPts val="0"/>
              </a:spcBef>
              <a:defRPr sz="324">
                <a:noFill/>
              </a:defRPr>
            </a:lvl8pPr>
            <a:lvl9pPr>
              <a:spcBef>
                <a:spcPts val="0"/>
              </a:spcBef>
              <a:defRPr sz="324">
                <a:noFill/>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a:p>
        </p:txBody>
      </p:sp>
      <p:sp>
        <p:nvSpPr>
          <p:cNvPr id="8" name="Free-form: Shape 7">
            <a:extLst>
              <a:ext uri="{FF2B5EF4-FFF2-40B4-BE49-F238E27FC236}">
                <a16:creationId xmlns:a16="http://schemas.microsoft.com/office/drawing/2014/main" id="{761D47B5-1DCF-DEA5-AD5A-A87DBB4A210B}"/>
              </a:ext>
            </a:extLst>
          </p:cNvPr>
          <p:cNvSpPr/>
          <p:nvPr userDrawn="1"/>
        </p:nvSpPr>
        <p:spPr>
          <a:xfrm>
            <a:off x="5336399" y="9699053"/>
            <a:ext cx="1092688" cy="987013"/>
          </a:xfrm>
          <a:custGeom>
            <a:avLst/>
            <a:gdLst>
              <a:gd name="connsiteX0" fmla="*/ 1321689 w 1321689"/>
              <a:gd name="connsiteY0" fmla="*/ 0 h 633095"/>
              <a:gd name="connsiteX1" fmla="*/ 300863 w 1321689"/>
              <a:gd name="connsiteY1" fmla="*/ 0 h 633095"/>
              <a:gd name="connsiteX2" fmla="*/ 0 w 1321689"/>
              <a:gd name="connsiteY2" fmla="*/ 633095 h 633095"/>
              <a:gd name="connsiteX3" fmla="*/ 1020953 w 1321689"/>
              <a:gd name="connsiteY3" fmla="*/ 633095 h 633095"/>
              <a:gd name="connsiteX4" fmla="*/ 1321562 w 1321689"/>
              <a:gd name="connsiteY4" fmla="*/ 0 h 6330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1689" h="633095">
                <a:moveTo>
                  <a:pt x="1321689" y="0"/>
                </a:moveTo>
                <a:lnTo>
                  <a:pt x="300863" y="0"/>
                </a:lnTo>
                <a:lnTo>
                  <a:pt x="0" y="633095"/>
                </a:lnTo>
                <a:lnTo>
                  <a:pt x="1020953" y="633095"/>
                </a:lnTo>
                <a:lnTo>
                  <a:pt x="1321562" y="0"/>
                </a:lnTo>
                <a:close/>
              </a:path>
            </a:pathLst>
          </a:custGeom>
          <a:solidFill>
            <a:schemeClr val="tx2"/>
          </a:solidFill>
          <a:ln w="6350" cap="flat">
            <a:noFill/>
            <a:prstDash val="solid"/>
            <a:miter/>
          </a:ln>
        </p:spPr>
        <p:txBody>
          <a:bodyPr rtlCol="0" anchor="ctr"/>
          <a:lstStyle/>
          <a:p>
            <a:pPr lvl="0"/>
            <a:endParaRPr lang="en-AU" sz="1457"/>
          </a:p>
        </p:txBody>
      </p:sp>
      <p:sp>
        <p:nvSpPr>
          <p:cNvPr id="9" name="Free-form: Shape 8">
            <a:extLst>
              <a:ext uri="{FF2B5EF4-FFF2-40B4-BE49-F238E27FC236}">
                <a16:creationId xmlns:a16="http://schemas.microsoft.com/office/drawing/2014/main" id="{42C733FE-249E-F4B6-97A5-9BDCDC7F587F}"/>
              </a:ext>
            </a:extLst>
          </p:cNvPr>
          <p:cNvSpPr/>
          <p:nvPr userDrawn="1"/>
        </p:nvSpPr>
        <p:spPr>
          <a:xfrm>
            <a:off x="4972799" y="-5747"/>
            <a:ext cx="979083" cy="987011"/>
          </a:xfrm>
          <a:custGeom>
            <a:avLst/>
            <a:gdLst>
              <a:gd name="connsiteX0" fmla="*/ 299339 w 1184275"/>
              <a:gd name="connsiteY0" fmla="*/ 0 h 633094"/>
              <a:gd name="connsiteX1" fmla="*/ 0 w 1184275"/>
              <a:gd name="connsiteY1" fmla="*/ 633095 h 633094"/>
              <a:gd name="connsiteX2" fmla="*/ 885572 w 1184275"/>
              <a:gd name="connsiteY2" fmla="*/ 633095 h 633094"/>
              <a:gd name="connsiteX3" fmla="*/ 1184275 w 1184275"/>
              <a:gd name="connsiteY3" fmla="*/ 0 h 633094"/>
              <a:gd name="connsiteX4" fmla="*/ 299339 w 1184275"/>
              <a:gd name="connsiteY4" fmla="*/ 0 h 633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275" h="633094">
                <a:moveTo>
                  <a:pt x="299339" y="0"/>
                </a:moveTo>
                <a:lnTo>
                  <a:pt x="0" y="633095"/>
                </a:lnTo>
                <a:lnTo>
                  <a:pt x="885572" y="633095"/>
                </a:lnTo>
                <a:cubicBezTo>
                  <a:pt x="885572" y="633095"/>
                  <a:pt x="1184275" y="0"/>
                  <a:pt x="1184275" y="0"/>
                </a:cubicBezTo>
                <a:lnTo>
                  <a:pt x="299339" y="0"/>
                </a:lnTo>
                <a:close/>
              </a:path>
            </a:pathLst>
          </a:custGeom>
          <a:solidFill>
            <a:srgbClr val="CEDC00"/>
          </a:solidFill>
          <a:ln w="12691" cap="flat">
            <a:noFill/>
            <a:prstDash val="solid"/>
            <a:miter/>
          </a:ln>
        </p:spPr>
        <p:txBody>
          <a:bodyPr rtlCol="0" anchor="ctr"/>
          <a:lstStyle/>
          <a:p>
            <a:endParaRPr lang="en-AU" sz="1457"/>
          </a:p>
        </p:txBody>
      </p:sp>
      <p:sp>
        <p:nvSpPr>
          <p:cNvPr id="14" name="Free-form: Shape 13">
            <a:extLst>
              <a:ext uri="{FF2B5EF4-FFF2-40B4-BE49-F238E27FC236}">
                <a16:creationId xmlns:a16="http://schemas.microsoft.com/office/drawing/2014/main" id="{92D11F13-254D-EE69-56CC-3A9083BCD90B}"/>
              </a:ext>
            </a:extLst>
          </p:cNvPr>
          <p:cNvSpPr/>
          <p:nvPr userDrawn="1"/>
        </p:nvSpPr>
        <p:spPr>
          <a:xfrm>
            <a:off x="5338815" y="981265"/>
            <a:ext cx="366120" cy="1460025"/>
          </a:xfrm>
          <a:custGeom>
            <a:avLst/>
            <a:gdLst>
              <a:gd name="connsiteX0" fmla="*/ 442849 w 442849"/>
              <a:gd name="connsiteY0" fmla="*/ 0 h 936497"/>
              <a:gd name="connsiteX1" fmla="*/ 0 w 442849"/>
              <a:gd name="connsiteY1" fmla="*/ 936498 h 936497"/>
            </a:gdLst>
            <a:ahLst/>
            <a:cxnLst>
              <a:cxn ang="0">
                <a:pos x="connsiteX0" y="connsiteY0"/>
              </a:cxn>
              <a:cxn ang="0">
                <a:pos x="connsiteX1" y="connsiteY1"/>
              </a:cxn>
            </a:cxnLst>
            <a:rect l="l" t="t" r="r" b="b"/>
            <a:pathLst>
              <a:path w="442849" h="936497">
                <a:moveTo>
                  <a:pt x="442849" y="0"/>
                </a:moveTo>
                <a:lnTo>
                  <a:pt x="0" y="936498"/>
                </a:lnTo>
              </a:path>
            </a:pathLst>
          </a:custGeom>
          <a:solidFill>
            <a:srgbClr val="FFFFFF"/>
          </a:solidFill>
          <a:ln w="12691" cap="flat">
            <a:noFill/>
            <a:prstDash val="solid"/>
            <a:miter/>
          </a:ln>
        </p:spPr>
        <p:txBody>
          <a:bodyPr rtlCol="0" anchor="ctr"/>
          <a:lstStyle/>
          <a:p>
            <a:endParaRPr lang="en-AU" sz="1457"/>
          </a:p>
        </p:txBody>
      </p:sp>
      <p:sp>
        <p:nvSpPr>
          <p:cNvPr id="16" name="Text Placeholder 15">
            <a:extLst>
              <a:ext uri="{FF2B5EF4-FFF2-40B4-BE49-F238E27FC236}">
                <a16:creationId xmlns:a16="http://schemas.microsoft.com/office/drawing/2014/main" id="{B23DDCEF-71FC-3732-8A04-4455123CB7A9}"/>
              </a:ext>
            </a:extLst>
          </p:cNvPr>
          <p:cNvSpPr>
            <a:spLocks noGrp="1"/>
          </p:cNvSpPr>
          <p:nvPr>
            <p:ph type="body" sz="quarter" idx="23"/>
          </p:nvPr>
        </p:nvSpPr>
        <p:spPr>
          <a:xfrm>
            <a:off x="4240666" y="981262"/>
            <a:ext cx="1098253" cy="1460026"/>
          </a:xfrm>
          <a:custGeom>
            <a:avLst/>
            <a:gdLst>
              <a:gd name="connsiteX0" fmla="*/ 0 w 1328420"/>
              <a:gd name="connsiteY0" fmla="*/ 0 h 936498"/>
              <a:gd name="connsiteX1" fmla="*/ 885571 w 1328420"/>
              <a:gd name="connsiteY1" fmla="*/ 0 h 936498"/>
              <a:gd name="connsiteX2" fmla="*/ 1328420 w 1328420"/>
              <a:gd name="connsiteY2" fmla="*/ 936498 h 936498"/>
              <a:gd name="connsiteX3" fmla="*/ 442849 w 1328420"/>
              <a:gd name="connsiteY3" fmla="*/ 936498 h 936498"/>
              <a:gd name="connsiteX4" fmla="*/ 0 w 1328420"/>
              <a:gd name="connsiteY4" fmla="*/ 0 h 9364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8420" h="936498">
                <a:moveTo>
                  <a:pt x="0" y="0"/>
                </a:moveTo>
                <a:lnTo>
                  <a:pt x="885571" y="0"/>
                </a:lnTo>
                <a:lnTo>
                  <a:pt x="1328420" y="936498"/>
                </a:lnTo>
                <a:lnTo>
                  <a:pt x="442849" y="936498"/>
                </a:lnTo>
                <a:cubicBezTo>
                  <a:pt x="442849" y="936498"/>
                  <a:pt x="0" y="0"/>
                  <a:pt x="0" y="0"/>
                </a:cubicBezTo>
                <a:close/>
              </a:path>
            </a:pathLst>
          </a:custGeom>
          <a:solidFill>
            <a:schemeClr val="bg1">
              <a:alpha val="33000"/>
            </a:schemeClr>
          </a:solidFill>
        </p:spPr>
        <p:txBody>
          <a:bodyPr wrap="square">
            <a:noAutofit/>
          </a:bodyPr>
          <a:lstStyle>
            <a:lvl1pPr>
              <a:spcBef>
                <a:spcPts val="0"/>
              </a:spcBef>
              <a:defRPr sz="324">
                <a:noFill/>
              </a:defRPr>
            </a:lvl1pPr>
            <a:lvl2pPr marL="0" indent="0">
              <a:spcBef>
                <a:spcPts val="0"/>
              </a:spcBef>
              <a:buNone/>
              <a:defRPr sz="324">
                <a:noFill/>
              </a:defRPr>
            </a:lvl2pPr>
            <a:lvl3pPr marL="0" indent="0">
              <a:spcBef>
                <a:spcPts val="0"/>
              </a:spcBef>
              <a:buNone/>
              <a:defRPr sz="324">
                <a:noFill/>
              </a:defRPr>
            </a:lvl3pPr>
            <a:lvl4pPr>
              <a:spcBef>
                <a:spcPts val="0"/>
              </a:spcBef>
              <a:defRPr sz="324" b="0">
                <a:noFill/>
              </a:defRPr>
            </a:lvl4pPr>
            <a:lvl5pPr>
              <a:spcBef>
                <a:spcPts val="0"/>
              </a:spcBef>
              <a:defRPr sz="324">
                <a:noFill/>
              </a:defRPr>
            </a:lvl5pPr>
            <a:lvl6pPr>
              <a:spcBef>
                <a:spcPts val="0"/>
              </a:spcBef>
              <a:defRPr sz="324">
                <a:noFill/>
              </a:defRPr>
            </a:lvl6pPr>
            <a:lvl7pPr>
              <a:spcBef>
                <a:spcPts val="0"/>
              </a:spcBef>
              <a:defRPr sz="324">
                <a:noFill/>
              </a:defRPr>
            </a:lvl7pPr>
            <a:lvl8pPr>
              <a:spcBef>
                <a:spcPts val="0"/>
              </a:spcBef>
              <a:defRPr sz="324">
                <a:noFill/>
              </a:defRPr>
            </a:lvl8pPr>
            <a:lvl9pPr>
              <a:spcBef>
                <a:spcPts val="0"/>
              </a:spcBef>
              <a:defRPr sz="324">
                <a:noFill/>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a:p>
        </p:txBody>
      </p:sp>
      <p:sp>
        <p:nvSpPr>
          <p:cNvPr id="18" name="Text Placeholder 17">
            <a:extLst>
              <a:ext uri="{FF2B5EF4-FFF2-40B4-BE49-F238E27FC236}">
                <a16:creationId xmlns:a16="http://schemas.microsoft.com/office/drawing/2014/main" id="{65BB121C-7A8C-12E6-80A7-C9F5E0082968}"/>
              </a:ext>
            </a:extLst>
          </p:cNvPr>
          <p:cNvSpPr>
            <a:spLocks noGrp="1"/>
          </p:cNvSpPr>
          <p:nvPr>
            <p:ph type="body" sz="quarter" idx="24"/>
          </p:nvPr>
        </p:nvSpPr>
        <p:spPr>
          <a:xfrm>
            <a:off x="5584188" y="8014498"/>
            <a:ext cx="1268765" cy="1688515"/>
          </a:xfrm>
          <a:custGeom>
            <a:avLst/>
            <a:gdLst>
              <a:gd name="connsiteX0" fmla="*/ 513969 w 1534668"/>
              <a:gd name="connsiteY0" fmla="*/ 0 h 1083056"/>
              <a:gd name="connsiteX1" fmla="*/ 1534668 w 1534668"/>
              <a:gd name="connsiteY1" fmla="*/ 0 h 1083056"/>
              <a:gd name="connsiteX2" fmla="*/ 1021969 w 1534668"/>
              <a:gd name="connsiteY2" fmla="*/ 1080516 h 1083056"/>
              <a:gd name="connsiteX3" fmla="*/ 0 w 1534668"/>
              <a:gd name="connsiteY3" fmla="*/ 1083056 h 1083056"/>
            </a:gdLst>
            <a:ahLst/>
            <a:cxnLst>
              <a:cxn ang="0">
                <a:pos x="connsiteX0" y="connsiteY0"/>
              </a:cxn>
              <a:cxn ang="0">
                <a:pos x="connsiteX1" y="connsiteY1"/>
              </a:cxn>
              <a:cxn ang="0">
                <a:pos x="connsiteX2" y="connsiteY2"/>
              </a:cxn>
              <a:cxn ang="0">
                <a:pos x="connsiteX3" y="connsiteY3"/>
              </a:cxn>
            </a:cxnLst>
            <a:rect l="l" t="t" r="r" b="b"/>
            <a:pathLst>
              <a:path w="1534668" h="1083056">
                <a:moveTo>
                  <a:pt x="513969" y="0"/>
                </a:moveTo>
                <a:lnTo>
                  <a:pt x="1534668" y="0"/>
                </a:lnTo>
                <a:lnTo>
                  <a:pt x="1021969" y="1080516"/>
                </a:lnTo>
                <a:lnTo>
                  <a:pt x="0" y="1083056"/>
                </a:lnTo>
                <a:close/>
              </a:path>
            </a:pathLst>
          </a:custGeom>
          <a:solidFill>
            <a:schemeClr val="tx2">
              <a:alpha val="50000"/>
            </a:schemeClr>
          </a:solidFill>
        </p:spPr>
        <p:txBody>
          <a:bodyPr vert="horz" wrap="square" lIns="0" tIns="0" rIns="0" bIns="0" rtlCol="0">
            <a:noAutofit/>
          </a:bodyPr>
          <a:lstStyle>
            <a:lvl1pPr>
              <a:defRPr lang="en-US" sz="324" dirty="0">
                <a:noFill/>
              </a:defRPr>
            </a:lvl1pPr>
            <a:lvl2pPr>
              <a:defRPr lang="en-US" sz="324" dirty="0">
                <a:noFill/>
              </a:defRPr>
            </a:lvl2pPr>
            <a:lvl3pPr>
              <a:defRPr lang="en-US" sz="324" dirty="0">
                <a:noFill/>
              </a:defRPr>
            </a:lvl3pPr>
            <a:lvl4pPr>
              <a:defRPr lang="en-US" sz="324" dirty="0">
                <a:noFill/>
              </a:defRPr>
            </a:lvl4pPr>
            <a:lvl5pPr>
              <a:defRPr lang="en-US" sz="324" dirty="0">
                <a:noFill/>
              </a:defRPr>
            </a:lvl5pPr>
            <a:lvl6pPr>
              <a:defRPr lang="en-US" sz="324" dirty="0">
                <a:noFill/>
              </a:defRPr>
            </a:lvl6pPr>
            <a:lvl7pPr>
              <a:defRPr lang="en-US" sz="324" dirty="0">
                <a:noFill/>
              </a:defRPr>
            </a:lvl7pPr>
            <a:lvl8pPr>
              <a:defRPr lang="en-US" sz="324" dirty="0">
                <a:noFill/>
              </a:defRPr>
            </a:lvl8pPr>
            <a:lvl9pPr>
              <a:defRPr lang="en-AU" sz="324" dirty="0">
                <a:noFill/>
              </a:defRPr>
            </a:lvl9pPr>
          </a:lstStyle>
          <a:p>
            <a:pPr lvl="0">
              <a:spcBef>
                <a:spcPts val="0"/>
              </a:spcBef>
            </a:pPr>
            <a:r>
              <a:rPr lang="en-GB"/>
              <a:t>Click to edit Master text styles</a:t>
            </a:r>
          </a:p>
          <a:p>
            <a:pPr lvl="1">
              <a:spcBef>
                <a:spcPts val="0"/>
              </a:spcBef>
            </a:pPr>
            <a:r>
              <a:rPr lang="en-GB"/>
              <a:t>Second level</a:t>
            </a:r>
          </a:p>
          <a:p>
            <a:pPr lvl="2">
              <a:spcBef>
                <a:spcPts val="0"/>
              </a:spcBef>
            </a:pPr>
            <a:r>
              <a:rPr lang="en-GB"/>
              <a:t>Third level</a:t>
            </a:r>
          </a:p>
          <a:p>
            <a:pPr lvl="3">
              <a:spcBef>
                <a:spcPts val="0"/>
              </a:spcBef>
            </a:pPr>
            <a:r>
              <a:rPr lang="en-GB"/>
              <a:t>Fourth level</a:t>
            </a:r>
          </a:p>
          <a:p>
            <a:pPr lvl="4">
              <a:spcBef>
                <a:spcPts val="0"/>
              </a:spcBef>
            </a:pPr>
            <a:r>
              <a:rPr lang="en-GB"/>
              <a:t>Fifth level</a:t>
            </a:r>
            <a:endParaRPr lang="en-AU"/>
          </a:p>
        </p:txBody>
      </p:sp>
      <p:sp>
        <p:nvSpPr>
          <p:cNvPr id="19" name="Text Placeholder 18">
            <a:extLst>
              <a:ext uri="{FF2B5EF4-FFF2-40B4-BE49-F238E27FC236}">
                <a16:creationId xmlns:a16="http://schemas.microsoft.com/office/drawing/2014/main" id="{16DD6E17-2BA5-2E07-079F-711BDFC6475F}"/>
              </a:ext>
            </a:extLst>
          </p:cNvPr>
          <p:cNvSpPr>
            <a:spLocks noGrp="1"/>
          </p:cNvSpPr>
          <p:nvPr>
            <p:ph type="body" sz="quarter" idx="25"/>
          </p:nvPr>
        </p:nvSpPr>
        <p:spPr>
          <a:xfrm>
            <a:off x="6009105" y="8014499"/>
            <a:ext cx="1263726" cy="1684752"/>
          </a:xfrm>
          <a:custGeom>
            <a:avLst/>
            <a:gdLst>
              <a:gd name="connsiteX0" fmla="*/ 0 w 1528572"/>
              <a:gd name="connsiteY0" fmla="*/ 0 h 1080643"/>
              <a:gd name="connsiteX1" fmla="*/ 1020572 w 1528572"/>
              <a:gd name="connsiteY1" fmla="*/ 0 h 1080643"/>
              <a:gd name="connsiteX2" fmla="*/ 1528572 w 1528572"/>
              <a:gd name="connsiteY2" fmla="*/ 1080643 h 1080643"/>
              <a:gd name="connsiteX3" fmla="*/ 508000 w 1528572"/>
              <a:gd name="connsiteY3" fmla="*/ 1080643 h 1080643"/>
            </a:gdLst>
            <a:ahLst/>
            <a:cxnLst>
              <a:cxn ang="0">
                <a:pos x="connsiteX0" y="connsiteY0"/>
              </a:cxn>
              <a:cxn ang="0">
                <a:pos x="connsiteX1" y="connsiteY1"/>
              </a:cxn>
              <a:cxn ang="0">
                <a:pos x="connsiteX2" y="connsiteY2"/>
              </a:cxn>
              <a:cxn ang="0">
                <a:pos x="connsiteX3" y="connsiteY3"/>
              </a:cxn>
            </a:cxnLst>
            <a:rect l="l" t="t" r="r" b="b"/>
            <a:pathLst>
              <a:path w="1528572" h="1080643">
                <a:moveTo>
                  <a:pt x="0" y="0"/>
                </a:moveTo>
                <a:lnTo>
                  <a:pt x="1020572" y="0"/>
                </a:lnTo>
                <a:cubicBezTo>
                  <a:pt x="1020572" y="0"/>
                  <a:pt x="1528572" y="1080643"/>
                  <a:pt x="1528572" y="1080643"/>
                </a:cubicBezTo>
                <a:lnTo>
                  <a:pt x="508000" y="1080643"/>
                </a:lnTo>
                <a:close/>
              </a:path>
            </a:pathLst>
          </a:custGeom>
          <a:solidFill>
            <a:schemeClr val="bg1">
              <a:alpha val="33000"/>
            </a:schemeClr>
          </a:solidFill>
        </p:spPr>
        <p:txBody>
          <a:bodyPr wrap="square">
            <a:noAutofit/>
          </a:bodyPr>
          <a:lstStyle>
            <a:lvl1pPr>
              <a:spcBef>
                <a:spcPts val="0"/>
              </a:spcBef>
              <a:defRPr sz="324">
                <a:noFill/>
              </a:defRPr>
            </a:lvl1pPr>
            <a:lvl2pPr marL="0" indent="0">
              <a:spcBef>
                <a:spcPts val="0"/>
              </a:spcBef>
              <a:buNone/>
              <a:defRPr sz="324">
                <a:noFill/>
              </a:defRPr>
            </a:lvl2pPr>
            <a:lvl3pPr marL="0" indent="0">
              <a:spcBef>
                <a:spcPts val="0"/>
              </a:spcBef>
              <a:buNone/>
              <a:defRPr sz="324">
                <a:noFill/>
              </a:defRPr>
            </a:lvl3pPr>
            <a:lvl4pPr>
              <a:spcBef>
                <a:spcPts val="0"/>
              </a:spcBef>
              <a:defRPr sz="324" b="0">
                <a:noFill/>
              </a:defRPr>
            </a:lvl4pPr>
            <a:lvl5pPr>
              <a:spcBef>
                <a:spcPts val="0"/>
              </a:spcBef>
              <a:defRPr sz="324">
                <a:noFill/>
              </a:defRPr>
            </a:lvl5pPr>
            <a:lvl6pPr>
              <a:spcBef>
                <a:spcPts val="0"/>
              </a:spcBef>
              <a:defRPr sz="324">
                <a:noFill/>
              </a:defRPr>
            </a:lvl6pPr>
            <a:lvl7pPr>
              <a:spcBef>
                <a:spcPts val="0"/>
              </a:spcBef>
              <a:defRPr sz="324">
                <a:noFill/>
              </a:defRPr>
            </a:lvl7pPr>
            <a:lvl8pPr>
              <a:spcBef>
                <a:spcPts val="0"/>
              </a:spcBef>
              <a:defRPr sz="324">
                <a:noFill/>
              </a:defRPr>
            </a:lvl8pPr>
            <a:lvl9pPr>
              <a:spcBef>
                <a:spcPts val="0"/>
              </a:spcBef>
              <a:defRPr sz="324">
                <a:noFill/>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a:p>
        </p:txBody>
      </p:sp>
      <p:sp>
        <p:nvSpPr>
          <p:cNvPr id="22" name="Footer Placeholder 4">
            <a:extLst>
              <a:ext uri="{FF2B5EF4-FFF2-40B4-BE49-F238E27FC236}">
                <a16:creationId xmlns:a16="http://schemas.microsoft.com/office/drawing/2014/main" id="{E478B37A-93E5-3050-AED1-1AE614E5E923}"/>
              </a:ext>
            </a:extLst>
          </p:cNvPr>
          <p:cNvSpPr>
            <a:spLocks noGrp="1"/>
          </p:cNvSpPr>
          <p:nvPr>
            <p:ph type="ftr" sz="quarter" idx="3"/>
          </p:nvPr>
        </p:nvSpPr>
        <p:spPr>
          <a:xfrm>
            <a:off x="401608" y="9905984"/>
            <a:ext cx="3704959" cy="561250"/>
          </a:xfrm>
          <a:prstGeom prst="rect">
            <a:avLst/>
          </a:prstGeom>
        </p:spPr>
        <p:txBody>
          <a:bodyPr vert="horz" lIns="0" tIns="0" rIns="0" bIns="0" rtlCol="0" anchor="ctr"/>
          <a:lstStyle>
            <a:lvl1pPr algn="l">
              <a:defRPr sz="809">
                <a:solidFill>
                  <a:schemeClr val="accent6"/>
                </a:solidFill>
              </a:defRPr>
            </a:lvl1pPr>
          </a:lstStyle>
          <a:p>
            <a:r>
              <a:rPr lang="en-GB"/>
              <a:t>To add a Footer, select 'Insert &gt; Header &amp; Footer'</a:t>
            </a:r>
          </a:p>
        </p:txBody>
      </p:sp>
      <p:sp>
        <p:nvSpPr>
          <p:cNvPr id="2" name="Subtitle 2">
            <a:extLst>
              <a:ext uri="{FF2B5EF4-FFF2-40B4-BE49-F238E27FC236}">
                <a16:creationId xmlns:a16="http://schemas.microsoft.com/office/drawing/2014/main" id="{AD48F861-7E55-A416-6C10-E8F443B1817B}"/>
              </a:ext>
            </a:extLst>
          </p:cNvPr>
          <p:cNvSpPr>
            <a:spLocks noGrp="1"/>
          </p:cNvSpPr>
          <p:nvPr>
            <p:ph type="subTitle" idx="1" hasCustomPrompt="1"/>
          </p:nvPr>
        </p:nvSpPr>
        <p:spPr>
          <a:xfrm>
            <a:off x="399299" y="3784313"/>
            <a:ext cx="3125063" cy="2245000"/>
          </a:xfrm>
        </p:spPr>
        <p:txBody>
          <a:bodyPr/>
          <a:lstStyle>
            <a:lvl1pPr marL="0" indent="0" algn="l">
              <a:buNone/>
              <a:defRPr sz="1862" b="0">
                <a:solidFill>
                  <a:schemeClr val="bg1"/>
                </a:solidFill>
              </a:defRPr>
            </a:lvl1pPr>
            <a:lvl2pPr marL="0" indent="0" algn="l">
              <a:buNone/>
              <a:defRPr sz="1862" b="0">
                <a:solidFill>
                  <a:schemeClr val="accent3"/>
                </a:solidFill>
              </a:defRPr>
            </a:lvl2pPr>
            <a:lvl3pPr marL="0" indent="0" algn="l">
              <a:buNone/>
              <a:defRPr sz="1862" b="0">
                <a:solidFill>
                  <a:schemeClr val="bg1"/>
                </a:solidFill>
              </a:defRPr>
            </a:lvl3pPr>
            <a:lvl4pPr marL="0" indent="0" algn="l">
              <a:buNone/>
              <a:defRPr sz="1862" b="0">
                <a:solidFill>
                  <a:schemeClr val="bg1"/>
                </a:solidFill>
              </a:defRPr>
            </a:lvl4pPr>
            <a:lvl5pPr marL="0" indent="0" algn="l">
              <a:buNone/>
              <a:defRPr sz="1862" b="0">
                <a:solidFill>
                  <a:schemeClr val="bg1"/>
                </a:solidFill>
              </a:defRPr>
            </a:lvl5pPr>
            <a:lvl6pPr marL="0" indent="0" algn="l">
              <a:buNone/>
              <a:defRPr sz="1862" b="0">
                <a:solidFill>
                  <a:schemeClr val="bg1"/>
                </a:solidFill>
              </a:defRPr>
            </a:lvl6pPr>
            <a:lvl7pPr marL="0" indent="0" algn="l">
              <a:buNone/>
              <a:defRPr sz="1862" b="0">
                <a:solidFill>
                  <a:schemeClr val="bg1"/>
                </a:solidFill>
              </a:defRPr>
            </a:lvl7pPr>
            <a:lvl8pPr marL="0" indent="0" algn="l">
              <a:buNone/>
              <a:defRPr sz="1862" b="0">
                <a:solidFill>
                  <a:schemeClr val="bg1"/>
                </a:solidFill>
              </a:defRPr>
            </a:lvl8pPr>
            <a:lvl9pPr marL="0" indent="0" algn="l">
              <a:buNone/>
              <a:defRPr sz="1862" b="0">
                <a:solidFill>
                  <a:schemeClr val="bg1"/>
                </a:solidFill>
              </a:defRPr>
            </a:lvl9pPr>
          </a:lstStyle>
          <a:p>
            <a:r>
              <a:rPr lang="en-US"/>
              <a:t>Click to add subheading</a:t>
            </a:r>
            <a:endParaRPr lang="en-GB"/>
          </a:p>
        </p:txBody>
      </p:sp>
      <p:sp>
        <p:nvSpPr>
          <p:cNvPr id="3" name="Title 10">
            <a:extLst>
              <a:ext uri="{FF2B5EF4-FFF2-40B4-BE49-F238E27FC236}">
                <a16:creationId xmlns:a16="http://schemas.microsoft.com/office/drawing/2014/main" id="{11278E5F-8266-8988-9BC9-757920918B93}"/>
              </a:ext>
            </a:extLst>
          </p:cNvPr>
          <p:cNvSpPr>
            <a:spLocks noGrp="1"/>
          </p:cNvSpPr>
          <p:nvPr>
            <p:ph type="title" hasCustomPrompt="1"/>
          </p:nvPr>
        </p:nvSpPr>
        <p:spPr>
          <a:xfrm>
            <a:off x="401607" y="1968473"/>
            <a:ext cx="3125063" cy="1683750"/>
          </a:xfrm>
        </p:spPr>
        <p:txBody>
          <a:bodyPr anchor="b" anchorCtr="0"/>
          <a:lstStyle>
            <a:lvl1pPr>
              <a:defRPr sz="2509">
                <a:solidFill>
                  <a:schemeClr val="bg1"/>
                </a:solidFill>
              </a:defRPr>
            </a:lvl1pPr>
          </a:lstStyle>
          <a:p>
            <a:r>
              <a:rPr lang="en-US"/>
              <a:t>Section Header</a:t>
            </a:r>
            <a:endParaRPr lang="en-GB"/>
          </a:p>
        </p:txBody>
      </p:sp>
      <p:sp>
        <p:nvSpPr>
          <p:cNvPr id="12" name="Slide Number Placeholder 5">
            <a:extLst>
              <a:ext uri="{FF2B5EF4-FFF2-40B4-BE49-F238E27FC236}">
                <a16:creationId xmlns:a16="http://schemas.microsoft.com/office/drawing/2014/main" id="{053C4647-9866-8687-AC61-706DD630EC18}"/>
              </a:ext>
            </a:extLst>
          </p:cNvPr>
          <p:cNvSpPr>
            <a:spLocks noGrp="1"/>
          </p:cNvSpPr>
          <p:nvPr>
            <p:ph type="sldNum" sz="quarter" idx="4"/>
          </p:nvPr>
        </p:nvSpPr>
        <p:spPr>
          <a:xfrm>
            <a:off x="6893918" y="9905984"/>
            <a:ext cx="446438" cy="561250"/>
          </a:xfrm>
          <a:prstGeom prst="rect">
            <a:avLst/>
          </a:prstGeom>
        </p:spPr>
        <p:txBody>
          <a:bodyPr vert="horz" lIns="0" tIns="0" rIns="0" bIns="0" rtlCol="0" anchor="ctr"/>
          <a:lstStyle>
            <a:lvl1pPr algn="l">
              <a:defRPr sz="809">
                <a:solidFill>
                  <a:schemeClr val="accent6"/>
                </a:solidFill>
              </a:defRPr>
            </a:lvl1pPr>
          </a:lstStyle>
          <a:p>
            <a:r>
              <a:rPr lang="en-GB"/>
              <a:t>Page </a:t>
            </a:r>
            <a:fld id="{F5AEA0E0-5CC6-4BD0-905C-A0021E419432}" type="slidenum">
              <a:rPr lang="en-GB" smtClean="0"/>
              <a:pPr/>
              <a:t>‹#›</a:t>
            </a:fld>
            <a:endParaRPr lang="en-GB"/>
          </a:p>
        </p:txBody>
      </p:sp>
      <p:cxnSp>
        <p:nvCxnSpPr>
          <p:cNvPr id="13" name="Straight Connector 12">
            <a:extLst>
              <a:ext uri="{FF2B5EF4-FFF2-40B4-BE49-F238E27FC236}">
                <a16:creationId xmlns:a16="http://schemas.microsoft.com/office/drawing/2014/main" id="{4CA80ADE-153B-89EB-C45C-110A3EAD8DEA}"/>
              </a:ext>
            </a:extLst>
          </p:cNvPr>
          <p:cNvCxnSpPr/>
          <p:nvPr userDrawn="1"/>
        </p:nvCxnSpPr>
        <p:spPr>
          <a:xfrm>
            <a:off x="6803250" y="10078027"/>
            <a:ext cx="0" cy="242545"/>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2757557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Section Header full width image">
    <p:spTree>
      <p:nvGrpSpPr>
        <p:cNvPr id="1" name=""/>
        <p:cNvGrpSpPr/>
        <p:nvPr/>
      </p:nvGrpSpPr>
      <p:grpSpPr>
        <a:xfrm>
          <a:off x="0" y="0"/>
          <a:ext cx="0" cy="0"/>
          <a:chOff x="0" y="0"/>
          <a:chExt cx="0" cy="0"/>
        </a:xfrm>
      </p:grpSpPr>
      <p:sp>
        <p:nvSpPr>
          <p:cNvPr id="36" name="Picture Placeholder 35">
            <a:extLst>
              <a:ext uri="{FF2B5EF4-FFF2-40B4-BE49-F238E27FC236}">
                <a16:creationId xmlns:a16="http://schemas.microsoft.com/office/drawing/2014/main" id="{A0C810F8-DFAB-09FF-9C62-9FCB8ECA197D}"/>
              </a:ext>
            </a:extLst>
          </p:cNvPr>
          <p:cNvSpPr>
            <a:spLocks noGrp="1" noChangeAspect="1"/>
          </p:cNvSpPr>
          <p:nvPr>
            <p:ph type="pic" sz="quarter" idx="20" hasCustomPrompt="1"/>
          </p:nvPr>
        </p:nvSpPr>
        <p:spPr>
          <a:xfrm>
            <a:off x="1" y="981264"/>
            <a:ext cx="7557263" cy="8717985"/>
          </a:xfrm>
          <a:prstGeom prst="rect">
            <a:avLst/>
          </a:prstGeom>
          <a:solidFill>
            <a:schemeClr val="bg1">
              <a:lumMod val="75000"/>
            </a:schemeClr>
          </a:solidFill>
        </p:spPr>
        <p:txBody>
          <a:bodyPr wrap="square" lIns="6840000" tIns="288000" rIns="360000" bIns="360000" anchor="t" anchorCtr="0">
            <a:noAutofit/>
          </a:bodyPr>
          <a:lstStyle>
            <a:lvl1pPr algn="r">
              <a:defRPr sz="1133" b="0">
                <a:solidFill>
                  <a:schemeClr val="bg1"/>
                </a:solidFill>
                <a:latin typeface="+mj-lt"/>
                <a:ea typeface="Roboto" panose="02000000000000000000" pitchFamily="2" charset="0"/>
              </a:defRPr>
            </a:lvl1pPr>
            <a:lvl2pPr algn="ctr">
              <a:defRPr b="0">
                <a:solidFill>
                  <a:schemeClr val="accent2"/>
                </a:solidFill>
                <a:latin typeface="Roboto" panose="02000000000000000000" pitchFamily="2" charset="0"/>
                <a:ea typeface="Roboto" panose="02000000000000000000" pitchFamily="2" charset="0"/>
              </a:defRPr>
            </a:lvl2pPr>
          </a:lstStyle>
          <a:p>
            <a:r>
              <a:rPr lang="en-AU"/>
              <a:t>To insert an image, select ‘Insert Picture’, or click on icon. Select ‘Picture Format &gt; Crop’ to edit size and position of picture.</a:t>
            </a:r>
          </a:p>
        </p:txBody>
      </p:sp>
      <p:sp>
        <p:nvSpPr>
          <p:cNvPr id="22" name="Footer Placeholder 4">
            <a:extLst>
              <a:ext uri="{FF2B5EF4-FFF2-40B4-BE49-F238E27FC236}">
                <a16:creationId xmlns:a16="http://schemas.microsoft.com/office/drawing/2014/main" id="{E478B37A-93E5-3050-AED1-1AE614E5E923}"/>
              </a:ext>
            </a:extLst>
          </p:cNvPr>
          <p:cNvSpPr>
            <a:spLocks noGrp="1"/>
          </p:cNvSpPr>
          <p:nvPr>
            <p:ph type="ftr" sz="quarter" idx="3"/>
          </p:nvPr>
        </p:nvSpPr>
        <p:spPr>
          <a:xfrm>
            <a:off x="401608" y="9905984"/>
            <a:ext cx="3704959" cy="561250"/>
          </a:xfrm>
          <a:prstGeom prst="rect">
            <a:avLst/>
          </a:prstGeom>
        </p:spPr>
        <p:txBody>
          <a:bodyPr vert="horz" lIns="0" tIns="0" rIns="0" bIns="0" rtlCol="0" anchor="ctr"/>
          <a:lstStyle>
            <a:lvl1pPr algn="l">
              <a:defRPr sz="809">
                <a:solidFill>
                  <a:schemeClr val="accent6"/>
                </a:solidFill>
              </a:defRPr>
            </a:lvl1pPr>
          </a:lstStyle>
          <a:p>
            <a:r>
              <a:rPr lang="en-GB"/>
              <a:t>To add a Footer, select 'Insert &gt; Header &amp; Footer'</a:t>
            </a:r>
          </a:p>
        </p:txBody>
      </p:sp>
      <p:sp>
        <p:nvSpPr>
          <p:cNvPr id="16" name="Text Placeholder 15">
            <a:extLst>
              <a:ext uri="{FF2B5EF4-FFF2-40B4-BE49-F238E27FC236}">
                <a16:creationId xmlns:a16="http://schemas.microsoft.com/office/drawing/2014/main" id="{6230822B-F962-DB00-EE97-E4256C54DAD4}"/>
              </a:ext>
            </a:extLst>
          </p:cNvPr>
          <p:cNvSpPr>
            <a:spLocks noGrp="1"/>
          </p:cNvSpPr>
          <p:nvPr>
            <p:ph type="body" sz="quarter" idx="15"/>
          </p:nvPr>
        </p:nvSpPr>
        <p:spPr>
          <a:xfrm>
            <a:off x="4972904" y="981263"/>
            <a:ext cx="732133" cy="1460026"/>
          </a:xfrm>
          <a:custGeom>
            <a:avLst/>
            <a:gdLst>
              <a:gd name="connsiteX0" fmla="*/ 442786 w 885571"/>
              <a:gd name="connsiteY0" fmla="*/ 936364 h 936498"/>
              <a:gd name="connsiteX1" fmla="*/ 442849 w 885571"/>
              <a:gd name="connsiteY1" fmla="*/ 936498 h 936498"/>
              <a:gd name="connsiteX2" fmla="*/ 442722 w 885571"/>
              <a:gd name="connsiteY2" fmla="*/ 936498 h 936498"/>
              <a:gd name="connsiteX3" fmla="*/ 0 w 885571"/>
              <a:gd name="connsiteY3" fmla="*/ 0 h 936498"/>
              <a:gd name="connsiteX4" fmla="*/ 885571 w 885571"/>
              <a:gd name="connsiteY4" fmla="*/ 0 h 936498"/>
              <a:gd name="connsiteX5" fmla="*/ 442786 w 885571"/>
              <a:gd name="connsiteY5" fmla="*/ 936364 h 936498"/>
              <a:gd name="connsiteX6" fmla="*/ 437876 w 885571"/>
              <a:gd name="connsiteY6" fmla="*/ 925981 h 936498"/>
              <a:gd name="connsiteX7" fmla="*/ 0 w 885571"/>
              <a:gd name="connsiteY7" fmla="*/ 0 h 936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5571" h="936498">
                <a:moveTo>
                  <a:pt x="442786" y="936364"/>
                </a:moveTo>
                <a:lnTo>
                  <a:pt x="442849" y="936498"/>
                </a:lnTo>
                <a:lnTo>
                  <a:pt x="442722" y="936498"/>
                </a:lnTo>
                <a:close/>
                <a:moveTo>
                  <a:pt x="0" y="0"/>
                </a:moveTo>
                <a:lnTo>
                  <a:pt x="885571" y="0"/>
                </a:lnTo>
                <a:lnTo>
                  <a:pt x="442786" y="936364"/>
                </a:lnTo>
                <a:lnTo>
                  <a:pt x="437876" y="925981"/>
                </a:lnTo>
                <a:cubicBezTo>
                  <a:pt x="389223" y="823094"/>
                  <a:pt x="0" y="0"/>
                  <a:pt x="0" y="0"/>
                </a:cubicBezTo>
                <a:close/>
              </a:path>
            </a:pathLst>
          </a:custGeom>
          <a:solidFill>
            <a:schemeClr val="accent1">
              <a:alpha val="66000"/>
            </a:schemeClr>
          </a:solidFill>
        </p:spPr>
        <p:txBody>
          <a:bodyPr wrap="square">
            <a:noAutofit/>
          </a:bodyPr>
          <a:lstStyle>
            <a:lvl1pPr>
              <a:spcBef>
                <a:spcPts val="0"/>
              </a:spcBef>
              <a:defRPr sz="324">
                <a:noFill/>
              </a:defRPr>
            </a:lvl1pPr>
            <a:lvl2pPr marL="0" indent="0">
              <a:spcBef>
                <a:spcPts val="0"/>
              </a:spcBef>
              <a:buNone/>
              <a:defRPr sz="324">
                <a:noFill/>
              </a:defRPr>
            </a:lvl2pPr>
            <a:lvl3pPr marL="0" indent="0">
              <a:spcBef>
                <a:spcPts val="0"/>
              </a:spcBef>
              <a:buNone/>
              <a:defRPr sz="324">
                <a:noFill/>
              </a:defRPr>
            </a:lvl3pPr>
            <a:lvl4pPr>
              <a:spcBef>
                <a:spcPts val="0"/>
              </a:spcBef>
              <a:defRPr sz="324" b="0">
                <a:noFill/>
              </a:defRPr>
            </a:lvl4pPr>
            <a:lvl5pPr>
              <a:spcBef>
                <a:spcPts val="0"/>
              </a:spcBef>
              <a:defRPr sz="324">
                <a:noFill/>
              </a:defRPr>
            </a:lvl5pPr>
            <a:lvl6pPr>
              <a:spcBef>
                <a:spcPts val="0"/>
              </a:spcBef>
              <a:defRPr sz="324">
                <a:noFill/>
              </a:defRPr>
            </a:lvl6pPr>
            <a:lvl7pPr>
              <a:spcBef>
                <a:spcPts val="0"/>
              </a:spcBef>
              <a:defRPr sz="324">
                <a:noFill/>
              </a:defRPr>
            </a:lvl7pPr>
            <a:lvl8pPr>
              <a:spcBef>
                <a:spcPts val="0"/>
              </a:spcBef>
              <a:defRPr sz="324">
                <a:noFill/>
              </a:defRPr>
            </a:lvl8pPr>
            <a:lvl9pPr>
              <a:spcBef>
                <a:spcPts val="0"/>
              </a:spcBef>
              <a:defRPr sz="324">
                <a:noFill/>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a:p>
        </p:txBody>
      </p:sp>
      <p:sp>
        <p:nvSpPr>
          <p:cNvPr id="18" name="Text Placeholder 17">
            <a:extLst>
              <a:ext uri="{FF2B5EF4-FFF2-40B4-BE49-F238E27FC236}">
                <a16:creationId xmlns:a16="http://schemas.microsoft.com/office/drawing/2014/main" id="{682D5331-408D-EF45-7B7C-C5B7E1DA757B}"/>
              </a:ext>
            </a:extLst>
          </p:cNvPr>
          <p:cNvSpPr>
            <a:spLocks noGrp="1"/>
          </p:cNvSpPr>
          <p:nvPr>
            <p:ph type="body" sz="quarter" idx="17"/>
          </p:nvPr>
        </p:nvSpPr>
        <p:spPr>
          <a:xfrm>
            <a:off x="4606680" y="981262"/>
            <a:ext cx="732133" cy="1460026"/>
          </a:xfrm>
          <a:custGeom>
            <a:avLst/>
            <a:gdLst>
              <a:gd name="connsiteX0" fmla="*/ 442786 w 885571"/>
              <a:gd name="connsiteY0" fmla="*/ 134 h 936498"/>
              <a:gd name="connsiteX1" fmla="*/ 447696 w 885571"/>
              <a:gd name="connsiteY1" fmla="*/ 10517 h 936498"/>
              <a:gd name="connsiteX2" fmla="*/ 885571 w 885571"/>
              <a:gd name="connsiteY2" fmla="*/ 936498 h 936498"/>
              <a:gd name="connsiteX3" fmla="*/ 0 w 885571"/>
              <a:gd name="connsiteY3" fmla="*/ 936498 h 936498"/>
              <a:gd name="connsiteX4" fmla="*/ 442722 w 885571"/>
              <a:gd name="connsiteY4" fmla="*/ 0 h 936498"/>
              <a:gd name="connsiteX5" fmla="*/ 442849 w 885571"/>
              <a:gd name="connsiteY5" fmla="*/ 0 h 936498"/>
              <a:gd name="connsiteX6" fmla="*/ 442786 w 885571"/>
              <a:gd name="connsiteY6" fmla="*/ 134 h 936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5571" h="936498">
                <a:moveTo>
                  <a:pt x="442786" y="134"/>
                </a:moveTo>
                <a:lnTo>
                  <a:pt x="447696" y="10517"/>
                </a:lnTo>
                <a:cubicBezTo>
                  <a:pt x="496349" y="113404"/>
                  <a:pt x="885571" y="936498"/>
                  <a:pt x="885571" y="936498"/>
                </a:cubicBezTo>
                <a:lnTo>
                  <a:pt x="0" y="936498"/>
                </a:lnTo>
                <a:close/>
                <a:moveTo>
                  <a:pt x="442722" y="0"/>
                </a:moveTo>
                <a:lnTo>
                  <a:pt x="442849" y="0"/>
                </a:lnTo>
                <a:lnTo>
                  <a:pt x="442786" y="134"/>
                </a:lnTo>
                <a:close/>
              </a:path>
            </a:pathLst>
          </a:custGeom>
          <a:solidFill>
            <a:schemeClr val="accent1">
              <a:alpha val="66000"/>
            </a:schemeClr>
          </a:solidFill>
        </p:spPr>
        <p:txBody>
          <a:bodyPr wrap="square">
            <a:noAutofit/>
          </a:bodyPr>
          <a:lstStyle>
            <a:lvl1pPr>
              <a:spcBef>
                <a:spcPts val="0"/>
              </a:spcBef>
              <a:defRPr sz="324">
                <a:noFill/>
              </a:defRPr>
            </a:lvl1pPr>
            <a:lvl2pPr marL="0" indent="0">
              <a:spcBef>
                <a:spcPts val="0"/>
              </a:spcBef>
              <a:buNone/>
              <a:defRPr sz="324">
                <a:noFill/>
              </a:defRPr>
            </a:lvl2pPr>
            <a:lvl3pPr marL="0" indent="0">
              <a:spcBef>
                <a:spcPts val="0"/>
              </a:spcBef>
              <a:buNone/>
              <a:defRPr sz="324">
                <a:noFill/>
              </a:defRPr>
            </a:lvl3pPr>
            <a:lvl4pPr>
              <a:spcBef>
                <a:spcPts val="0"/>
              </a:spcBef>
              <a:defRPr sz="324" b="0">
                <a:noFill/>
              </a:defRPr>
            </a:lvl4pPr>
            <a:lvl5pPr>
              <a:spcBef>
                <a:spcPts val="0"/>
              </a:spcBef>
              <a:defRPr sz="324">
                <a:noFill/>
              </a:defRPr>
            </a:lvl5pPr>
            <a:lvl6pPr>
              <a:spcBef>
                <a:spcPts val="0"/>
              </a:spcBef>
              <a:defRPr sz="324">
                <a:noFill/>
              </a:defRPr>
            </a:lvl6pPr>
            <a:lvl7pPr>
              <a:spcBef>
                <a:spcPts val="0"/>
              </a:spcBef>
              <a:defRPr sz="324">
                <a:noFill/>
              </a:defRPr>
            </a:lvl7pPr>
            <a:lvl8pPr>
              <a:spcBef>
                <a:spcPts val="0"/>
              </a:spcBef>
              <a:defRPr sz="324">
                <a:noFill/>
              </a:defRPr>
            </a:lvl8pPr>
            <a:lvl9pPr>
              <a:spcBef>
                <a:spcPts val="0"/>
              </a:spcBef>
              <a:defRPr sz="324">
                <a:noFill/>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a:p>
        </p:txBody>
      </p:sp>
      <p:sp>
        <p:nvSpPr>
          <p:cNvPr id="19" name="Free-form: Shape 18">
            <a:extLst>
              <a:ext uri="{FF2B5EF4-FFF2-40B4-BE49-F238E27FC236}">
                <a16:creationId xmlns:a16="http://schemas.microsoft.com/office/drawing/2014/main" id="{A3A3D436-8180-38F3-59D6-0BA3DD774A4D}"/>
              </a:ext>
            </a:extLst>
          </p:cNvPr>
          <p:cNvSpPr/>
          <p:nvPr userDrawn="1"/>
        </p:nvSpPr>
        <p:spPr>
          <a:xfrm>
            <a:off x="5336399" y="9699053"/>
            <a:ext cx="1092688" cy="987013"/>
          </a:xfrm>
          <a:custGeom>
            <a:avLst/>
            <a:gdLst>
              <a:gd name="connsiteX0" fmla="*/ 1321689 w 1321689"/>
              <a:gd name="connsiteY0" fmla="*/ 0 h 633095"/>
              <a:gd name="connsiteX1" fmla="*/ 300863 w 1321689"/>
              <a:gd name="connsiteY1" fmla="*/ 0 h 633095"/>
              <a:gd name="connsiteX2" fmla="*/ 0 w 1321689"/>
              <a:gd name="connsiteY2" fmla="*/ 633095 h 633095"/>
              <a:gd name="connsiteX3" fmla="*/ 1020953 w 1321689"/>
              <a:gd name="connsiteY3" fmla="*/ 633095 h 633095"/>
              <a:gd name="connsiteX4" fmla="*/ 1321562 w 1321689"/>
              <a:gd name="connsiteY4" fmla="*/ 0 h 6330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1689" h="633095">
                <a:moveTo>
                  <a:pt x="1321689" y="0"/>
                </a:moveTo>
                <a:lnTo>
                  <a:pt x="300863" y="0"/>
                </a:lnTo>
                <a:lnTo>
                  <a:pt x="0" y="633095"/>
                </a:lnTo>
                <a:lnTo>
                  <a:pt x="1020953" y="633095"/>
                </a:lnTo>
                <a:lnTo>
                  <a:pt x="1321562" y="0"/>
                </a:lnTo>
                <a:close/>
              </a:path>
            </a:pathLst>
          </a:custGeom>
          <a:solidFill>
            <a:schemeClr val="tx2"/>
          </a:solidFill>
          <a:ln w="6350" cap="flat">
            <a:noFill/>
            <a:prstDash val="solid"/>
            <a:miter/>
          </a:ln>
        </p:spPr>
        <p:txBody>
          <a:bodyPr rtlCol="0" anchor="ctr"/>
          <a:lstStyle/>
          <a:p>
            <a:pPr lvl="0"/>
            <a:endParaRPr lang="en-AU" sz="1457"/>
          </a:p>
        </p:txBody>
      </p:sp>
      <p:sp>
        <p:nvSpPr>
          <p:cNvPr id="26" name="Free-form: Shape 25">
            <a:extLst>
              <a:ext uri="{FF2B5EF4-FFF2-40B4-BE49-F238E27FC236}">
                <a16:creationId xmlns:a16="http://schemas.microsoft.com/office/drawing/2014/main" id="{41BC3F22-BF2C-9936-4961-258371143F9B}"/>
              </a:ext>
            </a:extLst>
          </p:cNvPr>
          <p:cNvSpPr/>
          <p:nvPr userDrawn="1"/>
        </p:nvSpPr>
        <p:spPr>
          <a:xfrm>
            <a:off x="4972799" y="-5747"/>
            <a:ext cx="979083" cy="987011"/>
          </a:xfrm>
          <a:custGeom>
            <a:avLst/>
            <a:gdLst>
              <a:gd name="connsiteX0" fmla="*/ 299339 w 1184275"/>
              <a:gd name="connsiteY0" fmla="*/ 0 h 633094"/>
              <a:gd name="connsiteX1" fmla="*/ 0 w 1184275"/>
              <a:gd name="connsiteY1" fmla="*/ 633095 h 633094"/>
              <a:gd name="connsiteX2" fmla="*/ 885572 w 1184275"/>
              <a:gd name="connsiteY2" fmla="*/ 633095 h 633094"/>
              <a:gd name="connsiteX3" fmla="*/ 1184275 w 1184275"/>
              <a:gd name="connsiteY3" fmla="*/ 0 h 633094"/>
              <a:gd name="connsiteX4" fmla="*/ 299339 w 1184275"/>
              <a:gd name="connsiteY4" fmla="*/ 0 h 633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275" h="633094">
                <a:moveTo>
                  <a:pt x="299339" y="0"/>
                </a:moveTo>
                <a:lnTo>
                  <a:pt x="0" y="633095"/>
                </a:lnTo>
                <a:lnTo>
                  <a:pt x="885572" y="633095"/>
                </a:lnTo>
                <a:cubicBezTo>
                  <a:pt x="885572" y="633095"/>
                  <a:pt x="1184275" y="0"/>
                  <a:pt x="1184275" y="0"/>
                </a:cubicBezTo>
                <a:lnTo>
                  <a:pt x="299339" y="0"/>
                </a:lnTo>
                <a:close/>
              </a:path>
            </a:pathLst>
          </a:custGeom>
          <a:solidFill>
            <a:srgbClr val="CEDC00"/>
          </a:solidFill>
          <a:ln w="12691" cap="flat">
            <a:noFill/>
            <a:prstDash val="solid"/>
            <a:miter/>
          </a:ln>
        </p:spPr>
        <p:txBody>
          <a:bodyPr rtlCol="0" anchor="ctr"/>
          <a:lstStyle/>
          <a:p>
            <a:endParaRPr lang="en-AU" sz="1457"/>
          </a:p>
        </p:txBody>
      </p:sp>
      <p:sp>
        <p:nvSpPr>
          <p:cNvPr id="27" name="Free-form: Shape 26">
            <a:extLst>
              <a:ext uri="{FF2B5EF4-FFF2-40B4-BE49-F238E27FC236}">
                <a16:creationId xmlns:a16="http://schemas.microsoft.com/office/drawing/2014/main" id="{2315349F-5DCB-7C77-ADF4-93BBD78D466D}"/>
              </a:ext>
            </a:extLst>
          </p:cNvPr>
          <p:cNvSpPr/>
          <p:nvPr userDrawn="1"/>
        </p:nvSpPr>
        <p:spPr>
          <a:xfrm>
            <a:off x="5338815" y="981265"/>
            <a:ext cx="366120" cy="1460025"/>
          </a:xfrm>
          <a:custGeom>
            <a:avLst/>
            <a:gdLst>
              <a:gd name="connsiteX0" fmla="*/ 442849 w 442849"/>
              <a:gd name="connsiteY0" fmla="*/ 0 h 936497"/>
              <a:gd name="connsiteX1" fmla="*/ 0 w 442849"/>
              <a:gd name="connsiteY1" fmla="*/ 936498 h 936497"/>
            </a:gdLst>
            <a:ahLst/>
            <a:cxnLst>
              <a:cxn ang="0">
                <a:pos x="connsiteX0" y="connsiteY0"/>
              </a:cxn>
              <a:cxn ang="0">
                <a:pos x="connsiteX1" y="connsiteY1"/>
              </a:cxn>
            </a:cxnLst>
            <a:rect l="l" t="t" r="r" b="b"/>
            <a:pathLst>
              <a:path w="442849" h="936497">
                <a:moveTo>
                  <a:pt x="442849" y="0"/>
                </a:moveTo>
                <a:lnTo>
                  <a:pt x="0" y="936498"/>
                </a:lnTo>
              </a:path>
            </a:pathLst>
          </a:custGeom>
          <a:solidFill>
            <a:srgbClr val="FFFFFF"/>
          </a:solidFill>
          <a:ln w="12691" cap="flat">
            <a:noFill/>
            <a:prstDash val="solid"/>
            <a:miter/>
          </a:ln>
        </p:spPr>
        <p:txBody>
          <a:bodyPr rtlCol="0" anchor="ctr"/>
          <a:lstStyle/>
          <a:p>
            <a:endParaRPr lang="en-AU" sz="1457"/>
          </a:p>
        </p:txBody>
      </p:sp>
      <p:sp>
        <p:nvSpPr>
          <p:cNvPr id="28" name="Free-form: Shape 27">
            <a:extLst>
              <a:ext uri="{FF2B5EF4-FFF2-40B4-BE49-F238E27FC236}">
                <a16:creationId xmlns:a16="http://schemas.microsoft.com/office/drawing/2014/main" id="{1407844C-B43F-E7F1-25BB-730A42F8C798}"/>
              </a:ext>
            </a:extLst>
          </p:cNvPr>
          <p:cNvSpPr/>
          <p:nvPr userDrawn="1"/>
        </p:nvSpPr>
        <p:spPr>
          <a:xfrm>
            <a:off x="263227" y="-5749"/>
            <a:ext cx="7296451" cy="987211"/>
          </a:xfrm>
          <a:custGeom>
            <a:avLst/>
            <a:gdLst>
              <a:gd name="connsiteX0" fmla="*/ 0 w 8825611"/>
              <a:gd name="connsiteY0" fmla="*/ 0 h 633222"/>
              <a:gd name="connsiteX1" fmla="*/ 8825611 w 8825611"/>
              <a:gd name="connsiteY1" fmla="*/ 0 h 633222"/>
              <a:gd name="connsiteX2" fmla="*/ 8825611 w 8825611"/>
              <a:gd name="connsiteY2" fmla="*/ 633222 h 633222"/>
              <a:gd name="connsiteX3" fmla="*/ 0 w 8825611"/>
              <a:gd name="connsiteY3" fmla="*/ 633222 h 633222"/>
            </a:gdLst>
            <a:ahLst/>
            <a:cxnLst>
              <a:cxn ang="0">
                <a:pos x="connsiteX0" y="connsiteY0"/>
              </a:cxn>
              <a:cxn ang="0">
                <a:pos x="connsiteX1" y="connsiteY1"/>
              </a:cxn>
              <a:cxn ang="0">
                <a:pos x="connsiteX2" y="connsiteY2"/>
              </a:cxn>
              <a:cxn ang="0">
                <a:pos x="connsiteX3" y="connsiteY3"/>
              </a:cxn>
            </a:cxnLst>
            <a:rect l="l" t="t" r="r" b="b"/>
            <a:pathLst>
              <a:path w="8825611" h="633222">
                <a:moveTo>
                  <a:pt x="0" y="0"/>
                </a:moveTo>
                <a:lnTo>
                  <a:pt x="8825611" y="0"/>
                </a:lnTo>
                <a:lnTo>
                  <a:pt x="8825611" y="633222"/>
                </a:lnTo>
                <a:lnTo>
                  <a:pt x="0" y="633222"/>
                </a:lnTo>
                <a:close/>
              </a:path>
            </a:pathLst>
          </a:custGeom>
          <a:noFill/>
          <a:ln w="12691" cap="flat">
            <a:noFill/>
            <a:prstDash val="solid"/>
            <a:miter/>
          </a:ln>
        </p:spPr>
        <p:txBody>
          <a:bodyPr rtlCol="0" anchor="ctr"/>
          <a:lstStyle/>
          <a:p>
            <a:endParaRPr lang="en-AU" sz="1457"/>
          </a:p>
        </p:txBody>
      </p:sp>
      <p:sp>
        <p:nvSpPr>
          <p:cNvPr id="29" name="Text Placeholder 28">
            <a:extLst>
              <a:ext uri="{FF2B5EF4-FFF2-40B4-BE49-F238E27FC236}">
                <a16:creationId xmlns:a16="http://schemas.microsoft.com/office/drawing/2014/main" id="{B44498DC-53F4-4976-1118-A8506276F416}"/>
              </a:ext>
            </a:extLst>
          </p:cNvPr>
          <p:cNvSpPr>
            <a:spLocks noGrp="1"/>
          </p:cNvSpPr>
          <p:nvPr>
            <p:ph type="body" sz="quarter" idx="18"/>
          </p:nvPr>
        </p:nvSpPr>
        <p:spPr>
          <a:xfrm>
            <a:off x="4240666" y="981262"/>
            <a:ext cx="1098253" cy="1460026"/>
          </a:xfrm>
          <a:custGeom>
            <a:avLst/>
            <a:gdLst>
              <a:gd name="connsiteX0" fmla="*/ 0 w 1328420"/>
              <a:gd name="connsiteY0" fmla="*/ 0 h 936498"/>
              <a:gd name="connsiteX1" fmla="*/ 885571 w 1328420"/>
              <a:gd name="connsiteY1" fmla="*/ 0 h 936498"/>
              <a:gd name="connsiteX2" fmla="*/ 1328420 w 1328420"/>
              <a:gd name="connsiteY2" fmla="*/ 936498 h 936498"/>
              <a:gd name="connsiteX3" fmla="*/ 442849 w 1328420"/>
              <a:gd name="connsiteY3" fmla="*/ 936498 h 936498"/>
              <a:gd name="connsiteX4" fmla="*/ 0 w 1328420"/>
              <a:gd name="connsiteY4" fmla="*/ 0 h 9364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8420" h="936498">
                <a:moveTo>
                  <a:pt x="0" y="0"/>
                </a:moveTo>
                <a:lnTo>
                  <a:pt x="885571" y="0"/>
                </a:lnTo>
                <a:lnTo>
                  <a:pt x="1328420" y="936498"/>
                </a:lnTo>
                <a:lnTo>
                  <a:pt x="442849" y="936498"/>
                </a:lnTo>
                <a:cubicBezTo>
                  <a:pt x="442849" y="936498"/>
                  <a:pt x="0" y="0"/>
                  <a:pt x="0" y="0"/>
                </a:cubicBezTo>
                <a:close/>
              </a:path>
            </a:pathLst>
          </a:custGeom>
          <a:solidFill>
            <a:schemeClr val="bg1">
              <a:alpha val="33000"/>
            </a:schemeClr>
          </a:solidFill>
        </p:spPr>
        <p:txBody>
          <a:bodyPr wrap="square">
            <a:noAutofit/>
          </a:bodyPr>
          <a:lstStyle>
            <a:lvl1pPr>
              <a:spcBef>
                <a:spcPts val="0"/>
              </a:spcBef>
              <a:defRPr sz="324">
                <a:noFill/>
              </a:defRPr>
            </a:lvl1pPr>
            <a:lvl2pPr marL="0" indent="0">
              <a:spcBef>
                <a:spcPts val="0"/>
              </a:spcBef>
              <a:buNone/>
              <a:defRPr sz="324">
                <a:noFill/>
              </a:defRPr>
            </a:lvl2pPr>
            <a:lvl3pPr marL="0" indent="0">
              <a:spcBef>
                <a:spcPts val="0"/>
              </a:spcBef>
              <a:buNone/>
              <a:defRPr sz="324">
                <a:noFill/>
              </a:defRPr>
            </a:lvl3pPr>
            <a:lvl4pPr>
              <a:spcBef>
                <a:spcPts val="0"/>
              </a:spcBef>
              <a:defRPr sz="324" b="0">
                <a:noFill/>
              </a:defRPr>
            </a:lvl4pPr>
            <a:lvl5pPr>
              <a:spcBef>
                <a:spcPts val="0"/>
              </a:spcBef>
              <a:defRPr sz="324">
                <a:noFill/>
              </a:defRPr>
            </a:lvl5pPr>
            <a:lvl6pPr>
              <a:spcBef>
                <a:spcPts val="0"/>
              </a:spcBef>
              <a:defRPr sz="324">
                <a:noFill/>
              </a:defRPr>
            </a:lvl6pPr>
            <a:lvl7pPr>
              <a:spcBef>
                <a:spcPts val="0"/>
              </a:spcBef>
              <a:defRPr sz="324">
                <a:noFill/>
              </a:defRPr>
            </a:lvl7pPr>
            <a:lvl8pPr>
              <a:spcBef>
                <a:spcPts val="0"/>
              </a:spcBef>
              <a:defRPr sz="324">
                <a:noFill/>
              </a:defRPr>
            </a:lvl8pPr>
            <a:lvl9pPr>
              <a:spcBef>
                <a:spcPts val="0"/>
              </a:spcBef>
              <a:defRPr sz="324">
                <a:noFill/>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a:p>
        </p:txBody>
      </p:sp>
      <p:sp>
        <p:nvSpPr>
          <p:cNvPr id="30" name="Text Placeholder 29">
            <a:extLst>
              <a:ext uri="{FF2B5EF4-FFF2-40B4-BE49-F238E27FC236}">
                <a16:creationId xmlns:a16="http://schemas.microsoft.com/office/drawing/2014/main" id="{578D3637-7058-A75F-A9AF-CA3F50EE0F9E}"/>
              </a:ext>
            </a:extLst>
          </p:cNvPr>
          <p:cNvSpPr>
            <a:spLocks noGrp="1"/>
          </p:cNvSpPr>
          <p:nvPr>
            <p:ph type="body" sz="quarter" idx="19"/>
          </p:nvPr>
        </p:nvSpPr>
        <p:spPr>
          <a:xfrm>
            <a:off x="5584188" y="8014498"/>
            <a:ext cx="1268765" cy="1688515"/>
          </a:xfrm>
          <a:custGeom>
            <a:avLst/>
            <a:gdLst>
              <a:gd name="connsiteX0" fmla="*/ 513969 w 1534668"/>
              <a:gd name="connsiteY0" fmla="*/ 0 h 1083056"/>
              <a:gd name="connsiteX1" fmla="*/ 1534668 w 1534668"/>
              <a:gd name="connsiteY1" fmla="*/ 0 h 1083056"/>
              <a:gd name="connsiteX2" fmla="*/ 1021969 w 1534668"/>
              <a:gd name="connsiteY2" fmla="*/ 1080516 h 1083056"/>
              <a:gd name="connsiteX3" fmla="*/ 0 w 1534668"/>
              <a:gd name="connsiteY3" fmla="*/ 1083056 h 1083056"/>
            </a:gdLst>
            <a:ahLst/>
            <a:cxnLst>
              <a:cxn ang="0">
                <a:pos x="connsiteX0" y="connsiteY0"/>
              </a:cxn>
              <a:cxn ang="0">
                <a:pos x="connsiteX1" y="connsiteY1"/>
              </a:cxn>
              <a:cxn ang="0">
                <a:pos x="connsiteX2" y="connsiteY2"/>
              </a:cxn>
              <a:cxn ang="0">
                <a:pos x="connsiteX3" y="connsiteY3"/>
              </a:cxn>
            </a:cxnLst>
            <a:rect l="l" t="t" r="r" b="b"/>
            <a:pathLst>
              <a:path w="1534668" h="1083056">
                <a:moveTo>
                  <a:pt x="513969" y="0"/>
                </a:moveTo>
                <a:lnTo>
                  <a:pt x="1534668" y="0"/>
                </a:lnTo>
                <a:lnTo>
                  <a:pt x="1021969" y="1080516"/>
                </a:lnTo>
                <a:lnTo>
                  <a:pt x="0" y="1083056"/>
                </a:lnTo>
                <a:close/>
              </a:path>
            </a:pathLst>
          </a:custGeom>
          <a:solidFill>
            <a:schemeClr val="tx2">
              <a:alpha val="50000"/>
            </a:schemeClr>
          </a:solidFill>
        </p:spPr>
        <p:txBody>
          <a:bodyPr vert="horz" wrap="square" lIns="0" tIns="0" rIns="0" bIns="0" rtlCol="0">
            <a:noAutofit/>
          </a:bodyPr>
          <a:lstStyle>
            <a:lvl1pPr>
              <a:defRPr lang="en-US" sz="324" dirty="0">
                <a:noFill/>
              </a:defRPr>
            </a:lvl1pPr>
            <a:lvl2pPr>
              <a:defRPr lang="en-US" sz="324" dirty="0">
                <a:noFill/>
              </a:defRPr>
            </a:lvl2pPr>
            <a:lvl3pPr>
              <a:defRPr lang="en-US" sz="324" dirty="0">
                <a:noFill/>
              </a:defRPr>
            </a:lvl3pPr>
            <a:lvl4pPr>
              <a:defRPr lang="en-US" sz="324" dirty="0">
                <a:noFill/>
              </a:defRPr>
            </a:lvl4pPr>
            <a:lvl5pPr>
              <a:defRPr lang="en-US" sz="324" dirty="0">
                <a:noFill/>
              </a:defRPr>
            </a:lvl5pPr>
            <a:lvl6pPr>
              <a:defRPr lang="en-US" sz="324" dirty="0">
                <a:noFill/>
              </a:defRPr>
            </a:lvl6pPr>
            <a:lvl7pPr>
              <a:defRPr lang="en-US" sz="324" dirty="0">
                <a:noFill/>
              </a:defRPr>
            </a:lvl7pPr>
            <a:lvl8pPr>
              <a:defRPr lang="en-US" sz="324" dirty="0">
                <a:noFill/>
              </a:defRPr>
            </a:lvl8pPr>
            <a:lvl9pPr>
              <a:defRPr lang="en-AU" sz="324" dirty="0">
                <a:noFill/>
              </a:defRPr>
            </a:lvl9pPr>
          </a:lstStyle>
          <a:p>
            <a:pPr lvl="0">
              <a:spcBef>
                <a:spcPts val="0"/>
              </a:spcBef>
            </a:pPr>
            <a:r>
              <a:rPr lang="en-GB"/>
              <a:t>Click to edit Master text styles</a:t>
            </a:r>
          </a:p>
          <a:p>
            <a:pPr lvl="1">
              <a:spcBef>
                <a:spcPts val="0"/>
              </a:spcBef>
            </a:pPr>
            <a:r>
              <a:rPr lang="en-GB"/>
              <a:t>Second level</a:t>
            </a:r>
          </a:p>
          <a:p>
            <a:pPr lvl="2">
              <a:spcBef>
                <a:spcPts val="0"/>
              </a:spcBef>
            </a:pPr>
            <a:r>
              <a:rPr lang="en-GB"/>
              <a:t>Third level</a:t>
            </a:r>
          </a:p>
          <a:p>
            <a:pPr lvl="3">
              <a:spcBef>
                <a:spcPts val="0"/>
              </a:spcBef>
            </a:pPr>
            <a:r>
              <a:rPr lang="en-GB"/>
              <a:t>Fourth level</a:t>
            </a:r>
          </a:p>
          <a:p>
            <a:pPr lvl="4">
              <a:spcBef>
                <a:spcPts val="0"/>
              </a:spcBef>
            </a:pPr>
            <a:r>
              <a:rPr lang="en-GB"/>
              <a:t>Fifth level</a:t>
            </a:r>
            <a:endParaRPr lang="en-AU"/>
          </a:p>
        </p:txBody>
      </p:sp>
      <p:sp>
        <p:nvSpPr>
          <p:cNvPr id="31" name="Text Placeholder 30">
            <a:extLst>
              <a:ext uri="{FF2B5EF4-FFF2-40B4-BE49-F238E27FC236}">
                <a16:creationId xmlns:a16="http://schemas.microsoft.com/office/drawing/2014/main" id="{2837DE7F-B0A0-98EB-E050-22BBFBCCB4C2}"/>
              </a:ext>
            </a:extLst>
          </p:cNvPr>
          <p:cNvSpPr>
            <a:spLocks noGrp="1"/>
          </p:cNvSpPr>
          <p:nvPr>
            <p:ph type="body" sz="quarter" idx="16"/>
          </p:nvPr>
        </p:nvSpPr>
        <p:spPr>
          <a:xfrm>
            <a:off x="6009105" y="8014499"/>
            <a:ext cx="1263726" cy="1684752"/>
          </a:xfrm>
          <a:custGeom>
            <a:avLst/>
            <a:gdLst>
              <a:gd name="connsiteX0" fmla="*/ 0 w 1528572"/>
              <a:gd name="connsiteY0" fmla="*/ 0 h 1080643"/>
              <a:gd name="connsiteX1" fmla="*/ 1020572 w 1528572"/>
              <a:gd name="connsiteY1" fmla="*/ 0 h 1080643"/>
              <a:gd name="connsiteX2" fmla="*/ 1528572 w 1528572"/>
              <a:gd name="connsiteY2" fmla="*/ 1080643 h 1080643"/>
              <a:gd name="connsiteX3" fmla="*/ 508000 w 1528572"/>
              <a:gd name="connsiteY3" fmla="*/ 1080643 h 1080643"/>
            </a:gdLst>
            <a:ahLst/>
            <a:cxnLst>
              <a:cxn ang="0">
                <a:pos x="connsiteX0" y="connsiteY0"/>
              </a:cxn>
              <a:cxn ang="0">
                <a:pos x="connsiteX1" y="connsiteY1"/>
              </a:cxn>
              <a:cxn ang="0">
                <a:pos x="connsiteX2" y="connsiteY2"/>
              </a:cxn>
              <a:cxn ang="0">
                <a:pos x="connsiteX3" y="connsiteY3"/>
              </a:cxn>
            </a:cxnLst>
            <a:rect l="l" t="t" r="r" b="b"/>
            <a:pathLst>
              <a:path w="1528572" h="1080643">
                <a:moveTo>
                  <a:pt x="0" y="0"/>
                </a:moveTo>
                <a:lnTo>
                  <a:pt x="1020572" y="0"/>
                </a:lnTo>
                <a:cubicBezTo>
                  <a:pt x="1020572" y="0"/>
                  <a:pt x="1528572" y="1080643"/>
                  <a:pt x="1528572" y="1080643"/>
                </a:cubicBezTo>
                <a:lnTo>
                  <a:pt x="508000" y="1080643"/>
                </a:lnTo>
                <a:close/>
              </a:path>
            </a:pathLst>
          </a:custGeom>
          <a:solidFill>
            <a:schemeClr val="bg1">
              <a:alpha val="33000"/>
            </a:schemeClr>
          </a:solidFill>
        </p:spPr>
        <p:txBody>
          <a:bodyPr wrap="square">
            <a:noAutofit/>
          </a:bodyPr>
          <a:lstStyle>
            <a:lvl1pPr>
              <a:spcBef>
                <a:spcPts val="0"/>
              </a:spcBef>
              <a:defRPr sz="324">
                <a:noFill/>
              </a:defRPr>
            </a:lvl1pPr>
            <a:lvl2pPr marL="0" indent="0">
              <a:spcBef>
                <a:spcPts val="0"/>
              </a:spcBef>
              <a:buNone/>
              <a:defRPr sz="324">
                <a:noFill/>
              </a:defRPr>
            </a:lvl2pPr>
            <a:lvl3pPr marL="0" indent="0">
              <a:spcBef>
                <a:spcPts val="0"/>
              </a:spcBef>
              <a:buNone/>
              <a:defRPr sz="324">
                <a:noFill/>
              </a:defRPr>
            </a:lvl3pPr>
            <a:lvl4pPr>
              <a:spcBef>
                <a:spcPts val="0"/>
              </a:spcBef>
              <a:defRPr sz="324" b="0">
                <a:noFill/>
              </a:defRPr>
            </a:lvl4pPr>
            <a:lvl5pPr>
              <a:spcBef>
                <a:spcPts val="0"/>
              </a:spcBef>
              <a:defRPr sz="324">
                <a:noFill/>
              </a:defRPr>
            </a:lvl5pPr>
            <a:lvl6pPr>
              <a:spcBef>
                <a:spcPts val="0"/>
              </a:spcBef>
              <a:defRPr sz="324">
                <a:noFill/>
              </a:defRPr>
            </a:lvl6pPr>
            <a:lvl7pPr>
              <a:spcBef>
                <a:spcPts val="0"/>
              </a:spcBef>
              <a:defRPr sz="324">
                <a:noFill/>
              </a:defRPr>
            </a:lvl7pPr>
            <a:lvl8pPr>
              <a:spcBef>
                <a:spcPts val="0"/>
              </a:spcBef>
              <a:defRPr sz="324">
                <a:noFill/>
              </a:defRPr>
            </a:lvl8pPr>
            <a:lvl9pPr>
              <a:spcBef>
                <a:spcPts val="0"/>
              </a:spcBef>
              <a:defRPr sz="324">
                <a:noFill/>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a:p>
        </p:txBody>
      </p:sp>
      <p:sp>
        <p:nvSpPr>
          <p:cNvPr id="40" name="Text Placeholder 39">
            <a:extLst>
              <a:ext uri="{FF2B5EF4-FFF2-40B4-BE49-F238E27FC236}">
                <a16:creationId xmlns:a16="http://schemas.microsoft.com/office/drawing/2014/main" id="{24349991-AE8C-CA92-BF55-D82BA54DBCB2}"/>
              </a:ext>
            </a:extLst>
          </p:cNvPr>
          <p:cNvSpPr>
            <a:spLocks noGrp="1"/>
          </p:cNvSpPr>
          <p:nvPr>
            <p:ph type="body" sz="quarter" idx="21"/>
          </p:nvPr>
        </p:nvSpPr>
        <p:spPr>
          <a:xfrm>
            <a:off x="2" y="981262"/>
            <a:ext cx="4972799" cy="8716995"/>
          </a:xfrm>
          <a:custGeom>
            <a:avLst/>
            <a:gdLst>
              <a:gd name="connsiteX0" fmla="*/ 0 w 6014977"/>
              <a:gd name="connsiteY0" fmla="*/ 0 h 5591302"/>
              <a:gd name="connsiteX1" fmla="*/ 6014977 w 6014977"/>
              <a:gd name="connsiteY1" fmla="*/ 0 h 5591302"/>
              <a:gd name="connsiteX2" fmla="*/ 3371137 w 6014977"/>
              <a:gd name="connsiteY2" fmla="*/ 5591302 h 5591302"/>
              <a:gd name="connsiteX3" fmla="*/ 0 w 6014977"/>
              <a:gd name="connsiteY3" fmla="*/ 5591302 h 5591302"/>
            </a:gdLst>
            <a:ahLst/>
            <a:cxnLst>
              <a:cxn ang="0">
                <a:pos x="connsiteX0" y="connsiteY0"/>
              </a:cxn>
              <a:cxn ang="0">
                <a:pos x="connsiteX1" y="connsiteY1"/>
              </a:cxn>
              <a:cxn ang="0">
                <a:pos x="connsiteX2" y="connsiteY2"/>
              </a:cxn>
              <a:cxn ang="0">
                <a:pos x="connsiteX3" y="connsiteY3"/>
              </a:cxn>
            </a:cxnLst>
            <a:rect l="l" t="t" r="r" b="b"/>
            <a:pathLst>
              <a:path w="6014977" h="5591302">
                <a:moveTo>
                  <a:pt x="0" y="0"/>
                </a:moveTo>
                <a:lnTo>
                  <a:pt x="6014977" y="0"/>
                </a:lnTo>
                <a:lnTo>
                  <a:pt x="3371137" y="5591302"/>
                </a:lnTo>
                <a:lnTo>
                  <a:pt x="0" y="5591302"/>
                </a:lnTo>
                <a:close/>
              </a:path>
            </a:pathLst>
          </a:custGeom>
          <a:solidFill>
            <a:schemeClr val="tx2">
              <a:alpha val="66000"/>
            </a:schemeClr>
          </a:solidFill>
        </p:spPr>
        <p:txBody>
          <a:bodyPr wrap="square">
            <a:noAutofit/>
          </a:bodyPr>
          <a:lstStyle>
            <a:lvl1pPr>
              <a:spcBef>
                <a:spcPts val="0"/>
              </a:spcBef>
              <a:defRPr sz="324">
                <a:noFill/>
              </a:defRPr>
            </a:lvl1pPr>
            <a:lvl2pPr marL="0" indent="0">
              <a:spcBef>
                <a:spcPts val="0"/>
              </a:spcBef>
              <a:buNone/>
              <a:defRPr sz="324">
                <a:noFill/>
              </a:defRPr>
            </a:lvl2pPr>
            <a:lvl3pPr marL="0" indent="0">
              <a:spcBef>
                <a:spcPts val="0"/>
              </a:spcBef>
              <a:buNone/>
              <a:defRPr sz="324">
                <a:noFill/>
              </a:defRPr>
            </a:lvl3pPr>
            <a:lvl4pPr>
              <a:spcBef>
                <a:spcPts val="0"/>
              </a:spcBef>
              <a:defRPr sz="324" b="0">
                <a:noFill/>
              </a:defRPr>
            </a:lvl4pPr>
            <a:lvl5pPr>
              <a:spcBef>
                <a:spcPts val="0"/>
              </a:spcBef>
              <a:defRPr sz="324">
                <a:noFill/>
              </a:defRPr>
            </a:lvl5pPr>
            <a:lvl6pPr>
              <a:spcBef>
                <a:spcPts val="0"/>
              </a:spcBef>
              <a:defRPr sz="324">
                <a:noFill/>
              </a:defRPr>
            </a:lvl6pPr>
            <a:lvl7pPr>
              <a:spcBef>
                <a:spcPts val="0"/>
              </a:spcBef>
              <a:defRPr sz="324">
                <a:noFill/>
              </a:defRPr>
            </a:lvl7pPr>
            <a:lvl8pPr>
              <a:spcBef>
                <a:spcPts val="0"/>
              </a:spcBef>
              <a:defRPr sz="324">
                <a:noFill/>
              </a:defRPr>
            </a:lvl8pPr>
            <a:lvl9pPr>
              <a:spcBef>
                <a:spcPts val="0"/>
              </a:spcBef>
              <a:defRPr sz="324">
                <a:noFill/>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a:p>
        </p:txBody>
      </p:sp>
      <p:sp>
        <p:nvSpPr>
          <p:cNvPr id="9" name="Title 10">
            <a:extLst>
              <a:ext uri="{FF2B5EF4-FFF2-40B4-BE49-F238E27FC236}">
                <a16:creationId xmlns:a16="http://schemas.microsoft.com/office/drawing/2014/main" id="{A6F139C8-B6EF-5B84-13D9-F8ADEBD2FCB5}"/>
              </a:ext>
            </a:extLst>
          </p:cNvPr>
          <p:cNvSpPr>
            <a:spLocks noGrp="1"/>
          </p:cNvSpPr>
          <p:nvPr>
            <p:ph type="title" hasCustomPrompt="1"/>
          </p:nvPr>
        </p:nvSpPr>
        <p:spPr>
          <a:xfrm>
            <a:off x="401607" y="1968473"/>
            <a:ext cx="3125063" cy="1683750"/>
          </a:xfrm>
        </p:spPr>
        <p:txBody>
          <a:bodyPr anchor="b" anchorCtr="0"/>
          <a:lstStyle>
            <a:lvl1pPr>
              <a:defRPr sz="2509">
                <a:solidFill>
                  <a:schemeClr val="bg1"/>
                </a:solidFill>
              </a:defRPr>
            </a:lvl1pPr>
          </a:lstStyle>
          <a:p>
            <a:r>
              <a:rPr lang="en-US"/>
              <a:t>Section Header</a:t>
            </a:r>
            <a:endParaRPr lang="en-GB"/>
          </a:p>
        </p:txBody>
      </p:sp>
      <p:sp>
        <p:nvSpPr>
          <p:cNvPr id="7" name="Subtitle 2">
            <a:extLst>
              <a:ext uri="{FF2B5EF4-FFF2-40B4-BE49-F238E27FC236}">
                <a16:creationId xmlns:a16="http://schemas.microsoft.com/office/drawing/2014/main" id="{A3082BF0-ED0B-5BEB-3CD5-ED3CAB19DA90}"/>
              </a:ext>
            </a:extLst>
          </p:cNvPr>
          <p:cNvSpPr>
            <a:spLocks noGrp="1"/>
          </p:cNvSpPr>
          <p:nvPr>
            <p:ph type="subTitle" idx="1" hasCustomPrompt="1"/>
          </p:nvPr>
        </p:nvSpPr>
        <p:spPr>
          <a:xfrm>
            <a:off x="399299" y="3784313"/>
            <a:ext cx="3125063" cy="2245000"/>
          </a:xfrm>
        </p:spPr>
        <p:txBody>
          <a:bodyPr/>
          <a:lstStyle>
            <a:lvl1pPr marL="0" indent="0" algn="l">
              <a:buNone/>
              <a:defRPr sz="1862" b="0">
                <a:solidFill>
                  <a:schemeClr val="bg1"/>
                </a:solidFill>
              </a:defRPr>
            </a:lvl1pPr>
            <a:lvl2pPr marL="0" indent="0" algn="l">
              <a:buNone/>
              <a:defRPr sz="1862" b="0">
                <a:solidFill>
                  <a:schemeClr val="accent3"/>
                </a:solidFill>
              </a:defRPr>
            </a:lvl2pPr>
            <a:lvl3pPr marL="0" indent="0" algn="l">
              <a:buNone/>
              <a:defRPr sz="1862" b="0">
                <a:solidFill>
                  <a:schemeClr val="bg1"/>
                </a:solidFill>
              </a:defRPr>
            </a:lvl3pPr>
            <a:lvl4pPr marL="0" indent="0" algn="l">
              <a:buNone/>
              <a:defRPr sz="1862" b="0">
                <a:solidFill>
                  <a:schemeClr val="bg1"/>
                </a:solidFill>
              </a:defRPr>
            </a:lvl4pPr>
            <a:lvl5pPr marL="0" indent="0" algn="l">
              <a:buNone/>
              <a:defRPr sz="1862" b="0">
                <a:solidFill>
                  <a:schemeClr val="bg1"/>
                </a:solidFill>
              </a:defRPr>
            </a:lvl5pPr>
            <a:lvl6pPr marL="0" indent="0" algn="l">
              <a:buNone/>
              <a:defRPr sz="1862" b="0">
                <a:solidFill>
                  <a:schemeClr val="bg1"/>
                </a:solidFill>
              </a:defRPr>
            </a:lvl6pPr>
            <a:lvl7pPr marL="0" indent="0" algn="l">
              <a:buNone/>
              <a:defRPr sz="1862" b="0">
                <a:solidFill>
                  <a:schemeClr val="bg1"/>
                </a:solidFill>
              </a:defRPr>
            </a:lvl7pPr>
            <a:lvl8pPr marL="0" indent="0" algn="l">
              <a:buNone/>
              <a:defRPr sz="1862" b="0">
                <a:solidFill>
                  <a:schemeClr val="bg1"/>
                </a:solidFill>
              </a:defRPr>
            </a:lvl8pPr>
            <a:lvl9pPr marL="0" indent="0" algn="l">
              <a:buNone/>
              <a:defRPr sz="1862" b="0">
                <a:solidFill>
                  <a:schemeClr val="bg1"/>
                </a:solidFill>
              </a:defRPr>
            </a:lvl9pPr>
          </a:lstStyle>
          <a:p>
            <a:r>
              <a:rPr lang="en-US"/>
              <a:t>Click to add subheading</a:t>
            </a:r>
            <a:endParaRPr lang="en-GB"/>
          </a:p>
        </p:txBody>
      </p:sp>
      <p:sp>
        <p:nvSpPr>
          <p:cNvPr id="4" name="Slide Number Placeholder 5">
            <a:extLst>
              <a:ext uri="{FF2B5EF4-FFF2-40B4-BE49-F238E27FC236}">
                <a16:creationId xmlns:a16="http://schemas.microsoft.com/office/drawing/2014/main" id="{AAEE8CEF-2A9A-A284-2ECE-73C5016C2E10}"/>
              </a:ext>
            </a:extLst>
          </p:cNvPr>
          <p:cNvSpPr>
            <a:spLocks noGrp="1"/>
          </p:cNvSpPr>
          <p:nvPr>
            <p:ph type="sldNum" sz="quarter" idx="4"/>
          </p:nvPr>
        </p:nvSpPr>
        <p:spPr>
          <a:xfrm>
            <a:off x="6893918" y="9905984"/>
            <a:ext cx="446438" cy="561250"/>
          </a:xfrm>
          <a:prstGeom prst="rect">
            <a:avLst/>
          </a:prstGeom>
        </p:spPr>
        <p:txBody>
          <a:bodyPr vert="horz" lIns="0" tIns="0" rIns="0" bIns="0" rtlCol="0" anchor="ctr"/>
          <a:lstStyle>
            <a:lvl1pPr algn="l">
              <a:defRPr sz="809">
                <a:solidFill>
                  <a:schemeClr val="accent6"/>
                </a:solidFill>
              </a:defRPr>
            </a:lvl1pPr>
          </a:lstStyle>
          <a:p>
            <a:r>
              <a:rPr lang="en-GB"/>
              <a:t>Page </a:t>
            </a:r>
            <a:fld id="{F5AEA0E0-5CC6-4BD0-905C-A0021E419432}" type="slidenum">
              <a:rPr lang="en-GB" smtClean="0"/>
              <a:pPr/>
              <a:t>‹#›</a:t>
            </a:fld>
            <a:endParaRPr lang="en-GB"/>
          </a:p>
        </p:txBody>
      </p:sp>
      <p:cxnSp>
        <p:nvCxnSpPr>
          <p:cNvPr id="5" name="Straight Connector 4">
            <a:extLst>
              <a:ext uri="{FF2B5EF4-FFF2-40B4-BE49-F238E27FC236}">
                <a16:creationId xmlns:a16="http://schemas.microsoft.com/office/drawing/2014/main" id="{0A814517-E33B-AFFF-52E3-DE0C61785E9A}"/>
              </a:ext>
            </a:extLst>
          </p:cNvPr>
          <p:cNvCxnSpPr/>
          <p:nvPr userDrawn="1"/>
        </p:nvCxnSpPr>
        <p:spPr>
          <a:xfrm>
            <a:off x="6803250" y="10078027"/>
            <a:ext cx="0" cy="242545"/>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373352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sp>
        <p:nvSpPr>
          <p:cNvPr id="31" name="Free-form: Shape 30">
            <a:extLst>
              <a:ext uri="{FF2B5EF4-FFF2-40B4-BE49-F238E27FC236}">
                <a16:creationId xmlns:a16="http://schemas.microsoft.com/office/drawing/2014/main" id="{775179C6-69B1-0B86-138C-7F7820A4F219}"/>
              </a:ext>
            </a:extLst>
          </p:cNvPr>
          <p:cNvSpPr/>
          <p:nvPr userDrawn="1"/>
        </p:nvSpPr>
        <p:spPr>
          <a:xfrm>
            <a:off x="2" y="981265"/>
            <a:ext cx="7557368" cy="8716995"/>
          </a:xfrm>
          <a:custGeom>
            <a:avLst/>
            <a:gdLst>
              <a:gd name="connsiteX0" fmla="*/ 0 w 8820023"/>
              <a:gd name="connsiteY0" fmla="*/ 0 h 5591302"/>
              <a:gd name="connsiteX1" fmla="*/ 8820023 w 8820023"/>
              <a:gd name="connsiteY1" fmla="*/ 0 h 5591302"/>
              <a:gd name="connsiteX2" fmla="*/ 8820023 w 8820023"/>
              <a:gd name="connsiteY2" fmla="*/ 5591302 h 5591302"/>
              <a:gd name="connsiteX3" fmla="*/ 0 w 8820023"/>
              <a:gd name="connsiteY3" fmla="*/ 5591302 h 5591302"/>
            </a:gdLst>
            <a:ahLst/>
            <a:cxnLst>
              <a:cxn ang="0">
                <a:pos x="connsiteX0" y="connsiteY0"/>
              </a:cxn>
              <a:cxn ang="0">
                <a:pos x="connsiteX1" y="connsiteY1"/>
              </a:cxn>
              <a:cxn ang="0">
                <a:pos x="connsiteX2" y="connsiteY2"/>
              </a:cxn>
              <a:cxn ang="0">
                <a:pos x="connsiteX3" y="connsiteY3"/>
              </a:cxn>
            </a:cxnLst>
            <a:rect l="l" t="t" r="r" b="b"/>
            <a:pathLst>
              <a:path w="8820023" h="5591302">
                <a:moveTo>
                  <a:pt x="0" y="0"/>
                </a:moveTo>
                <a:lnTo>
                  <a:pt x="8820023" y="0"/>
                </a:lnTo>
                <a:lnTo>
                  <a:pt x="8820023" y="5591302"/>
                </a:lnTo>
                <a:lnTo>
                  <a:pt x="0" y="5591302"/>
                </a:lnTo>
                <a:close/>
              </a:path>
            </a:pathLst>
          </a:custGeom>
          <a:solidFill>
            <a:schemeClr val="tx2"/>
          </a:solidFill>
          <a:ln w="6350" cap="flat">
            <a:noFill/>
            <a:prstDash val="solid"/>
            <a:miter/>
          </a:ln>
        </p:spPr>
        <p:txBody>
          <a:bodyPr rtlCol="0" anchor="ctr"/>
          <a:lstStyle/>
          <a:p>
            <a:pPr lvl="0"/>
            <a:endParaRPr lang="en-AU" sz="1457"/>
          </a:p>
        </p:txBody>
      </p:sp>
      <p:sp>
        <p:nvSpPr>
          <p:cNvPr id="44" name="Free-form: Shape 43">
            <a:extLst>
              <a:ext uri="{FF2B5EF4-FFF2-40B4-BE49-F238E27FC236}">
                <a16:creationId xmlns:a16="http://schemas.microsoft.com/office/drawing/2014/main" id="{DE084157-4075-0FD5-6E63-97A51B858EB1}"/>
              </a:ext>
            </a:extLst>
          </p:cNvPr>
          <p:cNvSpPr/>
          <p:nvPr userDrawn="1"/>
        </p:nvSpPr>
        <p:spPr>
          <a:xfrm>
            <a:off x="2786793" y="981264"/>
            <a:ext cx="4770470" cy="8717985"/>
          </a:xfrm>
          <a:custGeom>
            <a:avLst/>
            <a:gdLst>
              <a:gd name="connsiteX0" fmla="*/ 2644140 w 5770245"/>
              <a:gd name="connsiteY0" fmla="*/ 0 h 5591937"/>
              <a:gd name="connsiteX1" fmla="*/ 5770245 w 5770245"/>
              <a:gd name="connsiteY1" fmla="*/ 0 h 5591937"/>
              <a:gd name="connsiteX2" fmla="*/ 5770245 w 5770245"/>
              <a:gd name="connsiteY2" fmla="*/ 5591937 h 5591937"/>
              <a:gd name="connsiteX3" fmla="*/ 0 w 5770245"/>
              <a:gd name="connsiteY3" fmla="*/ 5591937 h 5591937"/>
            </a:gdLst>
            <a:ahLst/>
            <a:cxnLst>
              <a:cxn ang="0">
                <a:pos x="connsiteX0" y="connsiteY0"/>
              </a:cxn>
              <a:cxn ang="0">
                <a:pos x="connsiteX1" y="connsiteY1"/>
              </a:cxn>
              <a:cxn ang="0">
                <a:pos x="connsiteX2" y="connsiteY2"/>
              </a:cxn>
              <a:cxn ang="0">
                <a:pos x="connsiteX3" y="connsiteY3"/>
              </a:cxn>
            </a:cxnLst>
            <a:rect l="l" t="t" r="r" b="b"/>
            <a:pathLst>
              <a:path w="5770245" h="5591937">
                <a:moveTo>
                  <a:pt x="2644140" y="0"/>
                </a:moveTo>
                <a:lnTo>
                  <a:pt x="5770245" y="0"/>
                </a:lnTo>
                <a:lnTo>
                  <a:pt x="5770245" y="5591937"/>
                </a:lnTo>
                <a:lnTo>
                  <a:pt x="0" y="5591937"/>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1457"/>
          </a:p>
        </p:txBody>
      </p:sp>
      <p:sp>
        <p:nvSpPr>
          <p:cNvPr id="22" name="Footer Placeholder 4">
            <a:extLst>
              <a:ext uri="{FF2B5EF4-FFF2-40B4-BE49-F238E27FC236}">
                <a16:creationId xmlns:a16="http://schemas.microsoft.com/office/drawing/2014/main" id="{E478B37A-93E5-3050-AED1-1AE614E5E923}"/>
              </a:ext>
            </a:extLst>
          </p:cNvPr>
          <p:cNvSpPr>
            <a:spLocks noGrp="1"/>
          </p:cNvSpPr>
          <p:nvPr>
            <p:ph type="ftr" sz="quarter" idx="3"/>
          </p:nvPr>
        </p:nvSpPr>
        <p:spPr>
          <a:xfrm>
            <a:off x="401608" y="9905984"/>
            <a:ext cx="3704959" cy="561250"/>
          </a:xfrm>
          <a:prstGeom prst="rect">
            <a:avLst/>
          </a:prstGeom>
        </p:spPr>
        <p:txBody>
          <a:bodyPr vert="horz" lIns="0" tIns="0" rIns="0" bIns="0" rtlCol="0" anchor="ctr"/>
          <a:lstStyle>
            <a:lvl1pPr algn="l">
              <a:defRPr sz="809">
                <a:solidFill>
                  <a:schemeClr val="accent6"/>
                </a:solidFill>
              </a:defRPr>
            </a:lvl1pPr>
          </a:lstStyle>
          <a:p>
            <a:r>
              <a:rPr lang="en-GB"/>
              <a:t>To add a Footer, select 'Insert &gt; Header &amp; Footer'</a:t>
            </a:r>
          </a:p>
        </p:txBody>
      </p:sp>
      <p:sp>
        <p:nvSpPr>
          <p:cNvPr id="35" name="Free-form: Shape 34">
            <a:extLst>
              <a:ext uri="{FF2B5EF4-FFF2-40B4-BE49-F238E27FC236}">
                <a16:creationId xmlns:a16="http://schemas.microsoft.com/office/drawing/2014/main" id="{E716590E-9291-B2F9-3AA6-85CA4C91DBB9}"/>
              </a:ext>
            </a:extLst>
          </p:cNvPr>
          <p:cNvSpPr/>
          <p:nvPr userDrawn="1"/>
        </p:nvSpPr>
        <p:spPr>
          <a:xfrm>
            <a:off x="5336399" y="9699053"/>
            <a:ext cx="1092688" cy="987013"/>
          </a:xfrm>
          <a:custGeom>
            <a:avLst/>
            <a:gdLst>
              <a:gd name="connsiteX0" fmla="*/ 1321689 w 1321689"/>
              <a:gd name="connsiteY0" fmla="*/ 0 h 633095"/>
              <a:gd name="connsiteX1" fmla="*/ 300863 w 1321689"/>
              <a:gd name="connsiteY1" fmla="*/ 0 h 633095"/>
              <a:gd name="connsiteX2" fmla="*/ 0 w 1321689"/>
              <a:gd name="connsiteY2" fmla="*/ 633095 h 633095"/>
              <a:gd name="connsiteX3" fmla="*/ 1020953 w 1321689"/>
              <a:gd name="connsiteY3" fmla="*/ 633095 h 633095"/>
              <a:gd name="connsiteX4" fmla="*/ 1321562 w 1321689"/>
              <a:gd name="connsiteY4" fmla="*/ 0 h 6330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1689" h="633095">
                <a:moveTo>
                  <a:pt x="1321689" y="0"/>
                </a:moveTo>
                <a:lnTo>
                  <a:pt x="300863" y="0"/>
                </a:lnTo>
                <a:lnTo>
                  <a:pt x="0" y="633095"/>
                </a:lnTo>
                <a:lnTo>
                  <a:pt x="1020953" y="633095"/>
                </a:lnTo>
                <a:lnTo>
                  <a:pt x="1321562" y="0"/>
                </a:lnTo>
                <a:close/>
              </a:path>
            </a:pathLst>
          </a:custGeom>
          <a:solidFill>
            <a:schemeClr val="tx2"/>
          </a:solidFill>
          <a:ln w="6350" cap="flat">
            <a:noFill/>
            <a:prstDash val="solid"/>
            <a:miter/>
          </a:ln>
        </p:spPr>
        <p:txBody>
          <a:bodyPr rtlCol="0" anchor="ctr"/>
          <a:lstStyle/>
          <a:p>
            <a:pPr lvl="0"/>
            <a:endParaRPr lang="en-AU" sz="1457"/>
          </a:p>
        </p:txBody>
      </p:sp>
      <p:sp>
        <p:nvSpPr>
          <p:cNvPr id="36" name="Free-form: Shape 35">
            <a:extLst>
              <a:ext uri="{FF2B5EF4-FFF2-40B4-BE49-F238E27FC236}">
                <a16:creationId xmlns:a16="http://schemas.microsoft.com/office/drawing/2014/main" id="{4D003B98-C3EA-C7FE-AD96-45DA60D8E705}"/>
              </a:ext>
            </a:extLst>
          </p:cNvPr>
          <p:cNvSpPr/>
          <p:nvPr userDrawn="1"/>
        </p:nvSpPr>
        <p:spPr>
          <a:xfrm>
            <a:off x="4972799" y="-5747"/>
            <a:ext cx="979083" cy="987011"/>
          </a:xfrm>
          <a:custGeom>
            <a:avLst/>
            <a:gdLst>
              <a:gd name="connsiteX0" fmla="*/ 299339 w 1184275"/>
              <a:gd name="connsiteY0" fmla="*/ 0 h 633094"/>
              <a:gd name="connsiteX1" fmla="*/ 0 w 1184275"/>
              <a:gd name="connsiteY1" fmla="*/ 633095 h 633094"/>
              <a:gd name="connsiteX2" fmla="*/ 885572 w 1184275"/>
              <a:gd name="connsiteY2" fmla="*/ 633095 h 633094"/>
              <a:gd name="connsiteX3" fmla="*/ 1184275 w 1184275"/>
              <a:gd name="connsiteY3" fmla="*/ 0 h 633094"/>
              <a:gd name="connsiteX4" fmla="*/ 299339 w 1184275"/>
              <a:gd name="connsiteY4" fmla="*/ 0 h 633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275" h="633094">
                <a:moveTo>
                  <a:pt x="299339" y="0"/>
                </a:moveTo>
                <a:lnTo>
                  <a:pt x="0" y="633095"/>
                </a:lnTo>
                <a:lnTo>
                  <a:pt x="885572" y="633095"/>
                </a:lnTo>
                <a:cubicBezTo>
                  <a:pt x="885572" y="633095"/>
                  <a:pt x="1184275" y="0"/>
                  <a:pt x="1184275" y="0"/>
                </a:cubicBezTo>
                <a:lnTo>
                  <a:pt x="299339" y="0"/>
                </a:lnTo>
                <a:close/>
              </a:path>
            </a:pathLst>
          </a:custGeom>
          <a:solidFill>
            <a:srgbClr val="CEDC00"/>
          </a:solidFill>
          <a:ln w="12691" cap="flat">
            <a:noFill/>
            <a:prstDash val="solid"/>
            <a:miter/>
          </a:ln>
        </p:spPr>
        <p:txBody>
          <a:bodyPr rtlCol="0" anchor="ctr"/>
          <a:lstStyle/>
          <a:p>
            <a:endParaRPr lang="en-AU" sz="1457"/>
          </a:p>
        </p:txBody>
      </p:sp>
      <p:sp>
        <p:nvSpPr>
          <p:cNvPr id="37" name="Free-form: Shape 36">
            <a:extLst>
              <a:ext uri="{FF2B5EF4-FFF2-40B4-BE49-F238E27FC236}">
                <a16:creationId xmlns:a16="http://schemas.microsoft.com/office/drawing/2014/main" id="{D57C1E03-A62F-F5AC-8A66-6F45EDC22105}"/>
              </a:ext>
            </a:extLst>
          </p:cNvPr>
          <p:cNvSpPr/>
          <p:nvPr userDrawn="1"/>
        </p:nvSpPr>
        <p:spPr>
          <a:xfrm>
            <a:off x="5338815" y="981265"/>
            <a:ext cx="366120" cy="1460025"/>
          </a:xfrm>
          <a:custGeom>
            <a:avLst/>
            <a:gdLst>
              <a:gd name="connsiteX0" fmla="*/ 442849 w 442849"/>
              <a:gd name="connsiteY0" fmla="*/ 0 h 936497"/>
              <a:gd name="connsiteX1" fmla="*/ 0 w 442849"/>
              <a:gd name="connsiteY1" fmla="*/ 936498 h 936497"/>
            </a:gdLst>
            <a:ahLst/>
            <a:cxnLst>
              <a:cxn ang="0">
                <a:pos x="connsiteX0" y="connsiteY0"/>
              </a:cxn>
              <a:cxn ang="0">
                <a:pos x="connsiteX1" y="connsiteY1"/>
              </a:cxn>
            </a:cxnLst>
            <a:rect l="l" t="t" r="r" b="b"/>
            <a:pathLst>
              <a:path w="442849" h="936497">
                <a:moveTo>
                  <a:pt x="442849" y="0"/>
                </a:moveTo>
                <a:lnTo>
                  <a:pt x="0" y="936498"/>
                </a:lnTo>
              </a:path>
            </a:pathLst>
          </a:custGeom>
          <a:solidFill>
            <a:srgbClr val="FFFFFF"/>
          </a:solidFill>
          <a:ln w="12691" cap="flat">
            <a:noFill/>
            <a:prstDash val="solid"/>
            <a:miter/>
          </a:ln>
        </p:spPr>
        <p:txBody>
          <a:bodyPr rtlCol="0" anchor="ctr"/>
          <a:lstStyle/>
          <a:p>
            <a:endParaRPr lang="en-AU" sz="1457"/>
          </a:p>
        </p:txBody>
      </p:sp>
      <p:sp>
        <p:nvSpPr>
          <p:cNvPr id="41" name="Subtitle 2">
            <a:extLst>
              <a:ext uri="{FF2B5EF4-FFF2-40B4-BE49-F238E27FC236}">
                <a16:creationId xmlns:a16="http://schemas.microsoft.com/office/drawing/2014/main" id="{CAB36581-B79B-989F-D79E-A149C37E4972}"/>
              </a:ext>
            </a:extLst>
          </p:cNvPr>
          <p:cNvSpPr>
            <a:spLocks noGrp="1"/>
          </p:cNvSpPr>
          <p:nvPr>
            <p:ph type="subTitle" idx="1" hasCustomPrompt="1"/>
          </p:nvPr>
        </p:nvSpPr>
        <p:spPr>
          <a:xfrm>
            <a:off x="399299" y="3784313"/>
            <a:ext cx="3125063" cy="2245000"/>
          </a:xfrm>
        </p:spPr>
        <p:txBody>
          <a:bodyPr/>
          <a:lstStyle>
            <a:lvl1pPr marL="0" indent="0" algn="l">
              <a:buNone/>
              <a:defRPr sz="1862" b="0">
                <a:solidFill>
                  <a:schemeClr val="bg1"/>
                </a:solidFill>
              </a:defRPr>
            </a:lvl1pPr>
            <a:lvl2pPr marL="0" indent="0" algn="l">
              <a:buNone/>
              <a:defRPr sz="1862" b="0">
                <a:solidFill>
                  <a:schemeClr val="accent3"/>
                </a:solidFill>
              </a:defRPr>
            </a:lvl2pPr>
            <a:lvl3pPr marL="0" indent="0" algn="l">
              <a:buNone/>
              <a:defRPr sz="1862" b="0">
                <a:solidFill>
                  <a:schemeClr val="bg1"/>
                </a:solidFill>
              </a:defRPr>
            </a:lvl3pPr>
            <a:lvl4pPr marL="0" indent="0" algn="l">
              <a:buNone/>
              <a:defRPr sz="1862" b="0">
                <a:solidFill>
                  <a:schemeClr val="bg1"/>
                </a:solidFill>
              </a:defRPr>
            </a:lvl4pPr>
            <a:lvl5pPr marL="0" indent="0" algn="l">
              <a:buNone/>
              <a:defRPr sz="1862" b="0">
                <a:solidFill>
                  <a:schemeClr val="bg1"/>
                </a:solidFill>
              </a:defRPr>
            </a:lvl5pPr>
            <a:lvl6pPr marL="0" indent="0" algn="l">
              <a:buNone/>
              <a:defRPr sz="1862" b="0">
                <a:solidFill>
                  <a:schemeClr val="bg1"/>
                </a:solidFill>
              </a:defRPr>
            </a:lvl6pPr>
            <a:lvl7pPr marL="0" indent="0" algn="l">
              <a:buNone/>
              <a:defRPr sz="1862" b="0">
                <a:solidFill>
                  <a:schemeClr val="bg1"/>
                </a:solidFill>
              </a:defRPr>
            </a:lvl7pPr>
            <a:lvl8pPr marL="0" indent="0" algn="l">
              <a:buNone/>
              <a:defRPr sz="1862" b="0">
                <a:solidFill>
                  <a:schemeClr val="bg1"/>
                </a:solidFill>
              </a:defRPr>
            </a:lvl8pPr>
            <a:lvl9pPr marL="0" indent="0" algn="l">
              <a:buNone/>
              <a:defRPr sz="1862" b="0">
                <a:solidFill>
                  <a:schemeClr val="bg1"/>
                </a:solidFill>
              </a:defRPr>
            </a:lvl9pPr>
          </a:lstStyle>
          <a:p>
            <a:r>
              <a:rPr lang="en-US"/>
              <a:t>Click to add subheading</a:t>
            </a:r>
            <a:endParaRPr lang="en-GB"/>
          </a:p>
        </p:txBody>
      </p:sp>
      <p:sp>
        <p:nvSpPr>
          <p:cNvPr id="42" name="Title 10">
            <a:extLst>
              <a:ext uri="{FF2B5EF4-FFF2-40B4-BE49-F238E27FC236}">
                <a16:creationId xmlns:a16="http://schemas.microsoft.com/office/drawing/2014/main" id="{2A95F71B-5627-FFA8-5C56-3B3CD5D05787}"/>
              </a:ext>
            </a:extLst>
          </p:cNvPr>
          <p:cNvSpPr>
            <a:spLocks noGrp="1"/>
          </p:cNvSpPr>
          <p:nvPr>
            <p:ph type="title" hasCustomPrompt="1"/>
          </p:nvPr>
        </p:nvSpPr>
        <p:spPr>
          <a:xfrm>
            <a:off x="401607" y="1968473"/>
            <a:ext cx="3125063" cy="1683750"/>
          </a:xfrm>
        </p:spPr>
        <p:txBody>
          <a:bodyPr anchor="b" anchorCtr="0"/>
          <a:lstStyle>
            <a:lvl1pPr>
              <a:defRPr sz="2509">
                <a:solidFill>
                  <a:schemeClr val="bg1"/>
                </a:solidFill>
              </a:defRPr>
            </a:lvl1pPr>
          </a:lstStyle>
          <a:p>
            <a:r>
              <a:rPr lang="en-US"/>
              <a:t>Section Header</a:t>
            </a:r>
            <a:endParaRPr lang="en-GB"/>
          </a:p>
        </p:txBody>
      </p:sp>
      <p:sp>
        <p:nvSpPr>
          <p:cNvPr id="57" name="Free-form: Shape 56">
            <a:extLst>
              <a:ext uri="{FF2B5EF4-FFF2-40B4-BE49-F238E27FC236}">
                <a16:creationId xmlns:a16="http://schemas.microsoft.com/office/drawing/2014/main" id="{01DA6775-E0B6-7D84-E7B3-F5EA83C07776}"/>
              </a:ext>
            </a:extLst>
          </p:cNvPr>
          <p:cNvSpPr/>
          <p:nvPr userDrawn="1"/>
        </p:nvSpPr>
        <p:spPr>
          <a:xfrm>
            <a:off x="4606679" y="981263"/>
            <a:ext cx="1098358" cy="1460027"/>
          </a:xfrm>
          <a:custGeom>
            <a:avLst/>
            <a:gdLst>
              <a:gd name="connsiteX0" fmla="*/ 885762 w 1328547"/>
              <a:gd name="connsiteY0" fmla="*/ 936365 h 936499"/>
              <a:gd name="connsiteX1" fmla="*/ 885825 w 1328547"/>
              <a:gd name="connsiteY1" fmla="*/ 936499 h 936499"/>
              <a:gd name="connsiteX2" fmla="*/ 885698 w 1328547"/>
              <a:gd name="connsiteY2" fmla="*/ 936499 h 936499"/>
              <a:gd name="connsiteX3" fmla="*/ 442786 w 1328547"/>
              <a:gd name="connsiteY3" fmla="*/ 134 h 936499"/>
              <a:gd name="connsiteX4" fmla="*/ 447696 w 1328547"/>
              <a:gd name="connsiteY4" fmla="*/ 10517 h 936499"/>
              <a:gd name="connsiteX5" fmla="*/ 885571 w 1328547"/>
              <a:gd name="connsiteY5" fmla="*/ 936498 h 936499"/>
              <a:gd name="connsiteX6" fmla="*/ 0 w 1328547"/>
              <a:gd name="connsiteY6" fmla="*/ 936498 h 936499"/>
              <a:gd name="connsiteX7" fmla="*/ 442976 w 1328547"/>
              <a:gd name="connsiteY7" fmla="*/ 1 h 936499"/>
              <a:gd name="connsiteX8" fmla="*/ 1328547 w 1328547"/>
              <a:gd name="connsiteY8" fmla="*/ 1 h 936499"/>
              <a:gd name="connsiteX9" fmla="*/ 885762 w 1328547"/>
              <a:gd name="connsiteY9" fmla="*/ 936365 h 936499"/>
              <a:gd name="connsiteX10" fmla="*/ 880852 w 1328547"/>
              <a:gd name="connsiteY10" fmla="*/ 925982 h 936499"/>
              <a:gd name="connsiteX11" fmla="*/ 442976 w 1328547"/>
              <a:gd name="connsiteY11" fmla="*/ 1 h 936499"/>
              <a:gd name="connsiteX12" fmla="*/ 442722 w 1328547"/>
              <a:gd name="connsiteY12" fmla="*/ 0 h 936499"/>
              <a:gd name="connsiteX13" fmla="*/ 442849 w 1328547"/>
              <a:gd name="connsiteY13" fmla="*/ 0 h 936499"/>
              <a:gd name="connsiteX14" fmla="*/ 442786 w 1328547"/>
              <a:gd name="connsiteY14" fmla="*/ 134 h 936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28547" h="936499">
                <a:moveTo>
                  <a:pt x="885762" y="936365"/>
                </a:moveTo>
                <a:lnTo>
                  <a:pt x="885825" y="936499"/>
                </a:lnTo>
                <a:lnTo>
                  <a:pt x="885698" y="936499"/>
                </a:lnTo>
                <a:close/>
                <a:moveTo>
                  <a:pt x="442786" y="134"/>
                </a:moveTo>
                <a:lnTo>
                  <a:pt x="447696" y="10517"/>
                </a:lnTo>
                <a:cubicBezTo>
                  <a:pt x="496349" y="113404"/>
                  <a:pt x="885571" y="936498"/>
                  <a:pt x="885571" y="936498"/>
                </a:cubicBezTo>
                <a:lnTo>
                  <a:pt x="0" y="936498"/>
                </a:lnTo>
                <a:close/>
                <a:moveTo>
                  <a:pt x="442976" y="1"/>
                </a:moveTo>
                <a:lnTo>
                  <a:pt x="1328547" y="1"/>
                </a:lnTo>
                <a:lnTo>
                  <a:pt x="885762" y="936365"/>
                </a:lnTo>
                <a:lnTo>
                  <a:pt x="880852" y="925982"/>
                </a:lnTo>
                <a:cubicBezTo>
                  <a:pt x="832199" y="823095"/>
                  <a:pt x="442976" y="1"/>
                  <a:pt x="442976" y="1"/>
                </a:cubicBezTo>
                <a:close/>
                <a:moveTo>
                  <a:pt x="442722" y="0"/>
                </a:moveTo>
                <a:lnTo>
                  <a:pt x="442849" y="0"/>
                </a:lnTo>
                <a:lnTo>
                  <a:pt x="442786" y="134"/>
                </a:lnTo>
                <a:close/>
              </a:path>
            </a:pathLst>
          </a:custGeom>
          <a:solidFill>
            <a:schemeClr val="accent1">
              <a:alpha val="66000"/>
            </a:schemeClr>
          </a:solidFill>
        </p:spPr>
        <p:txBody>
          <a:bodyPr vert="horz" wrap="square" lIns="0" tIns="0" rIns="0" bIns="0" rtlCol="0">
            <a:noAutofit/>
          </a:bodyPr>
          <a:lstStyle/>
          <a:p>
            <a:pPr lvl="0" indent="0">
              <a:lnSpc>
                <a:spcPct val="100000"/>
              </a:lnSpc>
              <a:spcBef>
                <a:spcPts val="0"/>
              </a:spcBef>
              <a:buFont typeface="Arial" panose="020B0604020202020204" pitchFamily="34" charset="0"/>
              <a:buNone/>
            </a:pPr>
            <a:endParaRPr lang="en-AU" sz="324" b="1">
              <a:noFill/>
            </a:endParaRPr>
          </a:p>
        </p:txBody>
      </p:sp>
      <p:sp>
        <p:nvSpPr>
          <p:cNvPr id="58" name="Free-form: Shape 57">
            <a:extLst>
              <a:ext uri="{FF2B5EF4-FFF2-40B4-BE49-F238E27FC236}">
                <a16:creationId xmlns:a16="http://schemas.microsoft.com/office/drawing/2014/main" id="{358FAFA3-856C-CF17-8001-FFF4AC2A7BB5}"/>
              </a:ext>
            </a:extLst>
          </p:cNvPr>
          <p:cNvSpPr/>
          <p:nvPr userDrawn="1"/>
        </p:nvSpPr>
        <p:spPr>
          <a:xfrm>
            <a:off x="4240665" y="981262"/>
            <a:ext cx="1098253" cy="1460026"/>
          </a:xfrm>
          <a:custGeom>
            <a:avLst/>
            <a:gdLst>
              <a:gd name="connsiteX0" fmla="*/ 0 w 1328420"/>
              <a:gd name="connsiteY0" fmla="*/ 0 h 936498"/>
              <a:gd name="connsiteX1" fmla="*/ 885571 w 1328420"/>
              <a:gd name="connsiteY1" fmla="*/ 0 h 936498"/>
              <a:gd name="connsiteX2" fmla="*/ 1328420 w 1328420"/>
              <a:gd name="connsiteY2" fmla="*/ 936498 h 936498"/>
              <a:gd name="connsiteX3" fmla="*/ 442849 w 1328420"/>
              <a:gd name="connsiteY3" fmla="*/ 936498 h 936498"/>
              <a:gd name="connsiteX4" fmla="*/ 0 w 1328420"/>
              <a:gd name="connsiteY4" fmla="*/ 0 h 9364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8420" h="936498">
                <a:moveTo>
                  <a:pt x="0" y="0"/>
                </a:moveTo>
                <a:lnTo>
                  <a:pt x="885571" y="0"/>
                </a:lnTo>
                <a:lnTo>
                  <a:pt x="1328420" y="936498"/>
                </a:lnTo>
                <a:lnTo>
                  <a:pt x="442849" y="936498"/>
                </a:lnTo>
                <a:cubicBezTo>
                  <a:pt x="442849" y="936498"/>
                  <a:pt x="0" y="0"/>
                  <a:pt x="0" y="0"/>
                </a:cubicBezTo>
                <a:close/>
              </a:path>
            </a:pathLst>
          </a:custGeom>
          <a:solidFill>
            <a:schemeClr val="bg1">
              <a:alpha val="33000"/>
            </a:schemeClr>
          </a:solidFill>
        </p:spPr>
        <p:txBody>
          <a:bodyPr vert="horz" wrap="square" lIns="0" tIns="0" rIns="0" bIns="0" rtlCol="0">
            <a:noAutofit/>
          </a:bodyPr>
          <a:lstStyle/>
          <a:p>
            <a:pPr lvl="0" indent="0">
              <a:lnSpc>
                <a:spcPct val="100000"/>
              </a:lnSpc>
              <a:spcBef>
                <a:spcPts val="0"/>
              </a:spcBef>
              <a:buFont typeface="Arial" panose="020B0604020202020204" pitchFamily="34" charset="0"/>
              <a:buNone/>
            </a:pPr>
            <a:endParaRPr lang="en-AU" sz="324" b="1">
              <a:noFill/>
            </a:endParaRPr>
          </a:p>
        </p:txBody>
      </p:sp>
      <p:sp>
        <p:nvSpPr>
          <p:cNvPr id="61" name="Free-form: Shape 60">
            <a:extLst>
              <a:ext uri="{FF2B5EF4-FFF2-40B4-BE49-F238E27FC236}">
                <a16:creationId xmlns:a16="http://schemas.microsoft.com/office/drawing/2014/main" id="{DF617F1A-5E2A-826F-24C7-FBF92E02D629}"/>
              </a:ext>
            </a:extLst>
          </p:cNvPr>
          <p:cNvSpPr/>
          <p:nvPr userDrawn="1"/>
        </p:nvSpPr>
        <p:spPr>
          <a:xfrm>
            <a:off x="5584188" y="8014498"/>
            <a:ext cx="1268765" cy="1688515"/>
          </a:xfrm>
          <a:custGeom>
            <a:avLst/>
            <a:gdLst>
              <a:gd name="connsiteX0" fmla="*/ 513969 w 1534668"/>
              <a:gd name="connsiteY0" fmla="*/ 0 h 1083056"/>
              <a:gd name="connsiteX1" fmla="*/ 1534668 w 1534668"/>
              <a:gd name="connsiteY1" fmla="*/ 0 h 1083056"/>
              <a:gd name="connsiteX2" fmla="*/ 1021969 w 1534668"/>
              <a:gd name="connsiteY2" fmla="*/ 1080516 h 1083056"/>
              <a:gd name="connsiteX3" fmla="*/ 0 w 1534668"/>
              <a:gd name="connsiteY3" fmla="*/ 1083056 h 1083056"/>
            </a:gdLst>
            <a:ahLst/>
            <a:cxnLst>
              <a:cxn ang="0">
                <a:pos x="connsiteX0" y="connsiteY0"/>
              </a:cxn>
              <a:cxn ang="0">
                <a:pos x="connsiteX1" y="connsiteY1"/>
              </a:cxn>
              <a:cxn ang="0">
                <a:pos x="connsiteX2" y="connsiteY2"/>
              </a:cxn>
              <a:cxn ang="0">
                <a:pos x="connsiteX3" y="connsiteY3"/>
              </a:cxn>
            </a:cxnLst>
            <a:rect l="l" t="t" r="r" b="b"/>
            <a:pathLst>
              <a:path w="1534668" h="1083056">
                <a:moveTo>
                  <a:pt x="513969" y="0"/>
                </a:moveTo>
                <a:lnTo>
                  <a:pt x="1534668" y="0"/>
                </a:lnTo>
                <a:lnTo>
                  <a:pt x="1021969" y="1080516"/>
                </a:lnTo>
                <a:lnTo>
                  <a:pt x="0" y="1083056"/>
                </a:lnTo>
                <a:close/>
              </a:path>
            </a:pathLst>
          </a:custGeom>
          <a:solidFill>
            <a:schemeClr val="tx2">
              <a:alpha val="50000"/>
            </a:schemeClr>
          </a:solidFill>
        </p:spPr>
        <p:txBody>
          <a:bodyPr vert="horz" wrap="square" lIns="0" tIns="0" rIns="0" bIns="0" rtlCol="0">
            <a:noAutofit/>
          </a:bodyPr>
          <a:lstStyle/>
          <a:p>
            <a:pPr lvl="0" indent="0">
              <a:lnSpc>
                <a:spcPct val="100000"/>
              </a:lnSpc>
              <a:spcBef>
                <a:spcPts val="0"/>
              </a:spcBef>
              <a:buFont typeface="Arial" panose="020B0604020202020204" pitchFamily="34" charset="0"/>
              <a:buNone/>
            </a:pPr>
            <a:endParaRPr lang="en-AU" sz="324" b="1">
              <a:noFill/>
            </a:endParaRPr>
          </a:p>
        </p:txBody>
      </p:sp>
      <p:sp>
        <p:nvSpPr>
          <p:cNvPr id="62" name="Free-form: Shape 61">
            <a:extLst>
              <a:ext uri="{FF2B5EF4-FFF2-40B4-BE49-F238E27FC236}">
                <a16:creationId xmlns:a16="http://schemas.microsoft.com/office/drawing/2014/main" id="{FF92AA7A-2C80-1E59-C936-ABFC69615300}"/>
              </a:ext>
            </a:extLst>
          </p:cNvPr>
          <p:cNvSpPr/>
          <p:nvPr userDrawn="1"/>
        </p:nvSpPr>
        <p:spPr>
          <a:xfrm>
            <a:off x="6009105" y="8014499"/>
            <a:ext cx="1263726" cy="1684752"/>
          </a:xfrm>
          <a:custGeom>
            <a:avLst/>
            <a:gdLst>
              <a:gd name="connsiteX0" fmla="*/ 0 w 1528572"/>
              <a:gd name="connsiteY0" fmla="*/ 0 h 1080643"/>
              <a:gd name="connsiteX1" fmla="*/ 1020572 w 1528572"/>
              <a:gd name="connsiteY1" fmla="*/ 0 h 1080643"/>
              <a:gd name="connsiteX2" fmla="*/ 1528572 w 1528572"/>
              <a:gd name="connsiteY2" fmla="*/ 1080643 h 1080643"/>
              <a:gd name="connsiteX3" fmla="*/ 508000 w 1528572"/>
              <a:gd name="connsiteY3" fmla="*/ 1080643 h 1080643"/>
            </a:gdLst>
            <a:ahLst/>
            <a:cxnLst>
              <a:cxn ang="0">
                <a:pos x="connsiteX0" y="connsiteY0"/>
              </a:cxn>
              <a:cxn ang="0">
                <a:pos x="connsiteX1" y="connsiteY1"/>
              </a:cxn>
              <a:cxn ang="0">
                <a:pos x="connsiteX2" y="connsiteY2"/>
              </a:cxn>
              <a:cxn ang="0">
                <a:pos x="connsiteX3" y="connsiteY3"/>
              </a:cxn>
            </a:cxnLst>
            <a:rect l="l" t="t" r="r" b="b"/>
            <a:pathLst>
              <a:path w="1528572" h="1080643">
                <a:moveTo>
                  <a:pt x="0" y="0"/>
                </a:moveTo>
                <a:lnTo>
                  <a:pt x="1020572" y="0"/>
                </a:lnTo>
                <a:cubicBezTo>
                  <a:pt x="1020572" y="0"/>
                  <a:pt x="1528572" y="1080643"/>
                  <a:pt x="1528572" y="1080643"/>
                </a:cubicBezTo>
                <a:lnTo>
                  <a:pt x="508000" y="1080643"/>
                </a:lnTo>
                <a:close/>
              </a:path>
            </a:pathLst>
          </a:custGeom>
          <a:solidFill>
            <a:schemeClr val="bg1">
              <a:alpha val="33000"/>
            </a:schemeClr>
          </a:solidFill>
        </p:spPr>
        <p:txBody>
          <a:bodyPr vert="horz" wrap="square" lIns="0" tIns="0" rIns="0" bIns="0" rtlCol="0">
            <a:noAutofit/>
          </a:bodyPr>
          <a:lstStyle/>
          <a:p>
            <a:pPr lvl="0" indent="0">
              <a:lnSpc>
                <a:spcPct val="100000"/>
              </a:lnSpc>
              <a:spcBef>
                <a:spcPts val="0"/>
              </a:spcBef>
              <a:buFont typeface="Arial" panose="020B0604020202020204" pitchFamily="34" charset="0"/>
              <a:buNone/>
            </a:pPr>
            <a:endParaRPr lang="en-AU" sz="324" b="1">
              <a:noFill/>
            </a:endParaRPr>
          </a:p>
        </p:txBody>
      </p:sp>
      <p:sp>
        <p:nvSpPr>
          <p:cNvPr id="4" name="Slide Number Placeholder 5">
            <a:extLst>
              <a:ext uri="{FF2B5EF4-FFF2-40B4-BE49-F238E27FC236}">
                <a16:creationId xmlns:a16="http://schemas.microsoft.com/office/drawing/2014/main" id="{DD344425-4162-E229-2E19-2924591FFEC4}"/>
              </a:ext>
            </a:extLst>
          </p:cNvPr>
          <p:cNvSpPr>
            <a:spLocks noGrp="1"/>
          </p:cNvSpPr>
          <p:nvPr>
            <p:ph type="sldNum" sz="quarter" idx="4"/>
          </p:nvPr>
        </p:nvSpPr>
        <p:spPr>
          <a:xfrm>
            <a:off x="6893918" y="9905984"/>
            <a:ext cx="446438" cy="561250"/>
          </a:xfrm>
          <a:prstGeom prst="rect">
            <a:avLst/>
          </a:prstGeom>
        </p:spPr>
        <p:txBody>
          <a:bodyPr vert="horz" lIns="0" tIns="0" rIns="0" bIns="0" rtlCol="0" anchor="ctr"/>
          <a:lstStyle>
            <a:lvl1pPr algn="l">
              <a:defRPr sz="809">
                <a:solidFill>
                  <a:schemeClr val="accent6"/>
                </a:solidFill>
              </a:defRPr>
            </a:lvl1pPr>
          </a:lstStyle>
          <a:p>
            <a:r>
              <a:rPr lang="en-GB"/>
              <a:t>Page </a:t>
            </a:r>
            <a:fld id="{F5AEA0E0-5CC6-4BD0-905C-A0021E419432}" type="slidenum">
              <a:rPr lang="en-GB" smtClean="0"/>
              <a:pPr/>
              <a:t>‹#›</a:t>
            </a:fld>
            <a:endParaRPr lang="en-GB"/>
          </a:p>
        </p:txBody>
      </p:sp>
      <p:cxnSp>
        <p:nvCxnSpPr>
          <p:cNvPr id="5" name="Straight Connector 4">
            <a:extLst>
              <a:ext uri="{FF2B5EF4-FFF2-40B4-BE49-F238E27FC236}">
                <a16:creationId xmlns:a16="http://schemas.microsoft.com/office/drawing/2014/main" id="{77E5F0D0-1852-1373-EF05-D7B4A6041F22}"/>
              </a:ext>
            </a:extLst>
          </p:cNvPr>
          <p:cNvCxnSpPr/>
          <p:nvPr userDrawn="1"/>
        </p:nvCxnSpPr>
        <p:spPr>
          <a:xfrm>
            <a:off x="6803250" y="10078027"/>
            <a:ext cx="0" cy="242545"/>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7985545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Section Header grey">
    <p:spTree>
      <p:nvGrpSpPr>
        <p:cNvPr id="1" name=""/>
        <p:cNvGrpSpPr/>
        <p:nvPr/>
      </p:nvGrpSpPr>
      <p:grpSpPr>
        <a:xfrm>
          <a:off x="0" y="0"/>
          <a:ext cx="0" cy="0"/>
          <a:chOff x="0" y="0"/>
          <a:chExt cx="0" cy="0"/>
        </a:xfrm>
      </p:grpSpPr>
      <p:sp>
        <p:nvSpPr>
          <p:cNvPr id="31" name="Free-form: Shape 30">
            <a:extLst>
              <a:ext uri="{FF2B5EF4-FFF2-40B4-BE49-F238E27FC236}">
                <a16:creationId xmlns:a16="http://schemas.microsoft.com/office/drawing/2014/main" id="{775179C6-69B1-0B86-138C-7F7820A4F219}"/>
              </a:ext>
            </a:extLst>
          </p:cNvPr>
          <p:cNvSpPr/>
          <p:nvPr userDrawn="1"/>
        </p:nvSpPr>
        <p:spPr>
          <a:xfrm>
            <a:off x="2" y="981265"/>
            <a:ext cx="7557368" cy="8716995"/>
          </a:xfrm>
          <a:custGeom>
            <a:avLst/>
            <a:gdLst>
              <a:gd name="connsiteX0" fmla="*/ 0 w 8820023"/>
              <a:gd name="connsiteY0" fmla="*/ 0 h 5591302"/>
              <a:gd name="connsiteX1" fmla="*/ 8820023 w 8820023"/>
              <a:gd name="connsiteY1" fmla="*/ 0 h 5591302"/>
              <a:gd name="connsiteX2" fmla="*/ 8820023 w 8820023"/>
              <a:gd name="connsiteY2" fmla="*/ 5591302 h 5591302"/>
              <a:gd name="connsiteX3" fmla="*/ 0 w 8820023"/>
              <a:gd name="connsiteY3" fmla="*/ 5591302 h 5591302"/>
            </a:gdLst>
            <a:ahLst/>
            <a:cxnLst>
              <a:cxn ang="0">
                <a:pos x="connsiteX0" y="connsiteY0"/>
              </a:cxn>
              <a:cxn ang="0">
                <a:pos x="connsiteX1" y="connsiteY1"/>
              </a:cxn>
              <a:cxn ang="0">
                <a:pos x="connsiteX2" y="connsiteY2"/>
              </a:cxn>
              <a:cxn ang="0">
                <a:pos x="connsiteX3" y="connsiteY3"/>
              </a:cxn>
            </a:cxnLst>
            <a:rect l="l" t="t" r="r" b="b"/>
            <a:pathLst>
              <a:path w="8820023" h="5591302">
                <a:moveTo>
                  <a:pt x="0" y="0"/>
                </a:moveTo>
                <a:lnTo>
                  <a:pt x="8820023" y="0"/>
                </a:lnTo>
                <a:lnTo>
                  <a:pt x="8820023" y="5591302"/>
                </a:lnTo>
                <a:lnTo>
                  <a:pt x="0" y="5591302"/>
                </a:lnTo>
                <a:close/>
              </a:path>
            </a:pathLst>
          </a:custGeom>
          <a:solidFill>
            <a:schemeClr val="accent6"/>
          </a:solidFill>
          <a:ln w="6350" cap="flat">
            <a:noFill/>
            <a:prstDash val="solid"/>
            <a:miter/>
          </a:ln>
        </p:spPr>
        <p:txBody>
          <a:bodyPr rtlCol="0" anchor="ctr"/>
          <a:lstStyle/>
          <a:p>
            <a:pPr lvl="0"/>
            <a:endParaRPr lang="en-AU" sz="1457"/>
          </a:p>
        </p:txBody>
      </p:sp>
      <p:sp>
        <p:nvSpPr>
          <p:cNvPr id="44" name="Free-form: Shape 43">
            <a:extLst>
              <a:ext uri="{FF2B5EF4-FFF2-40B4-BE49-F238E27FC236}">
                <a16:creationId xmlns:a16="http://schemas.microsoft.com/office/drawing/2014/main" id="{DE084157-4075-0FD5-6E63-97A51B858EB1}"/>
              </a:ext>
            </a:extLst>
          </p:cNvPr>
          <p:cNvSpPr/>
          <p:nvPr userDrawn="1"/>
        </p:nvSpPr>
        <p:spPr>
          <a:xfrm>
            <a:off x="2786793" y="981264"/>
            <a:ext cx="4770470" cy="8717985"/>
          </a:xfrm>
          <a:custGeom>
            <a:avLst/>
            <a:gdLst>
              <a:gd name="connsiteX0" fmla="*/ 2644140 w 5770245"/>
              <a:gd name="connsiteY0" fmla="*/ 0 h 5591937"/>
              <a:gd name="connsiteX1" fmla="*/ 5770245 w 5770245"/>
              <a:gd name="connsiteY1" fmla="*/ 0 h 5591937"/>
              <a:gd name="connsiteX2" fmla="*/ 5770245 w 5770245"/>
              <a:gd name="connsiteY2" fmla="*/ 5591937 h 5591937"/>
              <a:gd name="connsiteX3" fmla="*/ 0 w 5770245"/>
              <a:gd name="connsiteY3" fmla="*/ 5591937 h 5591937"/>
            </a:gdLst>
            <a:ahLst/>
            <a:cxnLst>
              <a:cxn ang="0">
                <a:pos x="connsiteX0" y="connsiteY0"/>
              </a:cxn>
              <a:cxn ang="0">
                <a:pos x="connsiteX1" y="connsiteY1"/>
              </a:cxn>
              <a:cxn ang="0">
                <a:pos x="connsiteX2" y="connsiteY2"/>
              </a:cxn>
              <a:cxn ang="0">
                <a:pos x="connsiteX3" y="connsiteY3"/>
              </a:cxn>
            </a:cxnLst>
            <a:rect l="l" t="t" r="r" b="b"/>
            <a:pathLst>
              <a:path w="5770245" h="5591937">
                <a:moveTo>
                  <a:pt x="2644140" y="0"/>
                </a:moveTo>
                <a:lnTo>
                  <a:pt x="5770245" y="0"/>
                </a:lnTo>
                <a:lnTo>
                  <a:pt x="5770245" y="5591937"/>
                </a:lnTo>
                <a:lnTo>
                  <a:pt x="0" y="5591937"/>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1457"/>
          </a:p>
        </p:txBody>
      </p:sp>
      <p:sp>
        <p:nvSpPr>
          <p:cNvPr id="22" name="Footer Placeholder 4">
            <a:extLst>
              <a:ext uri="{FF2B5EF4-FFF2-40B4-BE49-F238E27FC236}">
                <a16:creationId xmlns:a16="http://schemas.microsoft.com/office/drawing/2014/main" id="{E478B37A-93E5-3050-AED1-1AE614E5E923}"/>
              </a:ext>
            </a:extLst>
          </p:cNvPr>
          <p:cNvSpPr>
            <a:spLocks noGrp="1"/>
          </p:cNvSpPr>
          <p:nvPr>
            <p:ph type="ftr" sz="quarter" idx="3"/>
          </p:nvPr>
        </p:nvSpPr>
        <p:spPr>
          <a:xfrm>
            <a:off x="401608" y="9905984"/>
            <a:ext cx="3704959" cy="561250"/>
          </a:xfrm>
          <a:prstGeom prst="rect">
            <a:avLst/>
          </a:prstGeom>
        </p:spPr>
        <p:txBody>
          <a:bodyPr vert="horz" lIns="0" tIns="0" rIns="0" bIns="0" rtlCol="0" anchor="ctr"/>
          <a:lstStyle>
            <a:lvl1pPr algn="l">
              <a:defRPr sz="809">
                <a:solidFill>
                  <a:schemeClr val="accent6"/>
                </a:solidFill>
              </a:defRPr>
            </a:lvl1pPr>
          </a:lstStyle>
          <a:p>
            <a:r>
              <a:rPr lang="en-GB"/>
              <a:t>To add a Footer, select 'Insert &gt; Header &amp; Footer'</a:t>
            </a:r>
          </a:p>
        </p:txBody>
      </p:sp>
      <p:sp>
        <p:nvSpPr>
          <p:cNvPr id="35" name="Free-form: Shape 34">
            <a:extLst>
              <a:ext uri="{FF2B5EF4-FFF2-40B4-BE49-F238E27FC236}">
                <a16:creationId xmlns:a16="http://schemas.microsoft.com/office/drawing/2014/main" id="{E716590E-9291-B2F9-3AA6-85CA4C91DBB9}"/>
              </a:ext>
            </a:extLst>
          </p:cNvPr>
          <p:cNvSpPr/>
          <p:nvPr userDrawn="1"/>
        </p:nvSpPr>
        <p:spPr>
          <a:xfrm>
            <a:off x="5336399" y="9699053"/>
            <a:ext cx="1092688" cy="987013"/>
          </a:xfrm>
          <a:custGeom>
            <a:avLst/>
            <a:gdLst>
              <a:gd name="connsiteX0" fmla="*/ 1321689 w 1321689"/>
              <a:gd name="connsiteY0" fmla="*/ 0 h 633095"/>
              <a:gd name="connsiteX1" fmla="*/ 300863 w 1321689"/>
              <a:gd name="connsiteY1" fmla="*/ 0 h 633095"/>
              <a:gd name="connsiteX2" fmla="*/ 0 w 1321689"/>
              <a:gd name="connsiteY2" fmla="*/ 633095 h 633095"/>
              <a:gd name="connsiteX3" fmla="*/ 1020953 w 1321689"/>
              <a:gd name="connsiteY3" fmla="*/ 633095 h 633095"/>
              <a:gd name="connsiteX4" fmla="*/ 1321562 w 1321689"/>
              <a:gd name="connsiteY4" fmla="*/ 0 h 6330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1689" h="633095">
                <a:moveTo>
                  <a:pt x="1321689" y="0"/>
                </a:moveTo>
                <a:lnTo>
                  <a:pt x="300863" y="0"/>
                </a:lnTo>
                <a:lnTo>
                  <a:pt x="0" y="633095"/>
                </a:lnTo>
                <a:lnTo>
                  <a:pt x="1020953" y="633095"/>
                </a:lnTo>
                <a:lnTo>
                  <a:pt x="1321562" y="0"/>
                </a:lnTo>
                <a:close/>
              </a:path>
            </a:pathLst>
          </a:custGeom>
          <a:solidFill>
            <a:schemeClr val="accent6"/>
          </a:solidFill>
          <a:ln w="6350" cap="flat">
            <a:noFill/>
            <a:prstDash val="solid"/>
            <a:miter/>
          </a:ln>
        </p:spPr>
        <p:txBody>
          <a:bodyPr rtlCol="0" anchor="ctr"/>
          <a:lstStyle/>
          <a:p>
            <a:pPr lvl="0"/>
            <a:endParaRPr lang="en-AU" sz="1457"/>
          </a:p>
        </p:txBody>
      </p:sp>
      <p:sp>
        <p:nvSpPr>
          <p:cNvPr id="36" name="Free-form: Shape 35">
            <a:extLst>
              <a:ext uri="{FF2B5EF4-FFF2-40B4-BE49-F238E27FC236}">
                <a16:creationId xmlns:a16="http://schemas.microsoft.com/office/drawing/2014/main" id="{4D003B98-C3EA-C7FE-AD96-45DA60D8E705}"/>
              </a:ext>
            </a:extLst>
          </p:cNvPr>
          <p:cNvSpPr/>
          <p:nvPr userDrawn="1"/>
        </p:nvSpPr>
        <p:spPr>
          <a:xfrm>
            <a:off x="4972799" y="-5747"/>
            <a:ext cx="979083" cy="987011"/>
          </a:xfrm>
          <a:custGeom>
            <a:avLst/>
            <a:gdLst>
              <a:gd name="connsiteX0" fmla="*/ 299339 w 1184275"/>
              <a:gd name="connsiteY0" fmla="*/ 0 h 633094"/>
              <a:gd name="connsiteX1" fmla="*/ 0 w 1184275"/>
              <a:gd name="connsiteY1" fmla="*/ 633095 h 633094"/>
              <a:gd name="connsiteX2" fmla="*/ 885572 w 1184275"/>
              <a:gd name="connsiteY2" fmla="*/ 633095 h 633094"/>
              <a:gd name="connsiteX3" fmla="*/ 1184275 w 1184275"/>
              <a:gd name="connsiteY3" fmla="*/ 0 h 633094"/>
              <a:gd name="connsiteX4" fmla="*/ 299339 w 1184275"/>
              <a:gd name="connsiteY4" fmla="*/ 0 h 633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275" h="633094">
                <a:moveTo>
                  <a:pt x="299339" y="0"/>
                </a:moveTo>
                <a:lnTo>
                  <a:pt x="0" y="633095"/>
                </a:lnTo>
                <a:lnTo>
                  <a:pt x="885572" y="633095"/>
                </a:lnTo>
                <a:cubicBezTo>
                  <a:pt x="885572" y="633095"/>
                  <a:pt x="1184275" y="0"/>
                  <a:pt x="1184275" y="0"/>
                </a:cubicBezTo>
                <a:lnTo>
                  <a:pt x="299339" y="0"/>
                </a:lnTo>
                <a:close/>
              </a:path>
            </a:pathLst>
          </a:custGeom>
          <a:solidFill>
            <a:srgbClr val="CEDC00"/>
          </a:solidFill>
          <a:ln w="12691" cap="flat">
            <a:noFill/>
            <a:prstDash val="solid"/>
            <a:miter/>
          </a:ln>
        </p:spPr>
        <p:txBody>
          <a:bodyPr rtlCol="0" anchor="ctr"/>
          <a:lstStyle/>
          <a:p>
            <a:endParaRPr lang="en-AU" sz="1457"/>
          </a:p>
        </p:txBody>
      </p:sp>
      <p:sp>
        <p:nvSpPr>
          <p:cNvPr id="37" name="Free-form: Shape 36">
            <a:extLst>
              <a:ext uri="{FF2B5EF4-FFF2-40B4-BE49-F238E27FC236}">
                <a16:creationId xmlns:a16="http://schemas.microsoft.com/office/drawing/2014/main" id="{D57C1E03-A62F-F5AC-8A66-6F45EDC22105}"/>
              </a:ext>
            </a:extLst>
          </p:cNvPr>
          <p:cNvSpPr/>
          <p:nvPr userDrawn="1"/>
        </p:nvSpPr>
        <p:spPr>
          <a:xfrm>
            <a:off x="5338815" y="981265"/>
            <a:ext cx="366120" cy="1460025"/>
          </a:xfrm>
          <a:custGeom>
            <a:avLst/>
            <a:gdLst>
              <a:gd name="connsiteX0" fmla="*/ 442849 w 442849"/>
              <a:gd name="connsiteY0" fmla="*/ 0 h 936497"/>
              <a:gd name="connsiteX1" fmla="*/ 0 w 442849"/>
              <a:gd name="connsiteY1" fmla="*/ 936498 h 936497"/>
            </a:gdLst>
            <a:ahLst/>
            <a:cxnLst>
              <a:cxn ang="0">
                <a:pos x="connsiteX0" y="connsiteY0"/>
              </a:cxn>
              <a:cxn ang="0">
                <a:pos x="connsiteX1" y="connsiteY1"/>
              </a:cxn>
            </a:cxnLst>
            <a:rect l="l" t="t" r="r" b="b"/>
            <a:pathLst>
              <a:path w="442849" h="936497">
                <a:moveTo>
                  <a:pt x="442849" y="0"/>
                </a:moveTo>
                <a:lnTo>
                  <a:pt x="0" y="936498"/>
                </a:lnTo>
              </a:path>
            </a:pathLst>
          </a:custGeom>
          <a:solidFill>
            <a:srgbClr val="FFFFFF"/>
          </a:solidFill>
          <a:ln w="12691" cap="flat">
            <a:noFill/>
            <a:prstDash val="solid"/>
            <a:miter/>
          </a:ln>
        </p:spPr>
        <p:txBody>
          <a:bodyPr rtlCol="0" anchor="ctr"/>
          <a:lstStyle/>
          <a:p>
            <a:endParaRPr lang="en-AU" sz="1457"/>
          </a:p>
        </p:txBody>
      </p:sp>
      <p:sp>
        <p:nvSpPr>
          <p:cNvPr id="41" name="Subtitle 2">
            <a:extLst>
              <a:ext uri="{FF2B5EF4-FFF2-40B4-BE49-F238E27FC236}">
                <a16:creationId xmlns:a16="http://schemas.microsoft.com/office/drawing/2014/main" id="{CAB36581-B79B-989F-D79E-A149C37E4972}"/>
              </a:ext>
            </a:extLst>
          </p:cNvPr>
          <p:cNvSpPr>
            <a:spLocks noGrp="1"/>
          </p:cNvSpPr>
          <p:nvPr>
            <p:ph type="subTitle" idx="1" hasCustomPrompt="1"/>
          </p:nvPr>
        </p:nvSpPr>
        <p:spPr>
          <a:xfrm>
            <a:off x="399299" y="3784313"/>
            <a:ext cx="3125063" cy="2245000"/>
          </a:xfrm>
        </p:spPr>
        <p:txBody>
          <a:bodyPr/>
          <a:lstStyle>
            <a:lvl1pPr marL="0" indent="0" algn="l">
              <a:buNone/>
              <a:defRPr sz="1862" b="0">
                <a:solidFill>
                  <a:schemeClr val="bg1"/>
                </a:solidFill>
              </a:defRPr>
            </a:lvl1pPr>
            <a:lvl2pPr marL="0" indent="0" algn="l">
              <a:buNone/>
              <a:defRPr sz="1862" b="0">
                <a:solidFill>
                  <a:schemeClr val="accent3"/>
                </a:solidFill>
              </a:defRPr>
            </a:lvl2pPr>
            <a:lvl3pPr marL="0" indent="0" algn="l">
              <a:buNone/>
              <a:defRPr sz="1862" b="0">
                <a:solidFill>
                  <a:schemeClr val="bg1"/>
                </a:solidFill>
              </a:defRPr>
            </a:lvl3pPr>
            <a:lvl4pPr marL="0" indent="0" algn="l">
              <a:buNone/>
              <a:defRPr sz="1862" b="0">
                <a:solidFill>
                  <a:schemeClr val="bg1"/>
                </a:solidFill>
              </a:defRPr>
            </a:lvl4pPr>
            <a:lvl5pPr marL="0" indent="0" algn="l">
              <a:buNone/>
              <a:defRPr sz="1862" b="0">
                <a:solidFill>
                  <a:schemeClr val="bg1"/>
                </a:solidFill>
              </a:defRPr>
            </a:lvl5pPr>
            <a:lvl6pPr marL="0" indent="0" algn="l">
              <a:buNone/>
              <a:defRPr sz="1862" b="0">
                <a:solidFill>
                  <a:schemeClr val="bg1"/>
                </a:solidFill>
              </a:defRPr>
            </a:lvl6pPr>
            <a:lvl7pPr marL="0" indent="0" algn="l">
              <a:buNone/>
              <a:defRPr sz="1862" b="0">
                <a:solidFill>
                  <a:schemeClr val="bg1"/>
                </a:solidFill>
              </a:defRPr>
            </a:lvl7pPr>
            <a:lvl8pPr marL="0" indent="0" algn="l">
              <a:buNone/>
              <a:defRPr sz="1862" b="0">
                <a:solidFill>
                  <a:schemeClr val="bg1"/>
                </a:solidFill>
              </a:defRPr>
            </a:lvl8pPr>
            <a:lvl9pPr marL="0" indent="0" algn="l">
              <a:buNone/>
              <a:defRPr sz="1862" b="0">
                <a:solidFill>
                  <a:schemeClr val="bg1"/>
                </a:solidFill>
              </a:defRPr>
            </a:lvl9pPr>
          </a:lstStyle>
          <a:p>
            <a:r>
              <a:rPr lang="en-US"/>
              <a:t>Click to add subheading</a:t>
            </a:r>
            <a:endParaRPr lang="en-GB"/>
          </a:p>
        </p:txBody>
      </p:sp>
      <p:sp>
        <p:nvSpPr>
          <p:cNvPr id="42" name="Title 10">
            <a:extLst>
              <a:ext uri="{FF2B5EF4-FFF2-40B4-BE49-F238E27FC236}">
                <a16:creationId xmlns:a16="http://schemas.microsoft.com/office/drawing/2014/main" id="{2A95F71B-5627-FFA8-5C56-3B3CD5D05787}"/>
              </a:ext>
            </a:extLst>
          </p:cNvPr>
          <p:cNvSpPr>
            <a:spLocks noGrp="1"/>
          </p:cNvSpPr>
          <p:nvPr>
            <p:ph type="title" hasCustomPrompt="1"/>
          </p:nvPr>
        </p:nvSpPr>
        <p:spPr>
          <a:xfrm>
            <a:off x="401607" y="1968473"/>
            <a:ext cx="3125063" cy="1683750"/>
          </a:xfrm>
        </p:spPr>
        <p:txBody>
          <a:bodyPr anchor="b" anchorCtr="0"/>
          <a:lstStyle>
            <a:lvl1pPr>
              <a:defRPr sz="2509">
                <a:solidFill>
                  <a:schemeClr val="bg1"/>
                </a:solidFill>
              </a:defRPr>
            </a:lvl1pPr>
          </a:lstStyle>
          <a:p>
            <a:r>
              <a:rPr lang="en-US"/>
              <a:t>Section Header</a:t>
            </a:r>
            <a:endParaRPr lang="en-GB"/>
          </a:p>
        </p:txBody>
      </p:sp>
      <p:sp>
        <p:nvSpPr>
          <p:cNvPr id="57" name="Free-form: Shape 56">
            <a:extLst>
              <a:ext uri="{FF2B5EF4-FFF2-40B4-BE49-F238E27FC236}">
                <a16:creationId xmlns:a16="http://schemas.microsoft.com/office/drawing/2014/main" id="{01DA6775-E0B6-7D84-E7B3-F5EA83C07776}"/>
              </a:ext>
            </a:extLst>
          </p:cNvPr>
          <p:cNvSpPr/>
          <p:nvPr userDrawn="1"/>
        </p:nvSpPr>
        <p:spPr>
          <a:xfrm>
            <a:off x="4606679" y="981263"/>
            <a:ext cx="1098358" cy="1460027"/>
          </a:xfrm>
          <a:custGeom>
            <a:avLst/>
            <a:gdLst>
              <a:gd name="connsiteX0" fmla="*/ 885762 w 1328547"/>
              <a:gd name="connsiteY0" fmla="*/ 936365 h 936499"/>
              <a:gd name="connsiteX1" fmla="*/ 885825 w 1328547"/>
              <a:gd name="connsiteY1" fmla="*/ 936499 h 936499"/>
              <a:gd name="connsiteX2" fmla="*/ 885698 w 1328547"/>
              <a:gd name="connsiteY2" fmla="*/ 936499 h 936499"/>
              <a:gd name="connsiteX3" fmla="*/ 442786 w 1328547"/>
              <a:gd name="connsiteY3" fmla="*/ 134 h 936499"/>
              <a:gd name="connsiteX4" fmla="*/ 447696 w 1328547"/>
              <a:gd name="connsiteY4" fmla="*/ 10517 h 936499"/>
              <a:gd name="connsiteX5" fmla="*/ 885571 w 1328547"/>
              <a:gd name="connsiteY5" fmla="*/ 936498 h 936499"/>
              <a:gd name="connsiteX6" fmla="*/ 0 w 1328547"/>
              <a:gd name="connsiteY6" fmla="*/ 936498 h 936499"/>
              <a:gd name="connsiteX7" fmla="*/ 442976 w 1328547"/>
              <a:gd name="connsiteY7" fmla="*/ 1 h 936499"/>
              <a:gd name="connsiteX8" fmla="*/ 1328547 w 1328547"/>
              <a:gd name="connsiteY8" fmla="*/ 1 h 936499"/>
              <a:gd name="connsiteX9" fmla="*/ 885762 w 1328547"/>
              <a:gd name="connsiteY9" fmla="*/ 936365 h 936499"/>
              <a:gd name="connsiteX10" fmla="*/ 880852 w 1328547"/>
              <a:gd name="connsiteY10" fmla="*/ 925982 h 936499"/>
              <a:gd name="connsiteX11" fmla="*/ 442976 w 1328547"/>
              <a:gd name="connsiteY11" fmla="*/ 1 h 936499"/>
              <a:gd name="connsiteX12" fmla="*/ 442722 w 1328547"/>
              <a:gd name="connsiteY12" fmla="*/ 0 h 936499"/>
              <a:gd name="connsiteX13" fmla="*/ 442849 w 1328547"/>
              <a:gd name="connsiteY13" fmla="*/ 0 h 936499"/>
              <a:gd name="connsiteX14" fmla="*/ 442786 w 1328547"/>
              <a:gd name="connsiteY14" fmla="*/ 134 h 936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28547" h="936499">
                <a:moveTo>
                  <a:pt x="885762" y="936365"/>
                </a:moveTo>
                <a:lnTo>
                  <a:pt x="885825" y="936499"/>
                </a:lnTo>
                <a:lnTo>
                  <a:pt x="885698" y="936499"/>
                </a:lnTo>
                <a:close/>
                <a:moveTo>
                  <a:pt x="442786" y="134"/>
                </a:moveTo>
                <a:lnTo>
                  <a:pt x="447696" y="10517"/>
                </a:lnTo>
                <a:cubicBezTo>
                  <a:pt x="496349" y="113404"/>
                  <a:pt x="885571" y="936498"/>
                  <a:pt x="885571" y="936498"/>
                </a:cubicBezTo>
                <a:lnTo>
                  <a:pt x="0" y="936498"/>
                </a:lnTo>
                <a:close/>
                <a:moveTo>
                  <a:pt x="442976" y="1"/>
                </a:moveTo>
                <a:lnTo>
                  <a:pt x="1328547" y="1"/>
                </a:lnTo>
                <a:lnTo>
                  <a:pt x="885762" y="936365"/>
                </a:lnTo>
                <a:lnTo>
                  <a:pt x="880852" y="925982"/>
                </a:lnTo>
                <a:cubicBezTo>
                  <a:pt x="832199" y="823095"/>
                  <a:pt x="442976" y="1"/>
                  <a:pt x="442976" y="1"/>
                </a:cubicBezTo>
                <a:close/>
                <a:moveTo>
                  <a:pt x="442722" y="0"/>
                </a:moveTo>
                <a:lnTo>
                  <a:pt x="442849" y="0"/>
                </a:lnTo>
                <a:lnTo>
                  <a:pt x="442786" y="134"/>
                </a:lnTo>
                <a:close/>
              </a:path>
            </a:pathLst>
          </a:custGeom>
          <a:solidFill>
            <a:schemeClr val="accent1">
              <a:alpha val="66000"/>
            </a:schemeClr>
          </a:solidFill>
        </p:spPr>
        <p:txBody>
          <a:bodyPr vert="horz" wrap="square" lIns="0" tIns="0" rIns="0" bIns="0" rtlCol="0">
            <a:noAutofit/>
          </a:bodyPr>
          <a:lstStyle/>
          <a:p>
            <a:pPr lvl="0" indent="0">
              <a:lnSpc>
                <a:spcPct val="100000"/>
              </a:lnSpc>
              <a:spcBef>
                <a:spcPts val="0"/>
              </a:spcBef>
              <a:buFont typeface="Arial" panose="020B0604020202020204" pitchFamily="34" charset="0"/>
              <a:buNone/>
            </a:pPr>
            <a:endParaRPr lang="en-AU" sz="324" b="1">
              <a:noFill/>
            </a:endParaRPr>
          </a:p>
        </p:txBody>
      </p:sp>
      <p:sp>
        <p:nvSpPr>
          <p:cNvPr id="58" name="Free-form: Shape 57">
            <a:extLst>
              <a:ext uri="{FF2B5EF4-FFF2-40B4-BE49-F238E27FC236}">
                <a16:creationId xmlns:a16="http://schemas.microsoft.com/office/drawing/2014/main" id="{358FAFA3-856C-CF17-8001-FFF4AC2A7BB5}"/>
              </a:ext>
            </a:extLst>
          </p:cNvPr>
          <p:cNvSpPr/>
          <p:nvPr userDrawn="1"/>
        </p:nvSpPr>
        <p:spPr>
          <a:xfrm>
            <a:off x="4240665" y="981262"/>
            <a:ext cx="1098253" cy="1460026"/>
          </a:xfrm>
          <a:custGeom>
            <a:avLst/>
            <a:gdLst>
              <a:gd name="connsiteX0" fmla="*/ 0 w 1328420"/>
              <a:gd name="connsiteY0" fmla="*/ 0 h 936498"/>
              <a:gd name="connsiteX1" fmla="*/ 885571 w 1328420"/>
              <a:gd name="connsiteY1" fmla="*/ 0 h 936498"/>
              <a:gd name="connsiteX2" fmla="*/ 1328420 w 1328420"/>
              <a:gd name="connsiteY2" fmla="*/ 936498 h 936498"/>
              <a:gd name="connsiteX3" fmla="*/ 442849 w 1328420"/>
              <a:gd name="connsiteY3" fmla="*/ 936498 h 936498"/>
              <a:gd name="connsiteX4" fmla="*/ 0 w 1328420"/>
              <a:gd name="connsiteY4" fmla="*/ 0 h 9364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8420" h="936498">
                <a:moveTo>
                  <a:pt x="0" y="0"/>
                </a:moveTo>
                <a:lnTo>
                  <a:pt x="885571" y="0"/>
                </a:lnTo>
                <a:lnTo>
                  <a:pt x="1328420" y="936498"/>
                </a:lnTo>
                <a:lnTo>
                  <a:pt x="442849" y="936498"/>
                </a:lnTo>
                <a:cubicBezTo>
                  <a:pt x="442849" y="936498"/>
                  <a:pt x="0" y="0"/>
                  <a:pt x="0" y="0"/>
                </a:cubicBezTo>
                <a:close/>
              </a:path>
            </a:pathLst>
          </a:custGeom>
          <a:solidFill>
            <a:schemeClr val="bg1">
              <a:alpha val="33000"/>
            </a:schemeClr>
          </a:solidFill>
        </p:spPr>
        <p:txBody>
          <a:bodyPr vert="horz" wrap="square" lIns="0" tIns="0" rIns="0" bIns="0" rtlCol="0">
            <a:noAutofit/>
          </a:bodyPr>
          <a:lstStyle/>
          <a:p>
            <a:pPr lvl="0" indent="0">
              <a:lnSpc>
                <a:spcPct val="100000"/>
              </a:lnSpc>
              <a:spcBef>
                <a:spcPts val="0"/>
              </a:spcBef>
              <a:buFont typeface="Arial" panose="020B0604020202020204" pitchFamily="34" charset="0"/>
              <a:buNone/>
            </a:pPr>
            <a:endParaRPr lang="en-AU" sz="324" b="1">
              <a:noFill/>
            </a:endParaRPr>
          </a:p>
        </p:txBody>
      </p:sp>
      <p:sp>
        <p:nvSpPr>
          <p:cNvPr id="61" name="Free-form: Shape 60">
            <a:extLst>
              <a:ext uri="{FF2B5EF4-FFF2-40B4-BE49-F238E27FC236}">
                <a16:creationId xmlns:a16="http://schemas.microsoft.com/office/drawing/2014/main" id="{DF617F1A-5E2A-826F-24C7-FBF92E02D629}"/>
              </a:ext>
            </a:extLst>
          </p:cNvPr>
          <p:cNvSpPr/>
          <p:nvPr userDrawn="1"/>
        </p:nvSpPr>
        <p:spPr>
          <a:xfrm>
            <a:off x="5584188" y="8014498"/>
            <a:ext cx="1268765" cy="1688515"/>
          </a:xfrm>
          <a:custGeom>
            <a:avLst/>
            <a:gdLst>
              <a:gd name="connsiteX0" fmla="*/ 513969 w 1534668"/>
              <a:gd name="connsiteY0" fmla="*/ 0 h 1083056"/>
              <a:gd name="connsiteX1" fmla="*/ 1534668 w 1534668"/>
              <a:gd name="connsiteY1" fmla="*/ 0 h 1083056"/>
              <a:gd name="connsiteX2" fmla="*/ 1021969 w 1534668"/>
              <a:gd name="connsiteY2" fmla="*/ 1080516 h 1083056"/>
              <a:gd name="connsiteX3" fmla="*/ 0 w 1534668"/>
              <a:gd name="connsiteY3" fmla="*/ 1083056 h 1083056"/>
            </a:gdLst>
            <a:ahLst/>
            <a:cxnLst>
              <a:cxn ang="0">
                <a:pos x="connsiteX0" y="connsiteY0"/>
              </a:cxn>
              <a:cxn ang="0">
                <a:pos x="connsiteX1" y="connsiteY1"/>
              </a:cxn>
              <a:cxn ang="0">
                <a:pos x="connsiteX2" y="connsiteY2"/>
              </a:cxn>
              <a:cxn ang="0">
                <a:pos x="connsiteX3" y="connsiteY3"/>
              </a:cxn>
            </a:cxnLst>
            <a:rect l="l" t="t" r="r" b="b"/>
            <a:pathLst>
              <a:path w="1534668" h="1083056">
                <a:moveTo>
                  <a:pt x="513969" y="0"/>
                </a:moveTo>
                <a:lnTo>
                  <a:pt x="1534668" y="0"/>
                </a:lnTo>
                <a:lnTo>
                  <a:pt x="1021969" y="1080516"/>
                </a:lnTo>
                <a:lnTo>
                  <a:pt x="0" y="1083056"/>
                </a:lnTo>
                <a:close/>
              </a:path>
            </a:pathLst>
          </a:custGeom>
          <a:solidFill>
            <a:schemeClr val="accent6">
              <a:alpha val="50000"/>
            </a:schemeClr>
          </a:solidFill>
        </p:spPr>
        <p:txBody>
          <a:bodyPr vert="horz" wrap="square" lIns="0" tIns="0" rIns="0" bIns="0" rtlCol="0">
            <a:noAutofit/>
          </a:bodyPr>
          <a:lstStyle/>
          <a:p>
            <a:pPr lvl="0" indent="0">
              <a:lnSpc>
                <a:spcPct val="100000"/>
              </a:lnSpc>
              <a:spcBef>
                <a:spcPts val="0"/>
              </a:spcBef>
              <a:buFont typeface="Arial" panose="020B0604020202020204" pitchFamily="34" charset="0"/>
              <a:buNone/>
            </a:pPr>
            <a:endParaRPr lang="en-AU" sz="324" b="1">
              <a:noFill/>
            </a:endParaRPr>
          </a:p>
        </p:txBody>
      </p:sp>
      <p:sp>
        <p:nvSpPr>
          <p:cNvPr id="62" name="Free-form: Shape 61">
            <a:extLst>
              <a:ext uri="{FF2B5EF4-FFF2-40B4-BE49-F238E27FC236}">
                <a16:creationId xmlns:a16="http://schemas.microsoft.com/office/drawing/2014/main" id="{FF92AA7A-2C80-1E59-C936-ABFC69615300}"/>
              </a:ext>
            </a:extLst>
          </p:cNvPr>
          <p:cNvSpPr/>
          <p:nvPr userDrawn="1"/>
        </p:nvSpPr>
        <p:spPr>
          <a:xfrm>
            <a:off x="6009105" y="8014499"/>
            <a:ext cx="1263726" cy="1684752"/>
          </a:xfrm>
          <a:custGeom>
            <a:avLst/>
            <a:gdLst>
              <a:gd name="connsiteX0" fmla="*/ 0 w 1528572"/>
              <a:gd name="connsiteY0" fmla="*/ 0 h 1080643"/>
              <a:gd name="connsiteX1" fmla="*/ 1020572 w 1528572"/>
              <a:gd name="connsiteY1" fmla="*/ 0 h 1080643"/>
              <a:gd name="connsiteX2" fmla="*/ 1528572 w 1528572"/>
              <a:gd name="connsiteY2" fmla="*/ 1080643 h 1080643"/>
              <a:gd name="connsiteX3" fmla="*/ 508000 w 1528572"/>
              <a:gd name="connsiteY3" fmla="*/ 1080643 h 1080643"/>
            </a:gdLst>
            <a:ahLst/>
            <a:cxnLst>
              <a:cxn ang="0">
                <a:pos x="connsiteX0" y="connsiteY0"/>
              </a:cxn>
              <a:cxn ang="0">
                <a:pos x="connsiteX1" y="connsiteY1"/>
              </a:cxn>
              <a:cxn ang="0">
                <a:pos x="connsiteX2" y="connsiteY2"/>
              </a:cxn>
              <a:cxn ang="0">
                <a:pos x="connsiteX3" y="connsiteY3"/>
              </a:cxn>
            </a:cxnLst>
            <a:rect l="l" t="t" r="r" b="b"/>
            <a:pathLst>
              <a:path w="1528572" h="1080643">
                <a:moveTo>
                  <a:pt x="0" y="0"/>
                </a:moveTo>
                <a:lnTo>
                  <a:pt x="1020572" y="0"/>
                </a:lnTo>
                <a:cubicBezTo>
                  <a:pt x="1020572" y="0"/>
                  <a:pt x="1528572" y="1080643"/>
                  <a:pt x="1528572" y="1080643"/>
                </a:cubicBezTo>
                <a:lnTo>
                  <a:pt x="508000" y="1080643"/>
                </a:lnTo>
                <a:close/>
              </a:path>
            </a:pathLst>
          </a:custGeom>
          <a:solidFill>
            <a:schemeClr val="bg1">
              <a:alpha val="33000"/>
            </a:schemeClr>
          </a:solidFill>
        </p:spPr>
        <p:txBody>
          <a:bodyPr vert="horz" wrap="square" lIns="0" tIns="0" rIns="0" bIns="0" rtlCol="0">
            <a:noAutofit/>
          </a:bodyPr>
          <a:lstStyle/>
          <a:p>
            <a:pPr lvl="0" indent="0">
              <a:lnSpc>
                <a:spcPct val="100000"/>
              </a:lnSpc>
              <a:spcBef>
                <a:spcPts val="0"/>
              </a:spcBef>
              <a:buFont typeface="Arial" panose="020B0604020202020204" pitchFamily="34" charset="0"/>
              <a:buNone/>
            </a:pPr>
            <a:endParaRPr lang="en-AU" sz="324" b="1">
              <a:noFill/>
            </a:endParaRPr>
          </a:p>
        </p:txBody>
      </p:sp>
      <p:sp>
        <p:nvSpPr>
          <p:cNvPr id="4" name="Slide Number Placeholder 5">
            <a:extLst>
              <a:ext uri="{FF2B5EF4-FFF2-40B4-BE49-F238E27FC236}">
                <a16:creationId xmlns:a16="http://schemas.microsoft.com/office/drawing/2014/main" id="{5B3127AF-A3C2-5832-887E-D39B11574766}"/>
              </a:ext>
            </a:extLst>
          </p:cNvPr>
          <p:cNvSpPr>
            <a:spLocks noGrp="1"/>
          </p:cNvSpPr>
          <p:nvPr>
            <p:ph type="sldNum" sz="quarter" idx="4"/>
          </p:nvPr>
        </p:nvSpPr>
        <p:spPr>
          <a:xfrm>
            <a:off x="6893918" y="9905984"/>
            <a:ext cx="446438" cy="561250"/>
          </a:xfrm>
          <a:prstGeom prst="rect">
            <a:avLst/>
          </a:prstGeom>
        </p:spPr>
        <p:txBody>
          <a:bodyPr vert="horz" lIns="0" tIns="0" rIns="0" bIns="0" rtlCol="0" anchor="ctr"/>
          <a:lstStyle>
            <a:lvl1pPr algn="l">
              <a:defRPr sz="809">
                <a:solidFill>
                  <a:schemeClr val="accent6"/>
                </a:solidFill>
              </a:defRPr>
            </a:lvl1pPr>
          </a:lstStyle>
          <a:p>
            <a:r>
              <a:rPr lang="en-GB"/>
              <a:t>Page </a:t>
            </a:r>
            <a:fld id="{F5AEA0E0-5CC6-4BD0-905C-A0021E419432}" type="slidenum">
              <a:rPr lang="en-GB" smtClean="0"/>
              <a:pPr/>
              <a:t>‹#›</a:t>
            </a:fld>
            <a:endParaRPr lang="en-GB"/>
          </a:p>
        </p:txBody>
      </p:sp>
      <p:cxnSp>
        <p:nvCxnSpPr>
          <p:cNvPr id="5" name="Straight Connector 4">
            <a:extLst>
              <a:ext uri="{FF2B5EF4-FFF2-40B4-BE49-F238E27FC236}">
                <a16:creationId xmlns:a16="http://schemas.microsoft.com/office/drawing/2014/main" id="{FCFDF05C-52EC-6D95-72CD-C8B91309F21D}"/>
              </a:ext>
            </a:extLst>
          </p:cNvPr>
          <p:cNvCxnSpPr/>
          <p:nvPr userDrawn="1"/>
        </p:nvCxnSpPr>
        <p:spPr>
          <a:xfrm>
            <a:off x="6803250" y="10078027"/>
            <a:ext cx="0" cy="242545"/>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1907968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DEF600E-A836-4665-A50B-E5BE4AD5429E}"/>
              </a:ext>
            </a:extLst>
          </p:cNvPr>
          <p:cNvSpPr>
            <a:spLocks noGrp="1"/>
          </p:cNvSpPr>
          <p:nvPr>
            <p:ph type="title"/>
          </p:nvPr>
        </p:nvSpPr>
        <p:spPr/>
        <p:txBody>
          <a:bodyPr/>
          <a:lstStyle/>
          <a:p>
            <a:r>
              <a:rPr lang="en-GB"/>
              <a:t>Click to edit Master title style</a:t>
            </a:r>
            <a:endParaRPr lang="en-AU"/>
          </a:p>
        </p:txBody>
      </p:sp>
      <p:sp>
        <p:nvSpPr>
          <p:cNvPr id="6" name="Date Placeholder 5">
            <a:extLst>
              <a:ext uri="{FF2B5EF4-FFF2-40B4-BE49-F238E27FC236}">
                <a16:creationId xmlns:a16="http://schemas.microsoft.com/office/drawing/2014/main" id="{EF2443BB-7A97-7B56-A32E-631D8CD62CBD}"/>
              </a:ext>
            </a:extLst>
          </p:cNvPr>
          <p:cNvSpPr>
            <a:spLocks noGrp="1"/>
          </p:cNvSpPr>
          <p:nvPr>
            <p:ph type="dt" sz="half" idx="10"/>
          </p:nvPr>
        </p:nvSpPr>
        <p:spPr/>
        <p:txBody>
          <a:bodyPr/>
          <a:lstStyle/>
          <a:p>
            <a:fld id="{973D4877-A18C-4E62-9946-F942ED83388C}" type="datetime1">
              <a:rPr lang="en-GB" smtClean="0"/>
              <a:t>31/07/2023</a:t>
            </a:fld>
            <a:endParaRPr lang="en-GB"/>
          </a:p>
        </p:txBody>
      </p:sp>
      <p:sp>
        <p:nvSpPr>
          <p:cNvPr id="7" name="Footer Placeholder 6">
            <a:extLst>
              <a:ext uri="{FF2B5EF4-FFF2-40B4-BE49-F238E27FC236}">
                <a16:creationId xmlns:a16="http://schemas.microsoft.com/office/drawing/2014/main" id="{F726E1DD-AD4E-67B7-C4F6-D1DB9008DB2D}"/>
              </a:ext>
            </a:extLst>
          </p:cNvPr>
          <p:cNvSpPr>
            <a:spLocks noGrp="1"/>
          </p:cNvSpPr>
          <p:nvPr>
            <p:ph type="ftr" sz="quarter" idx="11"/>
          </p:nvPr>
        </p:nvSpPr>
        <p:spPr/>
        <p:txBody>
          <a:bodyPr/>
          <a:lstStyle/>
          <a:p>
            <a:r>
              <a:rPr lang="en-GB"/>
              <a:t>To add a Footer, select 'Insert &gt; Header &amp; Footer'</a:t>
            </a:r>
          </a:p>
        </p:txBody>
      </p:sp>
      <p:sp>
        <p:nvSpPr>
          <p:cNvPr id="8" name="Slide Number Placeholder 7">
            <a:extLst>
              <a:ext uri="{FF2B5EF4-FFF2-40B4-BE49-F238E27FC236}">
                <a16:creationId xmlns:a16="http://schemas.microsoft.com/office/drawing/2014/main" id="{D5844A66-C3CA-7B88-CD33-C6D0CC2B8D31}"/>
              </a:ext>
            </a:extLst>
          </p:cNvPr>
          <p:cNvSpPr>
            <a:spLocks noGrp="1"/>
          </p:cNvSpPr>
          <p:nvPr>
            <p:ph type="sldNum" sz="quarter" idx="12"/>
          </p:nvPr>
        </p:nvSpPr>
        <p:spPr/>
        <p:txBody>
          <a:bodyPr/>
          <a:lstStyle/>
          <a:p>
            <a:r>
              <a:rPr lang="en-GB"/>
              <a:t>Page </a:t>
            </a:r>
            <a:fld id="{F5AEA0E0-5CC6-4BD0-905C-A0021E419432}" type="slidenum">
              <a:rPr lang="en-GB" smtClean="0"/>
              <a:pPr/>
              <a:t>‹#›</a:t>
            </a:fld>
            <a:endParaRPr lang="en-GB"/>
          </a:p>
        </p:txBody>
      </p:sp>
    </p:spTree>
    <p:extLst>
      <p:ext uri="{BB962C8B-B14F-4D97-AF65-F5344CB8AC3E}">
        <p14:creationId xmlns:p14="http://schemas.microsoft.com/office/powerpoint/2010/main" val="164805059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C29A80C0-65A9-BC7C-D22E-85EE44CC74A3}"/>
              </a:ext>
            </a:extLst>
          </p:cNvPr>
          <p:cNvSpPr>
            <a:spLocks noGrp="1"/>
          </p:cNvSpPr>
          <p:nvPr>
            <p:ph type="dt" sz="half" idx="10"/>
          </p:nvPr>
        </p:nvSpPr>
        <p:spPr/>
        <p:txBody>
          <a:bodyPr/>
          <a:lstStyle/>
          <a:p>
            <a:fld id="{973D4877-A18C-4E62-9946-F942ED83388C}" type="datetime1">
              <a:rPr lang="en-GB" smtClean="0"/>
              <a:t>31/07/2023</a:t>
            </a:fld>
            <a:endParaRPr lang="en-GB"/>
          </a:p>
        </p:txBody>
      </p:sp>
      <p:sp>
        <p:nvSpPr>
          <p:cNvPr id="6" name="Footer Placeholder 5">
            <a:extLst>
              <a:ext uri="{FF2B5EF4-FFF2-40B4-BE49-F238E27FC236}">
                <a16:creationId xmlns:a16="http://schemas.microsoft.com/office/drawing/2014/main" id="{6E9D7BD5-0C96-0A6E-631D-DD3B95D284DD}"/>
              </a:ext>
            </a:extLst>
          </p:cNvPr>
          <p:cNvSpPr>
            <a:spLocks noGrp="1"/>
          </p:cNvSpPr>
          <p:nvPr>
            <p:ph type="ftr" sz="quarter" idx="11"/>
          </p:nvPr>
        </p:nvSpPr>
        <p:spPr/>
        <p:txBody>
          <a:bodyPr/>
          <a:lstStyle/>
          <a:p>
            <a:r>
              <a:rPr lang="en-GB"/>
              <a:t>To add a Footer, select 'Insert &gt; Header &amp; Footer'</a:t>
            </a:r>
          </a:p>
        </p:txBody>
      </p:sp>
      <p:sp>
        <p:nvSpPr>
          <p:cNvPr id="7" name="Slide Number Placeholder 6">
            <a:extLst>
              <a:ext uri="{FF2B5EF4-FFF2-40B4-BE49-F238E27FC236}">
                <a16:creationId xmlns:a16="http://schemas.microsoft.com/office/drawing/2014/main" id="{02379D0F-B6EB-9705-927B-79B513BACF9E}"/>
              </a:ext>
            </a:extLst>
          </p:cNvPr>
          <p:cNvSpPr>
            <a:spLocks noGrp="1"/>
          </p:cNvSpPr>
          <p:nvPr>
            <p:ph type="sldNum" sz="quarter" idx="12"/>
          </p:nvPr>
        </p:nvSpPr>
        <p:spPr/>
        <p:txBody>
          <a:bodyPr/>
          <a:lstStyle/>
          <a:p>
            <a:r>
              <a:rPr lang="en-GB"/>
              <a:t>Page </a:t>
            </a:r>
            <a:fld id="{F5AEA0E0-5CC6-4BD0-905C-A0021E419432}" type="slidenum">
              <a:rPr lang="en-GB" smtClean="0"/>
              <a:pPr/>
              <a:t>‹#›</a:t>
            </a:fld>
            <a:endParaRPr lang="en-GB"/>
          </a:p>
        </p:txBody>
      </p:sp>
    </p:spTree>
    <p:extLst>
      <p:ext uri="{BB962C8B-B14F-4D97-AF65-F5344CB8AC3E}">
        <p14:creationId xmlns:p14="http://schemas.microsoft.com/office/powerpoint/2010/main" val="107715175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dark">
    <p:spTree>
      <p:nvGrpSpPr>
        <p:cNvPr id="1" name=""/>
        <p:cNvGrpSpPr/>
        <p:nvPr/>
      </p:nvGrpSpPr>
      <p:grpSpPr>
        <a:xfrm>
          <a:off x="0" y="0"/>
          <a:ext cx="0" cy="0"/>
          <a:chOff x="0" y="0"/>
          <a:chExt cx="0" cy="0"/>
        </a:xfrm>
      </p:grpSpPr>
      <p:sp>
        <p:nvSpPr>
          <p:cNvPr id="24" name="Subtitle 2">
            <a:extLst>
              <a:ext uri="{FF2B5EF4-FFF2-40B4-BE49-F238E27FC236}">
                <a16:creationId xmlns:a16="http://schemas.microsoft.com/office/drawing/2014/main" id="{6B334685-C921-7BF8-BD42-E66D7F73CDEC}"/>
              </a:ext>
            </a:extLst>
          </p:cNvPr>
          <p:cNvSpPr>
            <a:spLocks noGrp="1"/>
          </p:cNvSpPr>
          <p:nvPr>
            <p:ph type="subTitle" idx="1" hasCustomPrompt="1"/>
          </p:nvPr>
        </p:nvSpPr>
        <p:spPr>
          <a:xfrm>
            <a:off x="401607" y="869373"/>
            <a:ext cx="3794719" cy="2245000"/>
          </a:xfrm>
        </p:spPr>
        <p:txBody>
          <a:bodyPr/>
          <a:lstStyle>
            <a:lvl1pPr marL="0" indent="0" algn="l">
              <a:buNone/>
              <a:defRPr sz="2509" b="0">
                <a:solidFill>
                  <a:schemeClr val="accent6"/>
                </a:solidFill>
              </a:defRPr>
            </a:lvl1pPr>
            <a:lvl2pPr marL="0" indent="0" algn="l">
              <a:buNone/>
              <a:defRPr sz="1862" b="0">
                <a:solidFill>
                  <a:schemeClr val="accent6"/>
                </a:solidFill>
              </a:defRPr>
            </a:lvl2pPr>
            <a:lvl3pPr marL="0" indent="0" algn="l">
              <a:buNone/>
              <a:defRPr sz="1862" b="0">
                <a:solidFill>
                  <a:schemeClr val="accent6"/>
                </a:solidFill>
              </a:defRPr>
            </a:lvl3pPr>
            <a:lvl4pPr marL="0" indent="0" algn="l">
              <a:buNone/>
              <a:defRPr sz="1862" b="0">
                <a:solidFill>
                  <a:schemeClr val="accent6"/>
                </a:solidFill>
              </a:defRPr>
            </a:lvl4pPr>
            <a:lvl5pPr marL="0" indent="0" algn="l">
              <a:buNone/>
              <a:defRPr sz="1862" b="0">
                <a:solidFill>
                  <a:schemeClr val="accent6"/>
                </a:solidFill>
              </a:defRPr>
            </a:lvl5pPr>
            <a:lvl6pPr marL="0" indent="0" algn="l">
              <a:buNone/>
              <a:defRPr sz="1862" b="0">
                <a:solidFill>
                  <a:schemeClr val="accent6"/>
                </a:solidFill>
              </a:defRPr>
            </a:lvl6pPr>
            <a:lvl7pPr marL="0" indent="0" algn="l">
              <a:buNone/>
              <a:defRPr sz="1862" b="0">
                <a:solidFill>
                  <a:schemeClr val="accent6"/>
                </a:solidFill>
              </a:defRPr>
            </a:lvl7pPr>
            <a:lvl8pPr marL="0" indent="0" algn="l">
              <a:buNone/>
              <a:defRPr sz="1862" b="0">
                <a:solidFill>
                  <a:schemeClr val="accent6"/>
                </a:solidFill>
              </a:defRPr>
            </a:lvl8pPr>
            <a:lvl9pPr marL="0" indent="0" algn="l">
              <a:buNone/>
              <a:defRPr sz="1862" b="0">
                <a:solidFill>
                  <a:schemeClr val="accent6"/>
                </a:solidFill>
              </a:defRPr>
            </a:lvl9pPr>
          </a:lstStyle>
          <a:p>
            <a:r>
              <a:rPr lang="en-AU"/>
              <a:t>Title heading-first level</a:t>
            </a:r>
            <a:endParaRPr lang="en-GB"/>
          </a:p>
          <a:p>
            <a:pPr lvl="1"/>
            <a:r>
              <a:rPr lang="en-US"/>
              <a:t>Subheading-second level</a:t>
            </a:r>
            <a:endParaRPr lang="en-GB"/>
          </a:p>
        </p:txBody>
      </p:sp>
      <p:sp>
        <p:nvSpPr>
          <p:cNvPr id="6" name="Free-form: Shape 5">
            <a:extLst>
              <a:ext uri="{FF2B5EF4-FFF2-40B4-BE49-F238E27FC236}">
                <a16:creationId xmlns:a16="http://schemas.microsoft.com/office/drawing/2014/main" id="{61B08C00-0226-56F5-FDD7-5FA0EF3DB3D2}"/>
              </a:ext>
            </a:extLst>
          </p:cNvPr>
          <p:cNvSpPr/>
          <p:nvPr/>
        </p:nvSpPr>
        <p:spPr>
          <a:xfrm>
            <a:off x="3" y="3482560"/>
            <a:ext cx="7565036" cy="6224263"/>
          </a:xfrm>
          <a:custGeom>
            <a:avLst/>
            <a:gdLst>
              <a:gd name="connsiteX0" fmla="*/ 0 w 8820023"/>
              <a:gd name="connsiteY0" fmla="*/ 0 h 3990721"/>
              <a:gd name="connsiteX1" fmla="*/ 8820023 w 8820023"/>
              <a:gd name="connsiteY1" fmla="*/ 0 h 3990721"/>
              <a:gd name="connsiteX2" fmla="*/ 8820023 w 8820023"/>
              <a:gd name="connsiteY2" fmla="*/ 3990721 h 3990721"/>
              <a:gd name="connsiteX3" fmla="*/ 0 w 8820023"/>
              <a:gd name="connsiteY3" fmla="*/ 3990721 h 3990721"/>
            </a:gdLst>
            <a:ahLst/>
            <a:cxnLst>
              <a:cxn ang="0">
                <a:pos x="connsiteX0" y="connsiteY0"/>
              </a:cxn>
              <a:cxn ang="0">
                <a:pos x="connsiteX1" y="connsiteY1"/>
              </a:cxn>
              <a:cxn ang="0">
                <a:pos x="connsiteX2" y="connsiteY2"/>
              </a:cxn>
              <a:cxn ang="0">
                <a:pos x="connsiteX3" y="connsiteY3"/>
              </a:cxn>
            </a:cxnLst>
            <a:rect l="l" t="t" r="r" b="b"/>
            <a:pathLst>
              <a:path w="8820023" h="3990721">
                <a:moveTo>
                  <a:pt x="0" y="0"/>
                </a:moveTo>
                <a:lnTo>
                  <a:pt x="8820023" y="0"/>
                </a:lnTo>
                <a:lnTo>
                  <a:pt x="8820023" y="3990721"/>
                </a:lnTo>
                <a:lnTo>
                  <a:pt x="0" y="3990721"/>
                </a:lnTo>
                <a:close/>
              </a:path>
            </a:pathLst>
          </a:custGeom>
          <a:solidFill>
            <a:srgbClr val="53565A"/>
          </a:solidFill>
          <a:ln w="12695" cap="flat">
            <a:noFill/>
            <a:prstDash val="solid"/>
            <a:miter/>
          </a:ln>
        </p:spPr>
        <p:txBody>
          <a:bodyPr rtlCol="0" anchor="ctr"/>
          <a:lstStyle/>
          <a:p>
            <a:endParaRPr lang="en-AU" sz="1457">
              <a:solidFill>
                <a:schemeClr val="accent6"/>
              </a:solidFill>
            </a:endParaRPr>
          </a:p>
        </p:txBody>
      </p:sp>
      <p:sp>
        <p:nvSpPr>
          <p:cNvPr id="8" name="Free-form: Shape 7">
            <a:extLst>
              <a:ext uri="{FF2B5EF4-FFF2-40B4-BE49-F238E27FC236}">
                <a16:creationId xmlns:a16="http://schemas.microsoft.com/office/drawing/2014/main" id="{1F1CE9E1-B56A-8EC2-7642-3210B9EB7C8C}"/>
              </a:ext>
            </a:extLst>
          </p:cNvPr>
          <p:cNvSpPr/>
          <p:nvPr/>
        </p:nvSpPr>
        <p:spPr>
          <a:xfrm>
            <a:off x="3830870" y="1"/>
            <a:ext cx="2148943" cy="5175828"/>
          </a:xfrm>
          <a:custGeom>
            <a:avLst/>
            <a:gdLst>
              <a:gd name="connsiteX0" fmla="*/ 2599309 w 2599309"/>
              <a:gd name="connsiteY0" fmla="*/ 0 h 3319907"/>
              <a:gd name="connsiteX1" fmla="*/ 1567307 w 2599309"/>
              <a:gd name="connsiteY1" fmla="*/ 0 h 3319907"/>
              <a:gd name="connsiteX2" fmla="*/ 1161923 w 2599309"/>
              <a:gd name="connsiteY2" fmla="*/ 859155 h 3319907"/>
              <a:gd name="connsiteX3" fmla="*/ 1161161 w 2599309"/>
              <a:gd name="connsiteY3" fmla="*/ 859155 h 3319907"/>
              <a:gd name="connsiteX4" fmla="*/ 0 w 2599309"/>
              <a:gd name="connsiteY4" fmla="*/ 3319907 h 3319907"/>
              <a:gd name="connsiteX5" fmla="*/ 1023366 w 2599309"/>
              <a:gd name="connsiteY5" fmla="*/ 3319907 h 3319907"/>
              <a:gd name="connsiteX6" fmla="*/ 2194560 w 2599309"/>
              <a:gd name="connsiteY6" fmla="*/ 859155 h 3319907"/>
              <a:gd name="connsiteX7" fmla="*/ 2190369 w 2599309"/>
              <a:gd name="connsiteY7" fmla="*/ 859155 h 3319907"/>
              <a:gd name="connsiteX8" fmla="*/ 2599309 w 2599309"/>
              <a:gd name="connsiteY8" fmla="*/ 0 h 3319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99309" h="3319907">
                <a:moveTo>
                  <a:pt x="2599309" y="0"/>
                </a:moveTo>
                <a:lnTo>
                  <a:pt x="1567307" y="0"/>
                </a:lnTo>
                <a:lnTo>
                  <a:pt x="1161923" y="859155"/>
                </a:lnTo>
                <a:lnTo>
                  <a:pt x="1161161" y="859155"/>
                </a:lnTo>
                <a:lnTo>
                  <a:pt x="0" y="3319907"/>
                </a:lnTo>
                <a:lnTo>
                  <a:pt x="1023366" y="3319907"/>
                </a:lnTo>
                <a:lnTo>
                  <a:pt x="2194560" y="859155"/>
                </a:lnTo>
                <a:lnTo>
                  <a:pt x="2190369" y="859155"/>
                </a:lnTo>
                <a:lnTo>
                  <a:pt x="2599309" y="0"/>
                </a:lnTo>
                <a:close/>
              </a:path>
            </a:pathLst>
          </a:custGeom>
          <a:solidFill>
            <a:srgbClr val="CEDC00"/>
          </a:solidFill>
          <a:ln w="12695" cap="flat">
            <a:noFill/>
            <a:prstDash val="solid"/>
            <a:miter/>
          </a:ln>
        </p:spPr>
        <p:txBody>
          <a:bodyPr rtlCol="0" anchor="ctr"/>
          <a:lstStyle/>
          <a:p>
            <a:endParaRPr lang="en-AU" sz="1457">
              <a:solidFill>
                <a:schemeClr val="accent6"/>
              </a:solidFill>
            </a:endParaRPr>
          </a:p>
        </p:txBody>
      </p:sp>
      <p:sp>
        <p:nvSpPr>
          <p:cNvPr id="9" name="Free-form: Shape 8">
            <a:extLst>
              <a:ext uri="{FF2B5EF4-FFF2-40B4-BE49-F238E27FC236}">
                <a16:creationId xmlns:a16="http://schemas.microsoft.com/office/drawing/2014/main" id="{DCC001F1-4860-1CC5-8CBC-225BC0A9D236}"/>
              </a:ext>
            </a:extLst>
          </p:cNvPr>
          <p:cNvSpPr/>
          <p:nvPr/>
        </p:nvSpPr>
        <p:spPr>
          <a:xfrm>
            <a:off x="4254527" y="3482561"/>
            <a:ext cx="849728" cy="1693267"/>
          </a:xfrm>
          <a:custGeom>
            <a:avLst/>
            <a:gdLst>
              <a:gd name="connsiteX0" fmla="*/ 510921 w 1027810"/>
              <a:gd name="connsiteY0" fmla="*/ 1086104 h 1086104"/>
              <a:gd name="connsiteX1" fmla="*/ 1027811 w 1027810"/>
              <a:gd name="connsiteY1" fmla="*/ 0 h 1086104"/>
              <a:gd name="connsiteX2" fmla="*/ 0 w 1027810"/>
              <a:gd name="connsiteY2" fmla="*/ 0 h 1086104"/>
              <a:gd name="connsiteX3" fmla="*/ 510921 w 1027810"/>
              <a:gd name="connsiteY3" fmla="*/ 1086104 h 1086104"/>
            </a:gdLst>
            <a:ahLst/>
            <a:cxnLst>
              <a:cxn ang="0">
                <a:pos x="connsiteX0" y="connsiteY0"/>
              </a:cxn>
              <a:cxn ang="0">
                <a:pos x="connsiteX1" y="connsiteY1"/>
              </a:cxn>
              <a:cxn ang="0">
                <a:pos x="connsiteX2" y="connsiteY2"/>
              </a:cxn>
              <a:cxn ang="0">
                <a:pos x="connsiteX3" y="connsiteY3"/>
              </a:cxn>
            </a:cxnLst>
            <a:rect l="l" t="t" r="r" b="b"/>
            <a:pathLst>
              <a:path w="1027810" h="1086104">
                <a:moveTo>
                  <a:pt x="510921" y="1086104"/>
                </a:moveTo>
                <a:lnTo>
                  <a:pt x="1027811" y="0"/>
                </a:lnTo>
                <a:lnTo>
                  <a:pt x="0" y="0"/>
                </a:lnTo>
                <a:cubicBezTo>
                  <a:pt x="0" y="0"/>
                  <a:pt x="510921" y="1086104"/>
                  <a:pt x="510921" y="1086104"/>
                </a:cubicBezTo>
                <a:close/>
              </a:path>
            </a:pathLst>
          </a:custGeom>
          <a:solidFill>
            <a:srgbClr val="FFFFFF">
              <a:alpha val="30000"/>
            </a:srgbClr>
          </a:solidFill>
          <a:ln w="6350" cap="flat">
            <a:noFill/>
            <a:prstDash val="solid"/>
            <a:miter/>
          </a:ln>
        </p:spPr>
        <p:txBody>
          <a:bodyPr rtlCol="0" anchor="ctr"/>
          <a:lstStyle/>
          <a:p>
            <a:pPr lvl="0"/>
            <a:endParaRPr lang="en-AU" sz="1457">
              <a:solidFill>
                <a:schemeClr val="accent6"/>
              </a:solidFill>
            </a:endParaRPr>
          </a:p>
        </p:txBody>
      </p:sp>
      <p:sp>
        <p:nvSpPr>
          <p:cNvPr id="10" name="Free-form: Shape 9">
            <a:extLst>
              <a:ext uri="{FF2B5EF4-FFF2-40B4-BE49-F238E27FC236}">
                <a16:creationId xmlns:a16="http://schemas.microsoft.com/office/drawing/2014/main" id="{A5B08A13-0E33-5FD8-469F-81F11D14C908}"/>
              </a:ext>
            </a:extLst>
          </p:cNvPr>
          <p:cNvSpPr/>
          <p:nvPr/>
        </p:nvSpPr>
        <p:spPr>
          <a:xfrm>
            <a:off x="3408476" y="3482561"/>
            <a:ext cx="1268450" cy="1693267"/>
          </a:xfrm>
          <a:custGeom>
            <a:avLst/>
            <a:gdLst>
              <a:gd name="connsiteX0" fmla="*/ 1534287 w 1534287"/>
              <a:gd name="connsiteY0" fmla="*/ 1086104 h 1086104"/>
              <a:gd name="connsiteX1" fmla="*/ 1023366 w 1534287"/>
              <a:gd name="connsiteY1" fmla="*/ 0 h 1086104"/>
              <a:gd name="connsiteX2" fmla="*/ 0 w 1534287"/>
              <a:gd name="connsiteY2" fmla="*/ 0 h 1086104"/>
              <a:gd name="connsiteX3" fmla="*/ 510921 w 1534287"/>
              <a:gd name="connsiteY3" fmla="*/ 1086104 h 1086104"/>
              <a:gd name="connsiteX4" fmla="*/ 1534287 w 1534287"/>
              <a:gd name="connsiteY4" fmla="*/ 1086104 h 1086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4287" h="1086104">
                <a:moveTo>
                  <a:pt x="1534287" y="1086104"/>
                </a:moveTo>
                <a:lnTo>
                  <a:pt x="1023366" y="0"/>
                </a:lnTo>
                <a:lnTo>
                  <a:pt x="0" y="0"/>
                </a:lnTo>
                <a:cubicBezTo>
                  <a:pt x="0" y="0"/>
                  <a:pt x="510921" y="1086104"/>
                  <a:pt x="510921" y="1086104"/>
                </a:cubicBezTo>
                <a:lnTo>
                  <a:pt x="1534287" y="1086104"/>
                </a:lnTo>
                <a:close/>
              </a:path>
            </a:pathLst>
          </a:custGeom>
          <a:solidFill>
            <a:srgbClr val="FFFFFF">
              <a:alpha val="50000"/>
            </a:srgbClr>
          </a:solidFill>
          <a:ln w="6350" cap="flat">
            <a:noFill/>
            <a:prstDash val="solid"/>
            <a:miter/>
          </a:ln>
        </p:spPr>
        <p:txBody>
          <a:bodyPr rtlCol="0" anchor="ctr"/>
          <a:lstStyle/>
          <a:p>
            <a:pPr lvl="0"/>
            <a:endParaRPr lang="en-AU" sz="1457">
              <a:solidFill>
                <a:schemeClr val="accent6"/>
              </a:solidFill>
            </a:endParaRPr>
          </a:p>
        </p:txBody>
      </p:sp>
      <p:sp>
        <p:nvSpPr>
          <p:cNvPr id="16" name="Free-form: Shape 15">
            <a:extLst>
              <a:ext uri="{FF2B5EF4-FFF2-40B4-BE49-F238E27FC236}">
                <a16:creationId xmlns:a16="http://schemas.microsoft.com/office/drawing/2014/main" id="{E9193096-0970-2A9D-D1E9-19E1B557CC8D}"/>
              </a:ext>
            </a:extLst>
          </p:cNvPr>
          <p:cNvSpPr/>
          <p:nvPr/>
        </p:nvSpPr>
        <p:spPr>
          <a:xfrm>
            <a:off x="4584425" y="7549806"/>
            <a:ext cx="1774739" cy="2763834"/>
          </a:xfrm>
          <a:custGeom>
            <a:avLst/>
            <a:gdLst>
              <a:gd name="connsiteX0" fmla="*/ 841629 w 2146681"/>
              <a:gd name="connsiteY0" fmla="*/ 0 h 1772793"/>
              <a:gd name="connsiteX1" fmla="*/ 185674 w 2146681"/>
              <a:gd name="connsiteY1" fmla="*/ 1381887 h 1772793"/>
              <a:gd name="connsiteX2" fmla="*/ 185674 w 2146681"/>
              <a:gd name="connsiteY2" fmla="*/ 1381887 h 1772793"/>
              <a:gd name="connsiteX3" fmla="*/ 0 w 2146681"/>
              <a:gd name="connsiteY3" fmla="*/ 1772793 h 1772793"/>
              <a:gd name="connsiteX4" fmla="*/ 1305814 w 2146681"/>
              <a:gd name="connsiteY4" fmla="*/ 1772793 h 1772793"/>
              <a:gd name="connsiteX5" fmla="*/ 1491107 w 2146681"/>
              <a:gd name="connsiteY5" fmla="*/ 1381887 h 1772793"/>
              <a:gd name="connsiteX6" fmla="*/ 2146681 w 2146681"/>
              <a:gd name="connsiteY6" fmla="*/ 0 h 1772793"/>
              <a:gd name="connsiteX7" fmla="*/ 841629 w 2146681"/>
              <a:gd name="connsiteY7" fmla="*/ 0 h 1772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46681" h="1772793">
                <a:moveTo>
                  <a:pt x="841629" y="0"/>
                </a:moveTo>
                <a:lnTo>
                  <a:pt x="185674" y="1381887"/>
                </a:lnTo>
                <a:lnTo>
                  <a:pt x="185674" y="1381887"/>
                </a:lnTo>
                <a:lnTo>
                  <a:pt x="0" y="1772793"/>
                </a:lnTo>
                <a:lnTo>
                  <a:pt x="1305814" y="1772793"/>
                </a:lnTo>
                <a:lnTo>
                  <a:pt x="1491107" y="1381887"/>
                </a:lnTo>
                <a:lnTo>
                  <a:pt x="2146681" y="0"/>
                </a:lnTo>
                <a:lnTo>
                  <a:pt x="841629" y="0"/>
                </a:lnTo>
                <a:close/>
              </a:path>
            </a:pathLst>
          </a:custGeom>
          <a:solidFill>
            <a:srgbClr val="00B2A9"/>
          </a:solidFill>
          <a:ln w="12695" cap="flat">
            <a:noFill/>
            <a:prstDash val="solid"/>
            <a:miter/>
          </a:ln>
        </p:spPr>
        <p:txBody>
          <a:bodyPr rtlCol="0" anchor="ctr"/>
          <a:lstStyle/>
          <a:p>
            <a:endParaRPr lang="en-AU" sz="1457">
              <a:solidFill>
                <a:schemeClr val="accent6"/>
              </a:solidFill>
            </a:endParaRPr>
          </a:p>
        </p:txBody>
      </p:sp>
      <p:sp>
        <p:nvSpPr>
          <p:cNvPr id="17" name="Free-form: Shape 16">
            <a:extLst>
              <a:ext uri="{FF2B5EF4-FFF2-40B4-BE49-F238E27FC236}">
                <a16:creationId xmlns:a16="http://schemas.microsoft.com/office/drawing/2014/main" id="{F401E06B-775A-30BB-3913-21352C520CFE}"/>
              </a:ext>
            </a:extLst>
          </p:cNvPr>
          <p:cNvSpPr/>
          <p:nvPr/>
        </p:nvSpPr>
        <p:spPr>
          <a:xfrm>
            <a:off x="4737929" y="7549805"/>
            <a:ext cx="1079249" cy="2154399"/>
          </a:xfrm>
          <a:custGeom>
            <a:avLst/>
            <a:gdLst>
              <a:gd name="connsiteX0" fmla="*/ 655955 w 1305433"/>
              <a:gd name="connsiteY0" fmla="*/ 0 h 1381886"/>
              <a:gd name="connsiteX1" fmla="*/ 0 w 1305433"/>
              <a:gd name="connsiteY1" fmla="*/ 1381887 h 1381886"/>
              <a:gd name="connsiteX2" fmla="*/ 1305433 w 1305433"/>
              <a:gd name="connsiteY2" fmla="*/ 1381887 h 1381886"/>
              <a:gd name="connsiteX3" fmla="*/ 655955 w 1305433"/>
              <a:gd name="connsiteY3" fmla="*/ 0 h 1381886"/>
            </a:gdLst>
            <a:ahLst/>
            <a:cxnLst>
              <a:cxn ang="0">
                <a:pos x="connsiteX0" y="connsiteY0"/>
              </a:cxn>
              <a:cxn ang="0">
                <a:pos x="connsiteX1" y="connsiteY1"/>
              </a:cxn>
              <a:cxn ang="0">
                <a:pos x="connsiteX2" y="connsiteY2"/>
              </a:cxn>
              <a:cxn ang="0">
                <a:pos x="connsiteX3" y="connsiteY3"/>
              </a:cxn>
            </a:cxnLst>
            <a:rect l="l" t="t" r="r" b="b"/>
            <a:pathLst>
              <a:path w="1305433" h="1381886">
                <a:moveTo>
                  <a:pt x="655955" y="0"/>
                </a:moveTo>
                <a:lnTo>
                  <a:pt x="0" y="1381887"/>
                </a:lnTo>
                <a:lnTo>
                  <a:pt x="1305433" y="1381887"/>
                </a:lnTo>
                <a:lnTo>
                  <a:pt x="655955" y="0"/>
                </a:lnTo>
                <a:close/>
              </a:path>
            </a:pathLst>
          </a:custGeom>
          <a:solidFill>
            <a:srgbClr val="FFFFFF">
              <a:alpha val="30000"/>
            </a:srgbClr>
          </a:solidFill>
          <a:ln w="6350" cap="flat">
            <a:noFill/>
            <a:prstDash val="solid"/>
            <a:miter/>
          </a:ln>
        </p:spPr>
        <p:txBody>
          <a:bodyPr rtlCol="0" anchor="ctr"/>
          <a:lstStyle/>
          <a:p>
            <a:pPr lvl="0"/>
            <a:endParaRPr lang="en-AU" sz="1457">
              <a:solidFill>
                <a:schemeClr val="accent6"/>
              </a:solidFill>
            </a:endParaRPr>
          </a:p>
        </p:txBody>
      </p:sp>
      <p:sp>
        <p:nvSpPr>
          <p:cNvPr id="18" name="Free-form: Shape 17">
            <a:extLst>
              <a:ext uri="{FF2B5EF4-FFF2-40B4-BE49-F238E27FC236}">
                <a16:creationId xmlns:a16="http://schemas.microsoft.com/office/drawing/2014/main" id="{4A622ED0-B24F-3B6E-F173-57D708F0907F}"/>
              </a:ext>
            </a:extLst>
          </p:cNvPr>
          <p:cNvSpPr/>
          <p:nvPr/>
        </p:nvSpPr>
        <p:spPr>
          <a:xfrm>
            <a:off x="5280229" y="7549805"/>
            <a:ext cx="1615881" cy="2154399"/>
          </a:xfrm>
          <a:custGeom>
            <a:avLst/>
            <a:gdLst>
              <a:gd name="connsiteX0" fmla="*/ 0 w 1954530"/>
              <a:gd name="connsiteY0" fmla="*/ 0 h 1381886"/>
              <a:gd name="connsiteX1" fmla="*/ 649478 w 1954530"/>
              <a:gd name="connsiteY1" fmla="*/ 1381887 h 1381886"/>
              <a:gd name="connsiteX2" fmla="*/ 1954530 w 1954530"/>
              <a:gd name="connsiteY2" fmla="*/ 1381887 h 1381886"/>
              <a:gd name="connsiteX3" fmla="*/ 1305052 w 1954530"/>
              <a:gd name="connsiteY3" fmla="*/ 0 h 1381886"/>
              <a:gd name="connsiteX4" fmla="*/ 0 w 1954530"/>
              <a:gd name="connsiteY4" fmla="*/ 0 h 13818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4530" h="1381886">
                <a:moveTo>
                  <a:pt x="0" y="0"/>
                </a:moveTo>
                <a:lnTo>
                  <a:pt x="649478" y="1381887"/>
                </a:lnTo>
                <a:lnTo>
                  <a:pt x="1954530" y="1381887"/>
                </a:lnTo>
                <a:cubicBezTo>
                  <a:pt x="1954530" y="1381887"/>
                  <a:pt x="1305052" y="0"/>
                  <a:pt x="1305052" y="0"/>
                </a:cubicBezTo>
                <a:lnTo>
                  <a:pt x="0" y="0"/>
                </a:lnTo>
                <a:close/>
              </a:path>
            </a:pathLst>
          </a:custGeom>
          <a:solidFill>
            <a:srgbClr val="FFFFFF">
              <a:alpha val="50000"/>
            </a:srgbClr>
          </a:solidFill>
          <a:ln w="6350" cap="flat">
            <a:noFill/>
            <a:prstDash val="solid"/>
            <a:miter/>
          </a:ln>
        </p:spPr>
        <p:txBody>
          <a:bodyPr rtlCol="0" anchor="ctr"/>
          <a:lstStyle/>
          <a:p>
            <a:pPr lvl="0"/>
            <a:endParaRPr lang="en-AU" sz="1457">
              <a:solidFill>
                <a:schemeClr val="accent6"/>
              </a:solidFill>
            </a:endParaRPr>
          </a:p>
        </p:txBody>
      </p:sp>
      <p:sp>
        <p:nvSpPr>
          <p:cNvPr id="19" name="Free-form: Shape 18">
            <a:extLst>
              <a:ext uri="{FF2B5EF4-FFF2-40B4-BE49-F238E27FC236}">
                <a16:creationId xmlns:a16="http://schemas.microsoft.com/office/drawing/2014/main" id="{08AA25C4-22B1-CB03-84BA-7BD988A74B2E}"/>
              </a:ext>
            </a:extLst>
          </p:cNvPr>
          <p:cNvSpPr/>
          <p:nvPr/>
        </p:nvSpPr>
        <p:spPr>
          <a:xfrm>
            <a:off x="4489929" y="9704206"/>
            <a:ext cx="1327248" cy="987607"/>
          </a:xfrm>
          <a:custGeom>
            <a:avLst/>
            <a:gdLst>
              <a:gd name="connsiteX0" fmla="*/ 1605407 w 1605407"/>
              <a:gd name="connsiteY0" fmla="*/ 0 h 633476"/>
              <a:gd name="connsiteX1" fmla="*/ 299974 w 1605407"/>
              <a:gd name="connsiteY1" fmla="*/ 0 h 633476"/>
              <a:gd name="connsiteX2" fmla="*/ 114300 w 1605407"/>
              <a:gd name="connsiteY2" fmla="*/ 390906 h 633476"/>
              <a:gd name="connsiteX3" fmla="*/ 115189 w 1605407"/>
              <a:gd name="connsiteY3" fmla="*/ 390906 h 633476"/>
              <a:gd name="connsiteX4" fmla="*/ 0 w 1605407"/>
              <a:gd name="connsiteY4" fmla="*/ 633476 h 633476"/>
              <a:gd name="connsiteX5" fmla="*/ 1305814 w 1605407"/>
              <a:gd name="connsiteY5" fmla="*/ 633476 h 633476"/>
              <a:gd name="connsiteX6" fmla="*/ 1490472 w 1605407"/>
              <a:gd name="connsiteY6" fmla="*/ 243713 h 633476"/>
              <a:gd name="connsiteX7" fmla="*/ 1489837 w 1605407"/>
              <a:gd name="connsiteY7" fmla="*/ 243713 h 633476"/>
              <a:gd name="connsiteX8" fmla="*/ 1605407 w 1605407"/>
              <a:gd name="connsiteY8" fmla="*/ 0 h 633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05407" h="633476">
                <a:moveTo>
                  <a:pt x="1605407" y="0"/>
                </a:moveTo>
                <a:lnTo>
                  <a:pt x="299974" y="0"/>
                </a:lnTo>
                <a:lnTo>
                  <a:pt x="114300" y="390906"/>
                </a:lnTo>
                <a:lnTo>
                  <a:pt x="115189" y="390906"/>
                </a:lnTo>
                <a:lnTo>
                  <a:pt x="0" y="633476"/>
                </a:lnTo>
                <a:lnTo>
                  <a:pt x="1305814" y="633476"/>
                </a:lnTo>
                <a:lnTo>
                  <a:pt x="1490472" y="243713"/>
                </a:lnTo>
                <a:lnTo>
                  <a:pt x="1489837" y="243713"/>
                </a:lnTo>
                <a:lnTo>
                  <a:pt x="1605407" y="0"/>
                </a:lnTo>
                <a:close/>
              </a:path>
            </a:pathLst>
          </a:custGeom>
          <a:solidFill>
            <a:srgbClr val="00B2A9"/>
          </a:solidFill>
          <a:ln w="12695" cap="flat">
            <a:noFill/>
            <a:prstDash val="solid"/>
            <a:miter/>
          </a:ln>
        </p:spPr>
        <p:txBody>
          <a:bodyPr rtlCol="0" anchor="ctr"/>
          <a:lstStyle/>
          <a:p>
            <a:endParaRPr lang="en-AU" sz="1457">
              <a:solidFill>
                <a:schemeClr val="accent6"/>
              </a:solidFill>
            </a:endParaRPr>
          </a:p>
        </p:txBody>
      </p:sp>
      <p:pic>
        <p:nvPicPr>
          <p:cNvPr id="20" name="Graphic 19">
            <a:extLst>
              <a:ext uri="{FF2B5EF4-FFF2-40B4-BE49-F238E27FC236}">
                <a16:creationId xmlns:a16="http://schemas.microsoft.com/office/drawing/2014/main" id="{71028729-A80B-CFBD-7F6F-30AE3409850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873550" y="1410571"/>
            <a:ext cx="1386890" cy="803256"/>
          </a:xfrm>
          <a:prstGeom prst="rect">
            <a:avLst/>
          </a:prstGeom>
        </p:spPr>
      </p:pic>
      <p:sp>
        <p:nvSpPr>
          <p:cNvPr id="23" name="Footer Placeholder 22">
            <a:extLst>
              <a:ext uri="{FF2B5EF4-FFF2-40B4-BE49-F238E27FC236}">
                <a16:creationId xmlns:a16="http://schemas.microsoft.com/office/drawing/2014/main" id="{033E79D6-E595-ECEE-10ED-A5E97240EFF9}"/>
              </a:ext>
            </a:extLst>
          </p:cNvPr>
          <p:cNvSpPr>
            <a:spLocks noGrp="1"/>
          </p:cNvSpPr>
          <p:nvPr>
            <p:ph type="ftr" sz="quarter" idx="11"/>
          </p:nvPr>
        </p:nvSpPr>
        <p:spPr/>
        <p:txBody>
          <a:bodyPr/>
          <a:lstStyle>
            <a:lvl1pPr>
              <a:defRPr>
                <a:solidFill>
                  <a:schemeClr val="accent6"/>
                </a:solidFill>
              </a:defRPr>
            </a:lvl1pPr>
          </a:lstStyle>
          <a:p>
            <a:r>
              <a:rPr lang="en-GB"/>
              <a:t>To add a Footer, select 'Insert &gt; Header &amp; Footer'</a:t>
            </a:r>
          </a:p>
        </p:txBody>
      </p:sp>
      <p:sp>
        <p:nvSpPr>
          <p:cNvPr id="25" name="Slide Number Placeholder 24">
            <a:extLst>
              <a:ext uri="{FF2B5EF4-FFF2-40B4-BE49-F238E27FC236}">
                <a16:creationId xmlns:a16="http://schemas.microsoft.com/office/drawing/2014/main" id="{EB24A637-B2FA-CB5F-8581-6598E9C59D96}"/>
              </a:ext>
            </a:extLst>
          </p:cNvPr>
          <p:cNvSpPr>
            <a:spLocks noGrp="1"/>
          </p:cNvSpPr>
          <p:nvPr>
            <p:ph type="sldNum" sz="quarter" idx="12"/>
          </p:nvPr>
        </p:nvSpPr>
        <p:spPr/>
        <p:txBody>
          <a:bodyPr/>
          <a:lstStyle>
            <a:lvl1pPr>
              <a:defRPr>
                <a:solidFill>
                  <a:schemeClr val="accent6"/>
                </a:solidFill>
              </a:defRPr>
            </a:lvl1pPr>
          </a:lstStyle>
          <a:p>
            <a:r>
              <a:rPr lang="en-GB"/>
              <a:t>Page </a:t>
            </a:r>
            <a:fld id="{F5AEA0E0-5CC6-4BD0-905C-A0021E419432}" type="slidenum">
              <a:rPr lang="en-GB" smtClean="0"/>
              <a:pPr/>
              <a:t>‹#›</a:t>
            </a:fld>
            <a:endParaRPr lang="en-GB"/>
          </a:p>
        </p:txBody>
      </p:sp>
      <p:cxnSp>
        <p:nvCxnSpPr>
          <p:cNvPr id="27" name="Straight Connector 26">
            <a:extLst>
              <a:ext uri="{FF2B5EF4-FFF2-40B4-BE49-F238E27FC236}">
                <a16:creationId xmlns:a16="http://schemas.microsoft.com/office/drawing/2014/main" id="{6F0F89C6-5D9B-55DA-9539-83F396DFFBA1}"/>
              </a:ext>
            </a:extLst>
          </p:cNvPr>
          <p:cNvCxnSpPr/>
          <p:nvPr userDrawn="1"/>
        </p:nvCxnSpPr>
        <p:spPr>
          <a:xfrm>
            <a:off x="6803250" y="10078027"/>
            <a:ext cx="0" cy="242545"/>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9641014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image">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A13DD76C-B0DF-5844-46E8-ACA7008494DC}"/>
              </a:ext>
            </a:extLst>
          </p:cNvPr>
          <p:cNvSpPr/>
          <p:nvPr userDrawn="1"/>
        </p:nvSpPr>
        <p:spPr>
          <a:xfrm>
            <a:off x="3830870" y="1"/>
            <a:ext cx="2148943" cy="5175828"/>
          </a:xfrm>
          <a:custGeom>
            <a:avLst/>
            <a:gdLst>
              <a:gd name="connsiteX0" fmla="*/ 2599309 w 2599309"/>
              <a:gd name="connsiteY0" fmla="*/ 0 h 3319907"/>
              <a:gd name="connsiteX1" fmla="*/ 1567307 w 2599309"/>
              <a:gd name="connsiteY1" fmla="*/ 0 h 3319907"/>
              <a:gd name="connsiteX2" fmla="*/ 1161923 w 2599309"/>
              <a:gd name="connsiteY2" fmla="*/ 859155 h 3319907"/>
              <a:gd name="connsiteX3" fmla="*/ 1161161 w 2599309"/>
              <a:gd name="connsiteY3" fmla="*/ 859155 h 3319907"/>
              <a:gd name="connsiteX4" fmla="*/ 0 w 2599309"/>
              <a:gd name="connsiteY4" fmla="*/ 3319907 h 3319907"/>
              <a:gd name="connsiteX5" fmla="*/ 1023366 w 2599309"/>
              <a:gd name="connsiteY5" fmla="*/ 3319907 h 3319907"/>
              <a:gd name="connsiteX6" fmla="*/ 2194560 w 2599309"/>
              <a:gd name="connsiteY6" fmla="*/ 859155 h 3319907"/>
              <a:gd name="connsiteX7" fmla="*/ 2190369 w 2599309"/>
              <a:gd name="connsiteY7" fmla="*/ 859155 h 3319907"/>
              <a:gd name="connsiteX8" fmla="*/ 2599309 w 2599309"/>
              <a:gd name="connsiteY8" fmla="*/ 0 h 3319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99309" h="3319907">
                <a:moveTo>
                  <a:pt x="2599309" y="0"/>
                </a:moveTo>
                <a:lnTo>
                  <a:pt x="1567307" y="0"/>
                </a:lnTo>
                <a:lnTo>
                  <a:pt x="1161923" y="859155"/>
                </a:lnTo>
                <a:lnTo>
                  <a:pt x="1161161" y="859155"/>
                </a:lnTo>
                <a:lnTo>
                  <a:pt x="0" y="3319907"/>
                </a:lnTo>
                <a:lnTo>
                  <a:pt x="1023366" y="3319907"/>
                </a:lnTo>
                <a:lnTo>
                  <a:pt x="2194560" y="859155"/>
                </a:lnTo>
                <a:lnTo>
                  <a:pt x="2190369" y="859155"/>
                </a:lnTo>
                <a:lnTo>
                  <a:pt x="2599309" y="0"/>
                </a:lnTo>
                <a:close/>
              </a:path>
            </a:pathLst>
          </a:custGeom>
          <a:solidFill>
            <a:srgbClr val="CEDC00"/>
          </a:solidFill>
          <a:ln w="12695" cap="flat">
            <a:noFill/>
            <a:prstDash val="solid"/>
            <a:miter/>
          </a:ln>
        </p:spPr>
        <p:txBody>
          <a:bodyPr rtlCol="0" anchor="ctr"/>
          <a:lstStyle/>
          <a:p>
            <a:endParaRPr lang="en-AU" sz="1457"/>
          </a:p>
        </p:txBody>
      </p:sp>
      <p:sp>
        <p:nvSpPr>
          <p:cNvPr id="38" name="Free-form: Shape 37">
            <a:extLst>
              <a:ext uri="{FF2B5EF4-FFF2-40B4-BE49-F238E27FC236}">
                <a16:creationId xmlns:a16="http://schemas.microsoft.com/office/drawing/2014/main" id="{2DCABD5A-B67F-F174-BA18-01F969DC1B68}"/>
              </a:ext>
            </a:extLst>
          </p:cNvPr>
          <p:cNvSpPr/>
          <p:nvPr/>
        </p:nvSpPr>
        <p:spPr>
          <a:xfrm>
            <a:off x="3403936" y="3482562"/>
            <a:ext cx="4155738" cy="6224264"/>
          </a:xfrm>
          <a:custGeom>
            <a:avLst/>
            <a:gdLst>
              <a:gd name="connsiteX0" fmla="*/ 0 w 5026680"/>
              <a:gd name="connsiteY0" fmla="*/ 0 h 3992401"/>
              <a:gd name="connsiteX1" fmla="*/ 5026680 w 5026680"/>
              <a:gd name="connsiteY1" fmla="*/ 0 h 3992401"/>
              <a:gd name="connsiteX2" fmla="*/ 5026680 w 5026680"/>
              <a:gd name="connsiteY2" fmla="*/ 3992401 h 3992401"/>
              <a:gd name="connsiteX3" fmla="*/ 2920561 w 5026680"/>
              <a:gd name="connsiteY3" fmla="*/ 3992401 h 3992401"/>
              <a:gd name="connsiteX4" fmla="*/ 1025695 w 5026680"/>
              <a:gd name="connsiteY4" fmla="*/ 10950 h 3992401"/>
              <a:gd name="connsiteX5" fmla="*/ 4897 w 5026680"/>
              <a:gd name="connsiteY5" fmla="*/ 10820 h 3992401"/>
              <a:gd name="connsiteX6" fmla="*/ 0 w 5026680"/>
              <a:gd name="connsiteY6" fmla="*/ 0 h 3992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26680" h="3992401">
                <a:moveTo>
                  <a:pt x="0" y="0"/>
                </a:moveTo>
                <a:lnTo>
                  <a:pt x="5026680" y="0"/>
                </a:lnTo>
                <a:lnTo>
                  <a:pt x="5026680" y="3992401"/>
                </a:lnTo>
                <a:lnTo>
                  <a:pt x="2920561" y="3992401"/>
                </a:lnTo>
                <a:lnTo>
                  <a:pt x="1025695" y="10950"/>
                </a:lnTo>
                <a:lnTo>
                  <a:pt x="4897" y="10820"/>
                </a:lnTo>
                <a:lnTo>
                  <a:pt x="0" y="0"/>
                </a:lnTo>
                <a:close/>
              </a:path>
            </a:pathLst>
          </a:custGeom>
          <a:solidFill>
            <a:schemeClr val="bg2"/>
          </a:solidFill>
          <a:ln w="4757" cap="flat">
            <a:noFill/>
            <a:prstDash val="solid"/>
            <a:miter/>
          </a:ln>
        </p:spPr>
        <p:txBody>
          <a:bodyPr rtlCol="0" anchor="ctr"/>
          <a:lstStyle/>
          <a:p>
            <a:endParaRPr lang="en-AU" sz="1457"/>
          </a:p>
        </p:txBody>
      </p:sp>
      <p:sp>
        <p:nvSpPr>
          <p:cNvPr id="40" name="Picture Placeholder 39">
            <a:extLst>
              <a:ext uri="{FF2B5EF4-FFF2-40B4-BE49-F238E27FC236}">
                <a16:creationId xmlns:a16="http://schemas.microsoft.com/office/drawing/2014/main" id="{5B925039-3386-9DB3-1F58-4C26FF278362}"/>
              </a:ext>
            </a:extLst>
          </p:cNvPr>
          <p:cNvSpPr>
            <a:spLocks noGrp="1" noChangeAspect="1"/>
          </p:cNvSpPr>
          <p:nvPr>
            <p:ph type="pic" sz="quarter" idx="14" hasCustomPrompt="1"/>
          </p:nvPr>
        </p:nvSpPr>
        <p:spPr>
          <a:xfrm>
            <a:off x="3" y="3482560"/>
            <a:ext cx="5822424" cy="6223888"/>
          </a:xfrm>
          <a:custGeom>
            <a:avLst/>
            <a:gdLst>
              <a:gd name="connsiteX0" fmla="*/ 0 w 7042663"/>
              <a:gd name="connsiteY0" fmla="*/ 0 h 3992160"/>
              <a:gd name="connsiteX1" fmla="*/ 5143014 w 7042663"/>
              <a:gd name="connsiteY1" fmla="*/ 658 h 3992160"/>
              <a:gd name="connsiteX2" fmla="*/ 7042663 w 7042663"/>
              <a:gd name="connsiteY2" fmla="*/ 3992160 h 3992160"/>
              <a:gd name="connsiteX3" fmla="*/ 0 w 7042663"/>
              <a:gd name="connsiteY3" fmla="*/ 3992160 h 3992160"/>
            </a:gdLst>
            <a:ahLst/>
            <a:cxnLst>
              <a:cxn ang="0">
                <a:pos x="connsiteX0" y="connsiteY0"/>
              </a:cxn>
              <a:cxn ang="0">
                <a:pos x="connsiteX1" y="connsiteY1"/>
              </a:cxn>
              <a:cxn ang="0">
                <a:pos x="connsiteX2" y="connsiteY2"/>
              </a:cxn>
              <a:cxn ang="0">
                <a:pos x="connsiteX3" y="connsiteY3"/>
              </a:cxn>
            </a:cxnLst>
            <a:rect l="l" t="t" r="r" b="b"/>
            <a:pathLst>
              <a:path w="7042663" h="3992160">
                <a:moveTo>
                  <a:pt x="0" y="0"/>
                </a:moveTo>
                <a:lnTo>
                  <a:pt x="5143014" y="658"/>
                </a:lnTo>
                <a:lnTo>
                  <a:pt x="7042663" y="3992160"/>
                </a:lnTo>
                <a:lnTo>
                  <a:pt x="0" y="3992160"/>
                </a:lnTo>
                <a:close/>
              </a:path>
            </a:pathLst>
          </a:custGeom>
          <a:solidFill>
            <a:schemeClr val="bg1">
              <a:lumMod val="75000"/>
            </a:schemeClr>
          </a:solidFill>
        </p:spPr>
        <p:txBody>
          <a:bodyPr wrap="square" lIns="504000" tIns="288000" rIns="3600000" bIns="360000" anchor="t" anchorCtr="0">
            <a:noAutofit/>
          </a:bodyPr>
          <a:lstStyle>
            <a:lvl1pPr algn="l">
              <a:defRPr sz="1133" b="0">
                <a:solidFill>
                  <a:schemeClr val="bg1"/>
                </a:solidFill>
                <a:latin typeface="+mj-lt"/>
                <a:ea typeface="Roboto" panose="02000000000000000000" pitchFamily="2" charset="0"/>
              </a:defRPr>
            </a:lvl1pPr>
            <a:lvl2pPr algn="ctr">
              <a:defRPr b="0">
                <a:solidFill>
                  <a:schemeClr val="accent2"/>
                </a:solidFill>
                <a:latin typeface="Roboto" panose="02000000000000000000" pitchFamily="2" charset="0"/>
                <a:ea typeface="Roboto" panose="02000000000000000000" pitchFamily="2" charset="0"/>
              </a:defRPr>
            </a:lvl2pPr>
          </a:lstStyle>
          <a:p>
            <a:r>
              <a:rPr lang="en-AU"/>
              <a:t>To insert an image, select ‘Insert Picture’, or click on icon. Select ‘Picture Format &gt; Crop’ to edit size and position of picture.</a:t>
            </a:r>
          </a:p>
        </p:txBody>
      </p:sp>
      <p:sp>
        <p:nvSpPr>
          <p:cNvPr id="24" name="Subtitle 2">
            <a:extLst>
              <a:ext uri="{FF2B5EF4-FFF2-40B4-BE49-F238E27FC236}">
                <a16:creationId xmlns:a16="http://schemas.microsoft.com/office/drawing/2014/main" id="{6B334685-C921-7BF8-BD42-E66D7F73CDEC}"/>
              </a:ext>
            </a:extLst>
          </p:cNvPr>
          <p:cNvSpPr>
            <a:spLocks noGrp="1"/>
          </p:cNvSpPr>
          <p:nvPr>
            <p:ph type="subTitle" idx="1" hasCustomPrompt="1"/>
          </p:nvPr>
        </p:nvSpPr>
        <p:spPr>
          <a:xfrm>
            <a:off x="401607" y="869373"/>
            <a:ext cx="3794719" cy="2245000"/>
          </a:xfrm>
        </p:spPr>
        <p:txBody>
          <a:bodyPr/>
          <a:lstStyle>
            <a:lvl1pPr marL="0" indent="0" algn="l">
              <a:buNone/>
              <a:defRPr sz="2509" b="0">
                <a:solidFill>
                  <a:schemeClr val="accent6"/>
                </a:solidFill>
              </a:defRPr>
            </a:lvl1pPr>
            <a:lvl2pPr marL="0" indent="0" algn="l">
              <a:buNone/>
              <a:defRPr sz="1862" b="0">
                <a:solidFill>
                  <a:schemeClr val="accent6"/>
                </a:solidFill>
              </a:defRPr>
            </a:lvl2pPr>
            <a:lvl3pPr marL="0" indent="0" algn="l">
              <a:buNone/>
              <a:defRPr sz="1862" b="0">
                <a:solidFill>
                  <a:schemeClr val="accent6"/>
                </a:solidFill>
              </a:defRPr>
            </a:lvl3pPr>
            <a:lvl4pPr marL="0" indent="0" algn="l">
              <a:buNone/>
              <a:defRPr sz="1862" b="0">
                <a:solidFill>
                  <a:schemeClr val="accent6"/>
                </a:solidFill>
              </a:defRPr>
            </a:lvl4pPr>
            <a:lvl5pPr marL="0" indent="0" algn="l">
              <a:buNone/>
              <a:defRPr sz="1862" b="0">
                <a:solidFill>
                  <a:schemeClr val="accent6"/>
                </a:solidFill>
              </a:defRPr>
            </a:lvl5pPr>
            <a:lvl6pPr marL="0" indent="0" algn="l">
              <a:buNone/>
              <a:defRPr sz="1862" b="0">
                <a:solidFill>
                  <a:schemeClr val="accent6"/>
                </a:solidFill>
              </a:defRPr>
            </a:lvl6pPr>
            <a:lvl7pPr marL="0" indent="0" algn="l">
              <a:buNone/>
              <a:defRPr sz="1862" b="0">
                <a:solidFill>
                  <a:schemeClr val="accent6"/>
                </a:solidFill>
              </a:defRPr>
            </a:lvl7pPr>
            <a:lvl8pPr marL="0" indent="0" algn="l">
              <a:buNone/>
              <a:defRPr sz="1862" b="0">
                <a:solidFill>
                  <a:schemeClr val="accent6"/>
                </a:solidFill>
              </a:defRPr>
            </a:lvl8pPr>
            <a:lvl9pPr marL="0" indent="0" algn="l">
              <a:buNone/>
              <a:defRPr sz="1862" b="0">
                <a:solidFill>
                  <a:schemeClr val="accent6"/>
                </a:solidFill>
              </a:defRPr>
            </a:lvl9pPr>
          </a:lstStyle>
          <a:p>
            <a:r>
              <a:rPr lang="en-AU"/>
              <a:t>Title heading-first level</a:t>
            </a:r>
            <a:endParaRPr lang="en-GB"/>
          </a:p>
          <a:p>
            <a:pPr lvl="1"/>
            <a:r>
              <a:rPr lang="en-US"/>
              <a:t>Subheading-second level</a:t>
            </a:r>
            <a:endParaRPr lang="en-GB"/>
          </a:p>
        </p:txBody>
      </p:sp>
      <p:cxnSp>
        <p:nvCxnSpPr>
          <p:cNvPr id="2" name="Straight Connector 1">
            <a:extLst>
              <a:ext uri="{FF2B5EF4-FFF2-40B4-BE49-F238E27FC236}">
                <a16:creationId xmlns:a16="http://schemas.microsoft.com/office/drawing/2014/main" id="{28BBBDA6-519A-05D0-4F6B-24B47AD172E0}"/>
              </a:ext>
            </a:extLst>
          </p:cNvPr>
          <p:cNvCxnSpPr/>
          <p:nvPr userDrawn="1"/>
        </p:nvCxnSpPr>
        <p:spPr>
          <a:xfrm>
            <a:off x="6803250" y="10078027"/>
            <a:ext cx="0" cy="242545"/>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Free-form: Shape 14">
            <a:extLst>
              <a:ext uri="{FF2B5EF4-FFF2-40B4-BE49-F238E27FC236}">
                <a16:creationId xmlns:a16="http://schemas.microsoft.com/office/drawing/2014/main" id="{8CF85D78-FC0B-F4EA-1EF4-C857106FD948}"/>
              </a:ext>
            </a:extLst>
          </p:cNvPr>
          <p:cNvSpPr/>
          <p:nvPr userDrawn="1"/>
        </p:nvSpPr>
        <p:spPr>
          <a:xfrm>
            <a:off x="4489929" y="9704206"/>
            <a:ext cx="1327248" cy="987607"/>
          </a:xfrm>
          <a:custGeom>
            <a:avLst/>
            <a:gdLst>
              <a:gd name="connsiteX0" fmla="*/ 1605407 w 1605407"/>
              <a:gd name="connsiteY0" fmla="*/ 0 h 633476"/>
              <a:gd name="connsiteX1" fmla="*/ 299974 w 1605407"/>
              <a:gd name="connsiteY1" fmla="*/ 0 h 633476"/>
              <a:gd name="connsiteX2" fmla="*/ 114300 w 1605407"/>
              <a:gd name="connsiteY2" fmla="*/ 390906 h 633476"/>
              <a:gd name="connsiteX3" fmla="*/ 115189 w 1605407"/>
              <a:gd name="connsiteY3" fmla="*/ 390906 h 633476"/>
              <a:gd name="connsiteX4" fmla="*/ 0 w 1605407"/>
              <a:gd name="connsiteY4" fmla="*/ 633476 h 633476"/>
              <a:gd name="connsiteX5" fmla="*/ 1305814 w 1605407"/>
              <a:gd name="connsiteY5" fmla="*/ 633476 h 633476"/>
              <a:gd name="connsiteX6" fmla="*/ 1490472 w 1605407"/>
              <a:gd name="connsiteY6" fmla="*/ 243713 h 633476"/>
              <a:gd name="connsiteX7" fmla="*/ 1489837 w 1605407"/>
              <a:gd name="connsiteY7" fmla="*/ 243713 h 633476"/>
              <a:gd name="connsiteX8" fmla="*/ 1605407 w 1605407"/>
              <a:gd name="connsiteY8" fmla="*/ 0 h 633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05407" h="633476">
                <a:moveTo>
                  <a:pt x="1605407" y="0"/>
                </a:moveTo>
                <a:lnTo>
                  <a:pt x="299974" y="0"/>
                </a:lnTo>
                <a:lnTo>
                  <a:pt x="114300" y="390906"/>
                </a:lnTo>
                <a:lnTo>
                  <a:pt x="115189" y="390906"/>
                </a:lnTo>
                <a:lnTo>
                  <a:pt x="0" y="633476"/>
                </a:lnTo>
                <a:lnTo>
                  <a:pt x="1305814" y="633476"/>
                </a:lnTo>
                <a:lnTo>
                  <a:pt x="1490472" y="243713"/>
                </a:lnTo>
                <a:lnTo>
                  <a:pt x="1489837" y="243713"/>
                </a:lnTo>
                <a:lnTo>
                  <a:pt x="1605407" y="0"/>
                </a:lnTo>
                <a:close/>
              </a:path>
            </a:pathLst>
          </a:custGeom>
          <a:solidFill>
            <a:srgbClr val="00B2A9"/>
          </a:solidFill>
          <a:ln w="12695" cap="flat">
            <a:noFill/>
            <a:prstDash val="solid"/>
            <a:miter/>
          </a:ln>
        </p:spPr>
        <p:txBody>
          <a:bodyPr rtlCol="0" anchor="ctr"/>
          <a:lstStyle/>
          <a:p>
            <a:endParaRPr lang="en-AU" sz="1457"/>
          </a:p>
        </p:txBody>
      </p:sp>
      <p:pic>
        <p:nvPicPr>
          <p:cNvPr id="16" name="Graphic 15">
            <a:extLst>
              <a:ext uri="{FF2B5EF4-FFF2-40B4-BE49-F238E27FC236}">
                <a16:creationId xmlns:a16="http://schemas.microsoft.com/office/drawing/2014/main" id="{EF67C86E-C469-E935-8F6B-B956C4B551E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873550" y="1410571"/>
            <a:ext cx="1386890" cy="803256"/>
          </a:xfrm>
          <a:prstGeom prst="rect">
            <a:avLst/>
          </a:prstGeom>
        </p:spPr>
      </p:pic>
      <p:sp>
        <p:nvSpPr>
          <p:cNvPr id="17" name="Text Placeholder 16">
            <a:extLst>
              <a:ext uri="{FF2B5EF4-FFF2-40B4-BE49-F238E27FC236}">
                <a16:creationId xmlns:a16="http://schemas.microsoft.com/office/drawing/2014/main" id="{FD4EB4A5-D3CA-B552-1419-ADCF6DC9E32A}"/>
              </a:ext>
            </a:extLst>
          </p:cNvPr>
          <p:cNvSpPr>
            <a:spLocks noGrp="1" noChangeAspect="1"/>
          </p:cNvSpPr>
          <p:nvPr>
            <p:ph type="body" sz="quarter" idx="25"/>
          </p:nvPr>
        </p:nvSpPr>
        <p:spPr>
          <a:xfrm>
            <a:off x="4737929" y="7549807"/>
            <a:ext cx="1079249" cy="2154400"/>
          </a:xfrm>
          <a:custGeom>
            <a:avLst/>
            <a:gdLst>
              <a:gd name="connsiteX0" fmla="*/ 655955 w 1305433"/>
              <a:gd name="connsiteY0" fmla="*/ 0 h 1381887"/>
              <a:gd name="connsiteX1" fmla="*/ 1305433 w 1305433"/>
              <a:gd name="connsiteY1" fmla="*/ 1381887 h 1381887"/>
              <a:gd name="connsiteX2" fmla="*/ 0 w 1305433"/>
              <a:gd name="connsiteY2" fmla="*/ 1381887 h 1381887"/>
            </a:gdLst>
            <a:ahLst/>
            <a:cxnLst>
              <a:cxn ang="0">
                <a:pos x="connsiteX0" y="connsiteY0"/>
              </a:cxn>
              <a:cxn ang="0">
                <a:pos x="connsiteX1" y="connsiteY1"/>
              </a:cxn>
              <a:cxn ang="0">
                <a:pos x="connsiteX2" y="connsiteY2"/>
              </a:cxn>
            </a:cxnLst>
            <a:rect l="l" t="t" r="r" b="b"/>
            <a:pathLst>
              <a:path w="1305433" h="1381887">
                <a:moveTo>
                  <a:pt x="655955" y="0"/>
                </a:moveTo>
                <a:lnTo>
                  <a:pt x="1305433" y="1381887"/>
                </a:lnTo>
                <a:lnTo>
                  <a:pt x="0" y="1381887"/>
                </a:lnTo>
                <a:close/>
              </a:path>
            </a:pathLst>
          </a:custGeom>
          <a:solidFill>
            <a:schemeClr val="tx2">
              <a:alpha val="66000"/>
            </a:schemeClr>
          </a:solidFill>
        </p:spPr>
        <p:txBody>
          <a:bodyPr wrap="square">
            <a:noAutofit/>
          </a:bodyPr>
          <a:lstStyle>
            <a:lvl1pPr>
              <a:spcBef>
                <a:spcPts val="0"/>
              </a:spcBef>
              <a:defRPr sz="324">
                <a:noFill/>
              </a:defRPr>
            </a:lvl1pPr>
            <a:lvl2pPr marL="0" indent="0">
              <a:spcBef>
                <a:spcPts val="0"/>
              </a:spcBef>
              <a:buNone/>
              <a:defRPr sz="324">
                <a:noFill/>
              </a:defRPr>
            </a:lvl2pPr>
            <a:lvl3pPr marL="0" indent="0">
              <a:spcBef>
                <a:spcPts val="0"/>
              </a:spcBef>
              <a:buNone/>
              <a:defRPr sz="324">
                <a:noFill/>
              </a:defRPr>
            </a:lvl3pPr>
            <a:lvl4pPr>
              <a:spcBef>
                <a:spcPts val="0"/>
              </a:spcBef>
              <a:defRPr sz="324" b="0">
                <a:noFill/>
              </a:defRPr>
            </a:lvl4pPr>
            <a:lvl5pPr>
              <a:spcBef>
                <a:spcPts val="0"/>
              </a:spcBef>
              <a:defRPr sz="324">
                <a:noFill/>
              </a:defRPr>
            </a:lvl5pPr>
            <a:lvl6pPr>
              <a:spcBef>
                <a:spcPts val="0"/>
              </a:spcBef>
              <a:defRPr sz="324">
                <a:noFill/>
              </a:defRPr>
            </a:lvl6pPr>
            <a:lvl7pPr>
              <a:spcBef>
                <a:spcPts val="0"/>
              </a:spcBef>
              <a:defRPr sz="324">
                <a:noFill/>
              </a:defRPr>
            </a:lvl7pPr>
            <a:lvl8pPr>
              <a:spcBef>
                <a:spcPts val="0"/>
              </a:spcBef>
              <a:defRPr sz="324">
                <a:noFill/>
              </a:defRPr>
            </a:lvl8pPr>
            <a:lvl9pPr>
              <a:spcBef>
                <a:spcPts val="0"/>
              </a:spcBef>
              <a:defRPr sz="324">
                <a:noFill/>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a:p>
        </p:txBody>
      </p:sp>
      <p:sp>
        <p:nvSpPr>
          <p:cNvPr id="18" name="Text Placeholder 2">
            <a:extLst>
              <a:ext uri="{FF2B5EF4-FFF2-40B4-BE49-F238E27FC236}">
                <a16:creationId xmlns:a16="http://schemas.microsoft.com/office/drawing/2014/main" id="{B6351E1D-0587-2E7B-55B8-06B2E8737F98}"/>
              </a:ext>
            </a:extLst>
          </p:cNvPr>
          <p:cNvSpPr>
            <a:spLocks noGrp="1" noChangeAspect="1"/>
          </p:cNvSpPr>
          <p:nvPr>
            <p:ph type="body" sz="quarter" idx="22"/>
          </p:nvPr>
        </p:nvSpPr>
        <p:spPr>
          <a:xfrm>
            <a:off x="5280229" y="7549805"/>
            <a:ext cx="1079347" cy="2155200"/>
          </a:xfrm>
          <a:custGeom>
            <a:avLst/>
            <a:gdLst>
              <a:gd name="connsiteX0" fmla="*/ 0 w 2119820"/>
              <a:gd name="connsiteY0" fmla="*/ 0 h 2244597"/>
              <a:gd name="connsiteX1" fmla="*/ 2119757 w 2119820"/>
              <a:gd name="connsiteY1" fmla="*/ 0 h 2244597"/>
              <a:gd name="connsiteX2" fmla="*/ 2119820 w 2119820"/>
              <a:gd name="connsiteY2" fmla="*/ 135 h 2244597"/>
              <a:gd name="connsiteX3" fmla="*/ 1054953 w 2119820"/>
              <a:gd name="connsiteY3" fmla="*/ 2244597 h 2244597"/>
              <a:gd name="connsiteX4" fmla="*/ 1054925 w 2119820"/>
              <a:gd name="connsiteY4" fmla="*/ 2244597 h 22445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9820" h="2244597">
                <a:moveTo>
                  <a:pt x="0" y="0"/>
                </a:moveTo>
                <a:lnTo>
                  <a:pt x="2119757" y="0"/>
                </a:lnTo>
                <a:lnTo>
                  <a:pt x="2119820" y="135"/>
                </a:lnTo>
                <a:lnTo>
                  <a:pt x="1054953" y="2244597"/>
                </a:lnTo>
                <a:lnTo>
                  <a:pt x="1054925" y="2244597"/>
                </a:lnTo>
                <a:close/>
              </a:path>
            </a:pathLst>
          </a:custGeom>
          <a:solidFill>
            <a:schemeClr val="tx2">
              <a:alpha val="50000"/>
            </a:schemeClr>
          </a:solidFill>
        </p:spPr>
        <p:txBody>
          <a:bodyPr wrap="square">
            <a:noAutofit/>
          </a:bodyPr>
          <a:lstStyle>
            <a:lvl1pPr>
              <a:spcBef>
                <a:spcPts val="0"/>
              </a:spcBef>
              <a:defRPr sz="324">
                <a:noFill/>
              </a:defRPr>
            </a:lvl1pPr>
            <a:lvl2pPr marL="0" indent="0">
              <a:spcBef>
                <a:spcPts val="0"/>
              </a:spcBef>
              <a:buNone/>
              <a:defRPr sz="324">
                <a:noFill/>
              </a:defRPr>
            </a:lvl2pPr>
            <a:lvl3pPr marL="0" indent="0">
              <a:spcBef>
                <a:spcPts val="0"/>
              </a:spcBef>
              <a:buNone/>
              <a:defRPr sz="324">
                <a:noFill/>
              </a:defRPr>
            </a:lvl3pPr>
            <a:lvl4pPr>
              <a:spcBef>
                <a:spcPts val="0"/>
              </a:spcBef>
              <a:defRPr sz="324" b="0">
                <a:noFill/>
              </a:defRPr>
            </a:lvl4pPr>
            <a:lvl5pPr>
              <a:spcBef>
                <a:spcPts val="0"/>
              </a:spcBef>
              <a:defRPr sz="324">
                <a:noFill/>
              </a:defRPr>
            </a:lvl5pPr>
            <a:lvl6pPr>
              <a:spcBef>
                <a:spcPts val="0"/>
              </a:spcBef>
              <a:defRPr sz="324">
                <a:noFill/>
              </a:defRPr>
            </a:lvl6pPr>
            <a:lvl7pPr>
              <a:spcBef>
                <a:spcPts val="0"/>
              </a:spcBef>
              <a:defRPr sz="324">
                <a:noFill/>
              </a:defRPr>
            </a:lvl7pPr>
            <a:lvl8pPr>
              <a:spcBef>
                <a:spcPts val="0"/>
              </a:spcBef>
              <a:defRPr sz="324">
                <a:noFill/>
              </a:defRPr>
            </a:lvl8pPr>
            <a:lvl9pPr>
              <a:spcBef>
                <a:spcPts val="0"/>
              </a:spcBef>
              <a:defRPr sz="324">
                <a:noFill/>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a:p>
        </p:txBody>
      </p:sp>
      <p:sp>
        <p:nvSpPr>
          <p:cNvPr id="20" name="Text Placeholder 19">
            <a:extLst>
              <a:ext uri="{FF2B5EF4-FFF2-40B4-BE49-F238E27FC236}">
                <a16:creationId xmlns:a16="http://schemas.microsoft.com/office/drawing/2014/main" id="{02C71BA1-4727-3A94-C697-2772234AF9F2}"/>
              </a:ext>
            </a:extLst>
          </p:cNvPr>
          <p:cNvSpPr>
            <a:spLocks noGrp="1"/>
          </p:cNvSpPr>
          <p:nvPr>
            <p:ph type="body" sz="quarter" idx="27"/>
          </p:nvPr>
        </p:nvSpPr>
        <p:spPr>
          <a:xfrm>
            <a:off x="3408476" y="3482561"/>
            <a:ext cx="1268450" cy="1693267"/>
          </a:xfrm>
          <a:custGeom>
            <a:avLst/>
            <a:gdLst>
              <a:gd name="connsiteX0" fmla="*/ 0 w 1534287"/>
              <a:gd name="connsiteY0" fmla="*/ 0 h 1086104"/>
              <a:gd name="connsiteX1" fmla="*/ 1023366 w 1534287"/>
              <a:gd name="connsiteY1" fmla="*/ 0 h 1086104"/>
              <a:gd name="connsiteX2" fmla="*/ 1534287 w 1534287"/>
              <a:gd name="connsiteY2" fmla="*/ 1086104 h 1086104"/>
              <a:gd name="connsiteX3" fmla="*/ 510921 w 1534287"/>
              <a:gd name="connsiteY3" fmla="*/ 1086104 h 1086104"/>
              <a:gd name="connsiteX4" fmla="*/ 0 w 1534287"/>
              <a:gd name="connsiteY4" fmla="*/ 0 h 1086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4287" h="1086104">
                <a:moveTo>
                  <a:pt x="0" y="0"/>
                </a:moveTo>
                <a:lnTo>
                  <a:pt x="1023366" y="0"/>
                </a:lnTo>
                <a:lnTo>
                  <a:pt x="1534287" y="1086104"/>
                </a:lnTo>
                <a:lnTo>
                  <a:pt x="510921" y="1086104"/>
                </a:lnTo>
                <a:cubicBezTo>
                  <a:pt x="510921" y="1086104"/>
                  <a:pt x="0" y="0"/>
                  <a:pt x="0" y="0"/>
                </a:cubicBezTo>
                <a:close/>
              </a:path>
            </a:pathLst>
          </a:custGeom>
          <a:solidFill>
            <a:schemeClr val="bg1">
              <a:alpha val="50000"/>
            </a:schemeClr>
          </a:solidFill>
        </p:spPr>
        <p:txBody>
          <a:bodyPr wrap="square">
            <a:noAutofit/>
          </a:bodyPr>
          <a:lstStyle>
            <a:lvl1pPr>
              <a:spcBef>
                <a:spcPts val="0"/>
              </a:spcBef>
              <a:defRPr sz="324">
                <a:noFill/>
              </a:defRPr>
            </a:lvl1pPr>
            <a:lvl2pPr marL="0" indent="0">
              <a:spcBef>
                <a:spcPts val="0"/>
              </a:spcBef>
              <a:buNone/>
              <a:defRPr sz="324">
                <a:noFill/>
              </a:defRPr>
            </a:lvl2pPr>
            <a:lvl3pPr marL="0" indent="0">
              <a:spcBef>
                <a:spcPts val="0"/>
              </a:spcBef>
              <a:buNone/>
              <a:defRPr sz="324">
                <a:noFill/>
              </a:defRPr>
            </a:lvl3pPr>
            <a:lvl4pPr>
              <a:spcBef>
                <a:spcPts val="0"/>
              </a:spcBef>
              <a:defRPr sz="324" b="0">
                <a:noFill/>
              </a:defRPr>
            </a:lvl4pPr>
            <a:lvl5pPr>
              <a:spcBef>
                <a:spcPts val="0"/>
              </a:spcBef>
              <a:defRPr sz="324">
                <a:noFill/>
              </a:defRPr>
            </a:lvl5pPr>
            <a:lvl6pPr>
              <a:spcBef>
                <a:spcPts val="0"/>
              </a:spcBef>
              <a:defRPr sz="324">
                <a:noFill/>
              </a:defRPr>
            </a:lvl6pPr>
            <a:lvl7pPr>
              <a:spcBef>
                <a:spcPts val="0"/>
              </a:spcBef>
              <a:defRPr sz="324">
                <a:noFill/>
              </a:defRPr>
            </a:lvl7pPr>
            <a:lvl8pPr>
              <a:spcBef>
                <a:spcPts val="0"/>
              </a:spcBef>
              <a:defRPr sz="324">
                <a:noFill/>
              </a:defRPr>
            </a:lvl8pPr>
            <a:lvl9pPr>
              <a:spcBef>
                <a:spcPts val="0"/>
              </a:spcBef>
              <a:defRPr sz="324">
                <a:noFill/>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a:p>
        </p:txBody>
      </p:sp>
      <p:sp>
        <p:nvSpPr>
          <p:cNvPr id="21" name="Text Placeholder 24">
            <a:extLst>
              <a:ext uri="{FF2B5EF4-FFF2-40B4-BE49-F238E27FC236}">
                <a16:creationId xmlns:a16="http://schemas.microsoft.com/office/drawing/2014/main" id="{D8F58367-9BE9-C43F-398C-868E3E4B9FF4}"/>
              </a:ext>
            </a:extLst>
          </p:cNvPr>
          <p:cNvSpPr>
            <a:spLocks noGrp="1" noChangeAspect="1"/>
          </p:cNvSpPr>
          <p:nvPr>
            <p:ph type="body" sz="quarter" idx="20"/>
          </p:nvPr>
        </p:nvSpPr>
        <p:spPr>
          <a:xfrm>
            <a:off x="3830870" y="3482560"/>
            <a:ext cx="850590" cy="1694975"/>
          </a:xfrm>
          <a:custGeom>
            <a:avLst/>
            <a:gdLst>
              <a:gd name="connsiteX0" fmla="*/ 835659 w 1661668"/>
              <a:gd name="connsiteY0" fmla="*/ 0 h 1755902"/>
              <a:gd name="connsiteX1" fmla="*/ 1661668 w 1661668"/>
              <a:gd name="connsiteY1" fmla="*/ 1755902 h 1755902"/>
              <a:gd name="connsiteX2" fmla="*/ 0 w 1661668"/>
              <a:gd name="connsiteY2" fmla="*/ 1755902 h 1755902"/>
            </a:gdLst>
            <a:ahLst/>
            <a:cxnLst>
              <a:cxn ang="0">
                <a:pos x="connsiteX0" y="connsiteY0"/>
              </a:cxn>
              <a:cxn ang="0">
                <a:pos x="connsiteX1" y="connsiteY1"/>
              </a:cxn>
              <a:cxn ang="0">
                <a:pos x="connsiteX2" y="connsiteY2"/>
              </a:cxn>
            </a:cxnLst>
            <a:rect l="l" t="t" r="r" b="b"/>
            <a:pathLst>
              <a:path w="1661668" h="1755902">
                <a:moveTo>
                  <a:pt x="835659" y="0"/>
                </a:moveTo>
                <a:cubicBezTo>
                  <a:pt x="835659" y="0"/>
                  <a:pt x="1661668" y="1755902"/>
                  <a:pt x="1661668" y="1755902"/>
                </a:cubicBezTo>
                <a:lnTo>
                  <a:pt x="0" y="1755902"/>
                </a:lnTo>
                <a:close/>
              </a:path>
            </a:pathLst>
          </a:custGeom>
          <a:solidFill>
            <a:schemeClr val="accent1">
              <a:alpha val="33000"/>
            </a:schemeClr>
          </a:solidFill>
        </p:spPr>
        <p:txBody>
          <a:bodyPr wrap="square">
            <a:noAutofit/>
          </a:bodyPr>
          <a:lstStyle>
            <a:lvl1pPr>
              <a:spcBef>
                <a:spcPts val="0"/>
              </a:spcBef>
              <a:defRPr sz="324">
                <a:noFill/>
              </a:defRPr>
            </a:lvl1pPr>
            <a:lvl2pPr marL="0" indent="0">
              <a:spcBef>
                <a:spcPts val="0"/>
              </a:spcBef>
              <a:buNone/>
              <a:defRPr sz="324">
                <a:noFill/>
              </a:defRPr>
            </a:lvl2pPr>
            <a:lvl3pPr marL="0" indent="0">
              <a:spcBef>
                <a:spcPts val="0"/>
              </a:spcBef>
              <a:buNone/>
              <a:defRPr sz="324">
                <a:noFill/>
              </a:defRPr>
            </a:lvl3pPr>
            <a:lvl4pPr>
              <a:spcBef>
                <a:spcPts val="0"/>
              </a:spcBef>
              <a:defRPr sz="324" b="0">
                <a:noFill/>
              </a:defRPr>
            </a:lvl4pPr>
            <a:lvl5pPr>
              <a:spcBef>
                <a:spcPts val="0"/>
              </a:spcBef>
              <a:defRPr sz="324">
                <a:noFill/>
              </a:defRPr>
            </a:lvl5pPr>
            <a:lvl6pPr>
              <a:spcBef>
                <a:spcPts val="0"/>
              </a:spcBef>
              <a:defRPr sz="324">
                <a:noFill/>
              </a:defRPr>
            </a:lvl6pPr>
            <a:lvl7pPr>
              <a:spcBef>
                <a:spcPts val="0"/>
              </a:spcBef>
              <a:defRPr sz="324">
                <a:noFill/>
              </a:defRPr>
            </a:lvl7pPr>
            <a:lvl8pPr>
              <a:spcBef>
                <a:spcPts val="0"/>
              </a:spcBef>
              <a:defRPr sz="324">
                <a:noFill/>
              </a:defRPr>
            </a:lvl8pPr>
            <a:lvl9pPr>
              <a:spcBef>
                <a:spcPts val="0"/>
              </a:spcBef>
              <a:defRPr sz="324">
                <a:noFill/>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a:p>
        </p:txBody>
      </p:sp>
      <p:sp>
        <p:nvSpPr>
          <p:cNvPr id="22" name="Text Placeholder 21">
            <a:extLst>
              <a:ext uri="{FF2B5EF4-FFF2-40B4-BE49-F238E27FC236}">
                <a16:creationId xmlns:a16="http://schemas.microsoft.com/office/drawing/2014/main" id="{48FE88D8-DD84-A127-C179-33FF11FEAF63}"/>
              </a:ext>
            </a:extLst>
          </p:cNvPr>
          <p:cNvSpPr>
            <a:spLocks noGrp="1"/>
          </p:cNvSpPr>
          <p:nvPr>
            <p:ph type="body" sz="quarter" idx="28"/>
          </p:nvPr>
        </p:nvSpPr>
        <p:spPr>
          <a:xfrm>
            <a:off x="5280228" y="7549807"/>
            <a:ext cx="1615881" cy="2154400"/>
          </a:xfrm>
          <a:custGeom>
            <a:avLst/>
            <a:gdLst>
              <a:gd name="connsiteX0" fmla="*/ 0 w 1954530"/>
              <a:gd name="connsiteY0" fmla="*/ 0 h 1381887"/>
              <a:gd name="connsiteX1" fmla="*/ 1305052 w 1954530"/>
              <a:gd name="connsiteY1" fmla="*/ 0 h 1381887"/>
              <a:gd name="connsiteX2" fmla="*/ 1954530 w 1954530"/>
              <a:gd name="connsiteY2" fmla="*/ 1381887 h 1381887"/>
              <a:gd name="connsiteX3" fmla="*/ 649478 w 1954530"/>
              <a:gd name="connsiteY3" fmla="*/ 1381887 h 1381887"/>
            </a:gdLst>
            <a:ahLst/>
            <a:cxnLst>
              <a:cxn ang="0">
                <a:pos x="connsiteX0" y="connsiteY0"/>
              </a:cxn>
              <a:cxn ang="0">
                <a:pos x="connsiteX1" y="connsiteY1"/>
              </a:cxn>
              <a:cxn ang="0">
                <a:pos x="connsiteX2" y="connsiteY2"/>
              </a:cxn>
              <a:cxn ang="0">
                <a:pos x="connsiteX3" y="connsiteY3"/>
              </a:cxn>
            </a:cxnLst>
            <a:rect l="l" t="t" r="r" b="b"/>
            <a:pathLst>
              <a:path w="1954530" h="1381887">
                <a:moveTo>
                  <a:pt x="0" y="0"/>
                </a:moveTo>
                <a:lnTo>
                  <a:pt x="1305052" y="0"/>
                </a:lnTo>
                <a:cubicBezTo>
                  <a:pt x="1305052" y="0"/>
                  <a:pt x="1954530" y="1381887"/>
                  <a:pt x="1954530" y="1381887"/>
                </a:cubicBezTo>
                <a:lnTo>
                  <a:pt x="649478" y="1381887"/>
                </a:lnTo>
                <a:close/>
              </a:path>
            </a:pathLst>
          </a:custGeom>
          <a:solidFill>
            <a:schemeClr val="bg1">
              <a:alpha val="50000"/>
            </a:schemeClr>
          </a:solidFill>
        </p:spPr>
        <p:txBody>
          <a:bodyPr wrap="square">
            <a:noAutofit/>
          </a:bodyPr>
          <a:lstStyle>
            <a:lvl1pPr>
              <a:spcBef>
                <a:spcPts val="0"/>
              </a:spcBef>
              <a:defRPr sz="324">
                <a:noFill/>
              </a:defRPr>
            </a:lvl1pPr>
            <a:lvl2pPr marL="0" indent="0">
              <a:spcBef>
                <a:spcPts val="0"/>
              </a:spcBef>
              <a:buNone/>
              <a:defRPr sz="324">
                <a:noFill/>
              </a:defRPr>
            </a:lvl2pPr>
            <a:lvl3pPr marL="0" indent="0">
              <a:spcBef>
                <a:spcPts val="0"/>
              </a:spcBef>
              <a:buNone/>
              <a:defRPr sz="324">
                <a:noFill/>
              </a:defRPr>
            </a:lvl3pPr>
            <a:lvl4pPr>
              <a:spcBef>
                <a:spcPts val="0"/>
              </a:spcBef>
              <a:defRPr sz="324" b="0">
                <a:noFill/>
              </a:defRPr>
            </a:lvl4pPr>
            <a:lvl5pPr>
              <a:spcBef>
                <a:spcPts val="0"/>
              </a:spcBef>
              <a:defRPr sz="324">
                <a:noFill/>
              </a:defRPr>
            </a:lvl5pPr>
            <a:lvl6pPr>
              <a:spcBef>
                <a:spcPts val="0"/>
              </a:spcBef>
              <a:defRPr sz="324">
                <a:noFill/>
              </a:defRPr>
            </a:lvl6pPr>
            <a:lvl7pPr>
              <a:spcBef>
                <a:spcPts val="0"/>
              </a:spcBef>
              <a:defRPr sz="324">
                <a:noFill/>
              </a:defRPr>
            </a:lvl7pPr>
            <a:lvl8pPr>
              <a:spcBef>
                <a:spcPts val="0"/>
              </a:spcBef>
              <a:defRPr sz="324">
                <a:noFill/>
              </a:defRPr>
            </a:lvl8pPr>
            <a:lvl9pPr>
              <a:spcBef>
                <a:spcPts val="0"/>
              </a:spcBef>
              <a:defRPr sz="324">
                <a:noFill/>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a:p>
        </p:txBody>
      </p:sp>
      <p:sp>
        <p:nvSpPr>
          <p:cNvPr id="42" name="Free-form: Shape 41">
            <a:extLst>
              <a:ext uri="{FF2B5EF4-FFF2-40B4-BE49-F238E27FC236}">
                <a16:creationId xmlns:a16="http://schemas.microsoft.com/office/drawing/2014/main" id="{3FD0863A-B744-BA87-F617-4BBA1966EEB8}"/>
              </a:ext>
            </a:extLst>
          </p:cNvPr>
          <p:cNvSpPr/>
          <p:nvPr userDrawn="1"/>
        </p:nvSpPr>
        <p:spPr>
          <a:xfrm>
            <a:off x="4253667" y="3482560"/>
            <a:ext cx="850590" cy="1694975"/>
          </a:xfrm>
          <a:custGeom>
            <a:avLst/>
            <a:gdLst>
              <a:gd name="connsiteX0" fmla="*/ 0 w 1028853"/>
              <a:gd name="connsiteY0" fmla="*/ 0 h 1087200"/>
              <a:gd name="connsiteX1" fmla="*/ 1028853 w 1028853"/>
              <a:gd name="connsiteY1" fmla="*/ 0 h 1087200"/>
              <a:gd name="connsiteX2" fmla="*/ 511439 w 1028853"/>
              <a:gd name="connsiteY2" fmla="*/ 1087200 h 1087200"/>
              <a:gd name="connsiteX3" fmla="*/ 0 w 1028853"/>
              <a:gd name="connsiteY3" fmla="*/ 0 h 1087200"/>
            </a:gdLst>
            <a:ahLst/>
            <a:cxnLst>
              <a:cxn ang="0">
                <a:pos x="connsiteX0" y="connsiteY0"/>
              </a:cxn>
              <a:cxn ang="0">
                <a:pos x="connsiteX1" y="connsiteY1"/>
              </a:cxn>
              <a:cxn ang="0">
                <a:pos x="connsiteX2" y="connsiteY2"/>
              </a:cxn>
              <a:cxn ang="0">
                <a:pos x="connsiteX3" y="connsiteY3"/>
              </a:cxn>
            </a:cxnLst>
            <a:rect l="l" t="t" r="r" b="b"/>
            <a:pathLst>
              <a:path w="1028853" h="1087200">
                <a:moveTo>
                  <a:pt x="0" y="0"/>
                </a:moveTo>
                <a:lnTo>
                  <a:pt x="1028853" y="0"/>
                </a:lnTo>
                <a:lnTo>
                  <a:pt x="511439" y="1087200"/>
                </a:lnTo>
                <a:cubicBezTo>
                  <a:pt x="511439" y="1087200"/>
                  <a:pt x="0" y="0"/>
                  <a:pt x="0" y="0"/>
                </a:cubicBezTo>
                <a:close/>
              </a:path>
            </a:pathLst>
          </a:custGeom>
          <a:solidFill>
            <a:srgbClr val="CEDC00">
              <a:alpha val="66000"/>
            </a:srgbClr>
          </a:solidFill>
          <a:ln w="12695" cap="flat">
            <a:noFill/>
            <a:prstDash val="solid"/>
            <a:miter/>
          </a:ln>
        </p:spPr>
        <p:txBody>
          <a:bodyPr rtlCol="0" anchor="ctr"/>
          <a:lstStyle/>
          <a:p>
            <a:endParaRPr lang="en-AU" sz="1457"/>
          </a:p>
        </p:txBody>
      </p:sp>
      <p:sp>
        <p:nvSpPr>
          <p:cNvPr id="48" name="Footer Placeholder 47">
            <a:extLst>
              <a:ext uri="{FF2B5EF4-FFF2-40B4-BE49-F238E27FC236}">
                <a16:creationId xmlns:a16="http://schemas.microsoft.com/office/drawing/2014/main" id="{3B780439-4CEB-319E-36A6-2245E0E90D82}"/>
              </a:ext>
            </a:extLst>
          </p:cNvPr>
          <p:cNvSpPr>
            <a:spLocks noGrp="1"/>
          </p:cNvSpPr>
          <p:nvPr>
            <p:ph type="ftr" sz="quarter" idx="30"/>
          </p:nvPr>
        </p:nvSpPr>
        <p:spPr/>
        <p:txBody>
          <a:bodyPr/>
          <a:lstStyle/>
          <a:p>
            <a:r>
              <a:rPr lang="en-GB"/>
              <a:t>To add a Footer, select 'Insert &gt; Header &amp; Footer'</a:t>
            </a:r>
          </a:p>
        </p:txBody>
      </p:sp>
      <p:sp>
        <p:nvSpPr>
          <p:cNvPr id="49" name="Slide Number Placeholder 48">
            <a:extLst>
              <a:ext uri="{FF2B5EF4-FFF2-40B4-BE49-F238E27FC236}">
                <a16:creationId xmlns:a16="http://schemas.microsoft.com/office/drawing/2014/main" id="{E12E50E5-2AB4-40F8-DB59-DD28CB45376C}"/>
              </a:ext>
            </a:extLst>
          </p:cNvPr>
          <p:cNvSpPr>
            <a:spLocks noGrp="1"/>
          </p:cNvSpPr>
          <p:nvPr>
            <p:ph type="sldNum" sz="quarter" idx="31"/>
          </p:nvPr>
        </p:nvSpPr>
        <p:spPr/>
        <p:txBody>
          <a:bodyPr/>
          <a:lstStyle/>
          <a:p>
            <a:r>
              <a:rPr lang="en-GB"/>
              <a:t>Page </a:t>
            </a:r>
            <a:fld id="{F5AEA0E0-5CC6-4BD0-905C-A0021E419432}" type="slidenum">
              <a:rPr lang="en-GB" smtClean="0"/>
              <a:pPr/>
              <a:t>‹#›</a:t>
            </a:fld>
            <a:endParaRPr lang="en-GB"/>
          </a:p>
        </p:txBody>
      </p:sp>
    </p:spTree>
    <p:extLst>
      <p:ext uri="{BB962C8B-B14F-4D97-AF65-F5344CB8AC3E}">
        <p14:creationId xmlns:p14="http://schemas.microsoft.com/office/powerpoint/2010/main" val="114325857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full width image">
    <p:spTree>
      <p:nvGrpSpPr>
        <p:cNvPr id="1" name=""/>
        <p:cNvGrpSpPr/>
        <p:nvPr/>
      </p:nvGrpSpPr>
      <p:grpSpPr>
        <a:xfrm>
          <a:off x="0" y="0"/>
          <a:ext cx="0" cy="0"/>
          <a:chOff x="0" y="0"/>
          <a:chExt cx="0" cy="0"/>
        </a:xfrm>
      </p:grpSpPr>
      <p:sp>
        <p:nvSpPr>
          <p:cNvPr id="20" name="Free-form: Shape 19">
            <a:extLst>
              <a:ext uri="{FF2B5EF4-FFF2-40B4-BE49-F238E27FC236}">
                <a16:creationId xmlns:a16="http://schemas.microsoft.com/office/drawing/2014/main" id="{660CC324-D8B6-FA03-A350-EA9CC846ABF1}"/>
              </a:ext>
            </a:extLst>
          </p:cNvPr>
          <p:cNvSpPr/>
          <p:nvPr userDrawn="1"/>
        </p:nvSpPr>
        <p:spPr>
          <a:xfrm>
            <a:off x="3830870" y="1"/>
            <a:ext cx="2148943" cy="5175828"/>
          </a:xfrm>
          <a:custGeom>
            <a:avLst/>
            <a:gdLst>
              <a:gd name="connsiteX0" fmla="*/ 2599309 w 2599309"/>
              <a:gd name="connsiteY0" fmla="*/ 0 h 3319907"/>
              <a:gd name="connsiteX1" fmla="*/ 1567307 w 2599309"/>
              <a:gd name="connsiteY1" fmla="*/ 0 h 3319907"/>
              <a:gd name="connsiteX2" fmla="*/ 1161923 w 2599309"/>
              <a:gd name="connsiteY2" fmla="*/ 859155 h 3319907"/>
              <a:gd name="connsiteX3" fmla="*/ 1161161 w 2599309"/>
              <a:gd name="connsiteY3" fmla="*/ 859155 h 3319907"/>
              <a:gd name="connsiteX4" fmla="*/ 0 w 2599309"/>
              <a:gd name="connsiteY4" fmla="*/ 3319907 h 3319907"/>
              <a:gd name="connsiteX5" fmla="*/ 1023366 w 2599309"/>
              <a:gd name="connsiteY5" fmla="*/ 3319907 h 3319907"/>
              <a:gd name="connsiteX6" fmla="*/ 2194560 w 2599309"/>
              <a:gd name="connsiteY6" fmla="*/ 859155 h 3319907"/>
              <a:gd name="connsiteX7" fmla="*/ 2190369 w 2599309"/>
              <a:gd name="connsiteY7" fmla="*/ 859155 h 3319907"/>
              <a:gd name="connsiteX8" fmla="*/ 2599309 w 2599309"/>
              <a:gd name="connsiteY8" fmla="*/ 0 h 3319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99309" h="3319907">
                <a:moveTo>
                  <a:pt x="2599309" y="0"/>
                </a:moveTo>
                <a:lnTo>
                  <a:pt x="1567307" y="0"/>
                </a:lnTo>
                <a:lnTo>
                  <a:pt x="1161923" y="859155"/>
                </a:lnTo>
                <a:lnTo>
                  <a:pt x="1161161" y="859155"/>
                </a:lnTo>
                <a:lnTo>
                  <a:pt x="0" y="3319907"/>
                </a:lnTo>
                <a:lnTo>
                  <a:pt x="1023366" y="3319907"/>
                </a:lnTo>
                <a:lnTo>
                  <a:pt x="2194560" y="859155"/>
                </a:lnTo>
                <a:lnTo>
                  <a:pt x="2190369" y="859155"/>
                </a:lnTo>
                <a:lnTo>
                  <a:pt x="2599309" y="0"/>
                </a:lnTo>
                <a:close/>
              </a:path>
            </a:pathLst>
          </a:custGeom>
          <a:solidFill>
            <a:srgbClr val="CEDC00"/>
          </a:solidFill>
          <a:ln w="12695" cap="flat">
            <a:noFill/>
            <a:prstDash val="solid"/>
            <a:miter/>
          </a:ln>
        </p:spPr>
        <p:txBody>
          <a:bodyPr rtlCol="0" anchor="ctr"/>
          <a:lstStyle/>
          <a:p>
            <a:endParaRPr lang="en-AU" sz="1457"/>
          </a:p>
        </p:txBody>
      </p:sp>
      <p:sp>
        <p:nvSpPr>
          <p:cNvPr id="61" name="Picture Placeholder 60">
            <a:extLst>
              <a:ext uri="{FF2B5EF4-FFF2-40B4-BE49-F238E27FC236}">
                <a16:creationId xmlns:a16="http://schemas.microsoft.com/office/drawing/2014/main" id="{BB41F336-5118-C5C9-E8E5-6A5CCDE66F58}"/>
              </a:ext>
            </a:extLst>
          </p:cNvPr>
          <p:cNvSpPr>
            <a:spLocks noGrp="1" noChangeAspect="1"/>
          </p:cNvSpPr>
          <p:nvPr>
            <p:ph type="pic" sz="quarter" idx="14" hasCustomPrompt="1"/>
          </p:nvPr>
        </p:nvSpPr>
        <p:spPr>
          <a:xfrm>
            <a:off x="-1" y="3482012"/>
            <a:ext cx="7565744" cy="6224263"/>
          </a:xfrm>
          <a:prstGeom prst="rect">
            <a:avLst/>
          </a:prstGeom>
          <a:solidFill>
            <a:schemeClr val="bg1">
              <a:lumMod val="75000"/>
            </a:schemeClr>
          </a:solidFill>
        </p:spPr>
        <p:txBody>
          <a:bodyPr wrap="square" lIns="504000" tIns="288000" rIns="5760000" bIns="360000" anchor="t" anchorCtr="0">
            <a:noAutofit/>
          </a:bodyPr>
          <a:lstStyle>
            <a:lvl1pPr algn="l">
              <a:defRPr sz="1133" b="0">
                <a:solidFill>
                  <a:schemeClr val="bg1"/>
                </a:solidFill>
                <a:latin typeface="+mj-lt"/>
                <a:ea typeface="Roboto" panose="02000000000000000000" pitchFamily="2" charset="0"/>
              </a:defRPr>
            </a:lvl1pPr>
            <a:lvl2pPr algn="ctr">
              <a:defRPr b="0">
                <a:solidFill>
                  <a:schemeClr val="accent2"/>
                </a:solidFill>
                <a:latin typeface="Roboto" panose="02000000000000000000" pitchFamily="2" charset="0"/>
                <a:ea typeface="Roboto" panose="02000000000000000000" pitchFamily="2" charset="0"/>
              </a:defRPr>
            </a:lvl2pPr>
          </a:lstStyle>
          <a:p>
            <a:r>
              <a:rPr lang="en-AU"/>
              <a:t>To insert an image, select ‘Insert Picture’, or click on icon. Select ‘Picture Format &gt; Crop’ to edit size and position of picture.</a:t>
            </a:r>
          </a:p>
        </p:txBody>
      </p:sp>
      <p:sp>
        <p:nvSpPr>
          <p:cNvPr id="24" name="Subtitle 2">
            <a:extLst>
              <a:ext uri="{FF2B5EF4-FFF2-40B4-BE49-F238E27FC236}">
                <a16:creationId xmlns:a16="http://schemas.microsoft.com/office/drawing/2014/main" id="{6B334685-C921-7BF8-BD42-E66D7F73CDEC}"/>
              </a:ext>
            </a:extLst>
          </p:cNvPr>
          <p:cNvSpPr>
            <a:spLocks noGrp="1"/>
          </p:cNvSpPr>
          <p:nvPr>
            <p:ph type="subTitle" idx="1" hasCustomPrompt="1"/>
          </p:nvPr>
        </p:nvSpPr>
        <p:spPr>
          <a:xfrm>
            <a:off x="401607" y="869373"/>
            <a:ext cx="3794719" cy="2245000"/>
          </a:xfrm>
        </p:spPr>
        <p:txBody>
          <a:bodyPr/>
          <a:lstStyle>
            <a:lvl1pPr marL="0" indent="0" algn="l">
              <a:buNone/>
              <a:defRPr sz="2509" b="0">
                <a:solidFill>
                  <a:schemeClr val="accent6"/>
                </a:solidFill>
              </a:defRPr>
            </a:lvl1pPr>
            <a:lvl2pPr marL="0" indent="0" algn="l">
              <a:buNone/>
              <a:defRPr sz="1862" b="0">
                <a:solidFill>
                  <a:schemeClr val="accent6"/>
                </a:solidFill>
              </a:defRPr>
            </a:lvl2pPr>
            <a:lvl3pPr marL="0" indent="0" algn="l">
              <a:buNone/>
              <a:defRPr sz="1862" b="0">
                <a:solidFill>
                  <a:schemeClr val="accent6"/>
                </a:solidFill>
              </a:defRPr>
            </a:lvl3pPr>
            <a:lvl4pPr marL="0" indent="0" algn="l">
              <a:buNone/>
              <a:defRPr sz="1862" b="0">
                <a:solidFill>
                  <a:schemeClr val="accent6"/>
                </a:solidFill>
              </a:defRPr>
            </a:lvl4pPr>
            <a:lvl5pPr marL="0" indent="0" algn="l">
              <a:buNone/>
              <a:defRPr sz="1862" b="0">
                <a:solidFill>
                  <a:schemeClr val="accent6"/>
                </a:solidFill>
              </a:defRPr>
            </a:lvl5pPr>
            <a:lvl6pPr marL="0" indent="0" algn="l">
              <a:buNone/>
              <a:defRPr sz="1862" b="0">
                <a:solidFill>
                  <a:schemeClr val="accent6"/>
                </a:solidFill>
              </a:defRPr>
            </a:lvl6pPr>
            <a:lvl7pPr marL="0" indent="0" algn="l">
              <a:buNone/>
              <a:defRPr sz="1862" b="0">
                <a:solidFill>
                  <a:schemeClr val="accent6"/>
                </a:solidFill>
              </a:defRPr>
            </a:lvl7pPr>
            <a:lvl8pPr marL="0" indent="0" algn="l">
              <a:buNone/>
              <a:defRPr sz="1862" b="0">
                <a:solidFill>
                  <a:schemeClr val="accent6"/>
                </a:solidFill>
              </a:defRPr>
            </a:lvl8pPr>
            <a:lvl9pPr marL="0" indent="0" algn="l">
              <a:buNone/>
              <a:defRPr sz="1862" b="0">
                <a:solidFill>
                  <a:schemeClr val="accent6"/>
                </a:solidFill>
              </a:defRPr>
            </a:lvl9pPr>
          </a:lstStyle>
          <a:p>
            <a:r>
              <a:rPr lang="en-AU"/>
              <a:t>Title heading-first level</a:t>
            </a:r>
            <a:endParaRPr lang="en-GB"/>
          </a:p>
          <a:p>
            <a:pPr lvl="1"/>
            <a:r>
              <a:rPr lang="en-US"/>
              <a:t>Subheading-second level</a:t>
            </a:r>
            <a:endParaRPr lang="en-GB"/>
          </a:p>
        </p:txBody>
      </p:sp>
      <p:sp>
        <p:nvSpPr>
          <p:cNvPr id="8" name="Footer Placeholder 7">
            <a:extLst>
              <a:ext uri="{FF2B5EF4-FFF2-40B4-BE49-F238E27FC236}">
                <a16:creationId xmlns:a16="http://schemas.microsoft.com/office/drawing/2014/main" id="{61E872F9-2264-1A70-83DD-6A9D9E266E05}"/>
              </a:ext>
            </a:extLst>
          </p:cNvPr>
          <p:cNvSpPr>
            <a:spLocks noGrp="1"/>
          </p:cNvSpPr>
          <p:nvPr>
            <p:ph type="ftr" sz="quarter" idx="16"/>
          </p:nvPr>
        </p:nvSpPr>
        <p:spPr/>
        <p:txBody>
          <a:bodyPr/>
          <a:lstStyle>
            <a:lvl1pPr>
              <a:defRPr>
                <a:solidFill>
                  <a:schemeClr val="accent6"/>
                </a:solidFill>
              </a:defRPr>
            </a:lvl1pPr>
          </a:lstStyle>
          <a:p>
            <a:r>
              <a:rPr lang="en-GB"/>
              <a:t>To add a Footer, select 'Insert &gt; Header &amp; Footer'</a:t>
            </a:r>
          </a:p>
        </p:txBody>
      </p:sp>
      <p:sp>
        <p:nvSpPr>
          <p:cNvPr id="10" name="Slide Number Placeholder 9">
            <a:extLst>
              <a:ext uri="{FF2B5EF4-FFF2-40B4-BE49-F238E27FC236}">
                <a16:creationId xmlns:a16="http://schemas.microsoft.com/office/drawing/2014/main" id="{A9AE11B7-4DF9-5F56-C639-44F49C6B670E}"/>
              </a:ext>
            </a:extLst>
          </p:cNvPr>
          <p:cNvSpPr>
            <a:spLocks noGrp="1"/>
          </p:cNvSpPr>
          <p:nvPr>
            <p:ph type="sldNum" sz="quarter" idx="17"/>
          </p:nvPr>
        </p:nvSpPr>
        <p:spPr/>
        <p:txBody>
          <a:bodyPr/>
          <a:lstStyle>
            <a:lvl1pPr>
              <a:defRPr>
                <a:solidFill>
                  <a:schemeClr val="accent6"/>
                </a:solidFill>
              </a:defRPr>
            </a:lvl1pPr>
          </a:lstStyle>
          <a:p>
            <a:r>
              <a:rPr lang="en-GB"/>
              <a:t>Page </a:t>
            </a:r>
            <a:fld id="{F5AEA0E0-5CC6-4BD0-905C-A0021E419432}" type="slidenum">
              <a:rPr lang="en-GB" smtClean="0"/>
              <a:pPr/>
              <a:t>‹#›</a:t>
            </a:fld>
            <a:endParaRPr lang="en-GB"/>
          </a:p>
        </p:txBody>
      </p:sp>
      <p:sp>
        <p:nvSpPr>
          <p:cNvPr id="18" name="Free-form: Shape 17">
            <a:extLst>
              <a:ext uri="{FF2B5EF4-FFF2-40B4-BE49-F238E27FC236}">
                <a16:creationId xmlns:a16="http://schemas.microsoft.com/office/drawing/2014/main" id="{E7A27014-865C-F1D4-CAF7-08476B875D17}"/>
              </a:ext>
            </a:extLst>
          </p:cNvPr>
          <p:cNvSpPr/>
          <p:nvPr userDrawn="1"/>
        </p:nvSpPr>
        <p:spPr>
          <a:xfrm>
            <a:off x="4489929" y="9704206"/>
            <a:ext cx="1327248" cy="987607"/>
          </a:xfrm>
          <a:custGeom>
            <a:avLst/>
            <a:gdLst>
              <a:gd name="connsiteX0" fmla="*/ 1605407 w 1605407"/>
              <a:gd name="connsiteY0" fmla="*/ 0 h 633476"/>
              <a:gd name="connsiteX1" fmla="*/ 299974 w 1605407"/>
              <a:gd name="connsiteY1" fmla="*/ 0 h 633476"/>
              <a:gd name="connsiteX2" fmla="*/ 114300 w 1605407"/>
              <a:gd name="connsiteY2" fmla="*/ 390906 h 633476"/>
              <a:gd name="connsiteX3" fmla="*/ 115189 w 1605407"/>
              <a:gd name="connsiteY3" fmla="*/ 390906 h 633476"/>
              <a:gd name="connsiteX4" fmla="*/ 0 w 1605407"/>
              <a:gd name="connsiteY4" fmla="*/ 633476 h 633476"/>
              <a:gd name="connsiteX5" fmla="*/ 1305814 w 1605407"/>
              <a:gd name="connsiteY5" fmla="*/ 633476 h 633476"/>
              <a:gd name="connsiteX6" fmla="*/ 1490472 w 1605407"/>
              <a:gd name="connsiteY6" fmla="*/ 243713 h 633476"/>
              <a:gd name="connsiteX7" fmla="*/ 1489837 w 1605407"/>
              <a:gd name="connsiteY7" fmla="*/ 243713 h 633476"/>
              <a:gd name="connsiteX8" fmla="*/ 1605407 w 1605407"/>
              <a:gd name="connsiteY8" fmla="*/ 0 h 633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05407" h="633476">
                <a:moveTo>
                  <a:pt x="1605407" y="0"/>
                </a:moveTo>
                <a:lnTo>
                  <a:pt x="299974" y="0"/>
                </a:lnTo>
                <a:lnTo>
                  <a:pt x="114300" y="390906"/>
                </a:lnTo>
                <a:lnTo>
                  <a:pt x="115189" y="390906"/>
                </a:lnTo>
                <a:lnTo>
                  <a:pt x="0" y="633476"/>
                </a:lnTo>
                <a:lnTo>
                  <a:pt x="1305814" y="633476"/>
                </a:lnTo>
                <a:lnTo>
                  <a:pt x="1490472" y="243713"/>
                </a:lnTo>
                <a:lnTo>
                  <a:pt x="1489837" y="243713"/>
                </a:lnTo>
                <a:lnTo>
                  <a:pt x="1605407" y="0"/>
                </a:lnTo>
                <a:close/>
              </a:path>
            </a:pathLst>
          </a:custGeom>
          <a:solidFill>
            <a:srgbClr val="00B2A9"/>
          </a:solidFill>
          <a:ln w="12695" cap="flat">
            <a:noFill/>
            <a:prstDash val="solid"/>
            <a:miter/>
          </a:ln>
        </p:spPr>
        <p:txBody>
          <a:bodyPr rtlCol="0" anchor="ctr"/>
          <a:lstStyle/>
          <a:p>
            <a:endParaRPr lang="en-AU" sz="1457"/>
          </a:p>
        </p:txBody>
      </p:sp>
      <p:cxnSp>
        <p:nvCxnSpPr>
          <p:cNvPr id="19" name="Straight Connector 18">
            <a:extLst>
              <a:ext uri="{FF2B5EF4-FFF2-40B4-BE49-F238E27FC236}">
                <a16:creationId xmlns:a16="http://schemas.microsoft.com/office/drawing/2014/main" id="{FA7A3D40-02AD-DBB9-335F-21278C945676}"/>
              </a:ext>
            </a:extLst>
          </p:cNvPr>
          <p:cNvCxnSpPr/>
          <p:nvPr userDrawn="1"/>
        </p:nvCxnSpPr>
        <p:spPr>
          <a:xfrm>
            <a:off x="6803250" y="10078027"/>
            <a:ext cx="0" cy="242545"/>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26" name="Graphic 25">
            <a:extLst>
              <a:ext uri="{FF2B5EF4-FFF2-40B4-BE49-F238E27FC236}">
                <a16:creationId xmlns:a16="http://schemas.microsoft.com/office/drawing/2014/main" id="{3D3D7C47-BE68-07DE-DF7D-956176BFA7C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873550" y="1410571"/>
            <a:ext cx="1386890" cy="803256"/>
          </a:xfrm>
          <a:prstGeom prst="rect">
            <a:avLst/>
          </a:prstGeom>
        </p:spPr>
      </p:pic>
      <p:sp>
        <p:nvSpPr>
          <p:cNvPr id="37" name="Text Placeholder 36">
            <a:extLst>
              <a:ext uri="{FF2B5EF4-FFF2-40B4-BE49-F238E27FC236}">
                <a16:creationId xmlns:a16="http://schemas.microsoft.com/office/drawing/2014/main" id="{CFB86533-F1A5-7166-E415-5B35F9186D90}"/>
              </a:ext>
            </a:extLst>
          </p:cNvPr>
          <p:cNvSpPr>
            <a:spLocks noGrp="1" noChangeAspect="1"/>
          </p:cNvSpPr>
          <p:nvPr>
            <p:ph type="body" sz="quarter" idx="18"/>
          </p:nvPr>
        </p:nvSpPr>
        <p:spPr>
          <a:xfrm>
            <a:off x="4737929" y="7549807"/>
            <a:ext cx="1079249" cy="2154400"/>
          </a:xfrm>
          <a:custGeom>
            <a:avLst/>
            <a:gdLst>
              <a:gd name="connsiteX0" fmla="*/ 655955 w 1305433"/>
              <a:gd name="connsiteY0" fmla="*/ 0 h 1381887"/>
              <a:gd name="connsiteX1" fmla="*/ 1305433 w 1305433"/>
              <a:gd name="connsiteY1" fmla="*/ 1381887 h 1381887"/>
              <a:gd name="connsiteX2" fmla="*/ 0 w 1305433"/>
              <a:gd name="connsiteY2" fmla="*/ 1381887 h 1381887"/>
            </a:gdLst>
            <a:ahLst/>
            <a:cxnLst>
              <a:cxn ang="0">
                <a:pos x="connsiteX0" y="connsiteY0"/>
              </a:cxn>
              <a:cxn ang="0">
                <a:pos x="connsiteX1" y="connsiteY1"/>
              </a:cxn>
              <a:cxn ang="0">
                <a:pos x="connsiteX2" y="connsiteY2"/>
              </a:cxn>
            </a:cxnLst>
            <a:rect l="l" t="t" r="r" b="b"/>
            <a:pathLst>
              <a:path w="1305433" h="1381887">
                <a:moveTo>
                  <a:pt x="655955" y="0"/>
                </a:moveTo>
                <a:lnTo>
                  <a:pt x="1305433" y="1381887"/>
                </a:lnTo>
                <a:lnTo>
                  <a:pt x="0" y="1381887"/>
                </a:lnTo>
                <a:close/>
              </a:path>
            </a:pathLst>
          </a:custGeom>
          <a:solidFill>
            <a:schemeClr val="tx2">
              <a:alpha val="66000"/>
            </a:schemeClr>
          </a:solidFill>
        </p:spPr>
        <p:txBody>
          <a:bodyPr wrap="square">
            <a:noAutofit/>
          </a:bodyPr>
          <a:lstStyle>
            <a:lvl1pPr>
              <a:spcBef>
                <a:spcPts val="0"/>
              </a:spcBef>
              <a:defRPr sz="324">
                <a:noFill/>
              </a:defRPr>
            </a:lvl1pPr>
            <a:lvl2pPr marL="0" indent="0">
              <a:spcBef>
                <a:spcPts val="0"/>
              </a:spcBef>
              <a:buNone/>
              <a:defRPr sz="324">
                <a:noFill/>
              </a:defRPr>
            </a:lvl2pPr>
            <a:lvl3pPr marL="0" indent="0">
              <a:spcBef>
                <a:spcPts val="0"/>
              </a:spcBef>
              <a:buNone/>
              <a:defRPr sz="324">
                <a:noFill/>
              </a:defRPr>
            </a:lvl3pPr>
            <a:lvl4pPr>
              <a:spcBef>
                <a:spcPts val="0"/>
              </a:spcBef>
              <a:defRPr sz="324" b="0">
                <a:noFill/>
              </a:defRPr>
            </a:lvl4pPr>
            <a:lvl5pPr>
              <a:spcBef>
                <a:spcPts val="0"/>
              </a:spcBef>
              <a:defRPr sz="324">
                <a:noFill/>
              </a:defRPr>
            </a:lvl5pPr>
            <a:lvl6pPr>
              <a:spcBef>
                <a:spcPts val="0"/>
              </a:spcBef>
              <a:defRPr sz="324">
                <a:noFill/>
              </a:defRPr>
            </a:lvl6pPr>
            <a:lvl7pPr>
              <a:spcBef>
                <a:spcPts val="0"/>
              </a:spcBef>
              <a:defRPr sz="324">
                <a:noFill/>
              </a:defRPr>
            </a:lvl7pPr>
            <a:lvl8pPr>
              <a:spcBef>
                <a:spcPts val="0"/>
              </a:spcBef>
              <a:defRPr sz="324">
                <a:noFill/>
              </a:defRPr>
            </a:lvl8pPr>
            <a:lvl9pPr>
              <a:spcBef>
                <a:spcPts val="0"/>
              </a:spcBef>
              <a:defRPr sz="324">
                <a:noFill/>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a:p>
        </p:txBody>
      </p:sp>
      <p:sp>
        <p:nvSpPr>
          <p:cNvPr id="30" name="Text Placeholder 2">
            <a:extLst>
              <a:ext uri="{FF2B5EF4-FFF2-40B4-BE49-F238E27FC236}">
                <a16:creationId xmlns:a16="http://schemas.microsoft.com/office/drawing/2014/main" id="{78EBBF75-4777-D465-98BA-F612C441DE8E}"/>
              </a:ext>
            </a:extLst>
          </p:cNvPr>
          <p:cNvSpPr>
            <a:spLocks noGrp="1" noChangeAspect="1"/>
          </p:cNvSpPr>
          <p:nvPr>
            <p:ph type="body" sz="quarter" idx="22"/>
          </p:nvPr>
        </p:nvSpPr>
        <p:spPr>
          <a:xfrm>
            <a:off x="5280229" y="7549805"/>
            <a:ext cx="1079347" cy="2155200"/>
          </a:xfrm>
          <a:custGeom>
            <a:avLst/>
            <a:gdLst>
              <a:gd name="connsiteX0" fmla="*/ 0 w 2119820"/>
              <a:gd name="connsiteY0" fmla="*/ 0 h 2244597"/>
              <a:gd name="connsiteX1" fmla="*/ 2119757 w 2119820"/>
              <a:gd name="connsiteY1" fmla="*/ 0 h 2244597"/>
              <a:gd name="connsiteX2" fmla="*/ 2119820 w 2119820"/>
              <a:gd name="connsiteY2" fmla="*/ 135 h 2244597"/>
              <a:gd name="connsiteX3" fmla="*/ 1054953 w 2119820"/>
              <a:gd name="connsiteY3" fmla="*/ 2244597 h 2244597"/>
              <a:gd name="connsiteX4" fmla="*/ 1054925 w 2119820"/>
              <a:gd name="connsiteY4" fmla="*/ 2244597 h 22445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9820" h="2244597">
                <a:moveTo>
                  <a:pt x="0" y="0"/>
                </a:moveTo>
                <a:lnTo>
                  <a:pt x="2119757" y="0"/>
                </a:lnTo>
                <a:lnTo>
                  <a:pt x="2119820" y="135"/>
                </a:lnTo>
                <a:lnTo>
                  <a:pt x="1054953" y="2244597"/>
                </a:lnTo>
                <a:lnTo>
                  <a:pt x="1054925" y="2244597"/>
                </a:lnTo>
                <a:close/>
              </a:path>
            </a:pathLst>
          </a:custGeom>
          <a:solidFill>
            <a:schemeClr val="tx2">
              <a:alpha val="50000"/>
            </a:schemeClr>
          </a:solidFill>
        </p:spPr>
        <p:txBody>
          <a:bodyPr wrap="square">
            <a:noAutofit/>
          </a:bodyPr>
          <a:lstStyle>
            <a:lvl1pPr>
              <a:spcBef>
                <a:spcPts val="0"/>
              </a:spcBef>
              <a:defRPr sz="324">
                <a:noFill/>
              </a:defRPr>
            </a:lvl1pPr>
            <a:lvl2pPr marL="0" indent="0">
              <a:spcBef>
                <a:spcPts val="0"/>
              </a:spcBef>
              <a:buNone/>
              <a:defRPr sz="324">
                <a:noFill/>
              </a:defRPr>
            </a:lvl2pPr>
            <a:lvl3pPr marL="0" indent="0">
              <a:spcBef>
                <a:spcPts val="0"/>
              </a:spcBef>
              <a:buNone/>
              <a:defRPr sz="324">
                <a:noFill/>
              </a:defRPr>
            </a:lvl3pPr>
            <a:lvl4pPr>
              <a:spcBef>
                <a:spcPts val="0"/>
              </a:spcBef>
              <a:defRPr sz="324" b="0">
                <a:noFill/>
              </a:defRPr>
            </a:lvl4pPr>
            <a:lvl5pPr>
              <a:spcBef>
                <a:spcPts val="0"/>
              </a:spcBef>
              <a:defRPr sz="324">
                <a:noFill/>
              </a:defRPr>
            </a:lvl5pPr>
            <a:lvl6pPr>
              <a:spcBef>
                <a:spcPts val="0"/>
              </a:spcBef>
              <a:defRPr sz="324">
                <a:noFill/>
              </a:defRPr>
            </a:lvl6pPr>
            <a:lvl7pPr>
              <a:spcBef>
                <a:spcPts val="0"/>
              </a:spcBef>
              <a:defRPr sz="324">
                <a:noFill/>
              </a:defRPr>
            </a:lvl7pPr>
            <a:lvl8pPr>
              <a:spcBef>
                <a:spcPts val="0"/>
              </a:spcBef>
              <a:defRPr sz="324">
                <a:noFill/>
              </a:defRPr>
            </a:lvl8pPr>
            <a:lvl9pPr>
              <a:spcBef>
                <a:spcPts val="0"/>
              </a:spcBef>
              <a:defRPr sz="324">
                <a:noFill/>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a:p>
        </p:txBody>
      </p:sp>
      <p:sp>
        <p:nvSpPr>
          <p:cNvPr id="31" name="Text Placeholder 5">
            <a:extLst>
              <a:ext uri="{FF2B5EF4-FFF2-40B4-BE49-F238E27FC236}">
                <a16:creationId xmlns:a16="http://schemas.microsoft.com/office/drawing/2014/main" id="{5797021D-985E-0973-26CF-15DF51748122}"/>
              </a:ext>
            </a:extLst>
          </p:cNvPr>
          <p:cNvSpPr>
            <a:spLocks noGrp="1" noChangeAspect="1"/>
          </p:cNvSpPr>
          <p:nvPr>
            <p:ph type="body" sz="quarter" idx="23"/>
          </p:nvPr>
        </p:nvSpPr>
        <p:spPr>
          <a:xfrm>
            <a:off x="4253667" y="3482012"/>
            <a:ext cx="850590" cy="1694975"/>
          </a:xfrm>
          <a:custGeom>
            <a:avLst/>
            <a:gdLst>
              <a:gd name="connsiteX0" fmla="*/ 0 w 1661668"/>
              <a:gd name="connsiteY0" fmla="*/ 0 h 1755902"/>
              <a:gd name="connsiteX1" fmla="*/ 1661668 w 1661668"/>
              <a:gd name="connsiteY1" fmla="*/ 0 h 1755902"/>
              <a:gd name="connsiteX2" fmla="*/ 826009 w 1661668"/>
              <a:gd name="connsiteY2" fmla="*/ 1755902 h 1755902"/>
              <a:gd name="connsiteX3" fmla="*/ 0 w 1661668"/>
              <a:gd name="connsiteY3" fmla="*/ 0 h 1755902"/>
            </a:gdLst>
            <a:ahLst/>
            <a:cxnLst>
              <a:cxn ang="0">
                <a:pos x="connsiteX0" y="connsiteY0"/>
              </a:cxn>
              <a:cxn ang="0">
                <a:pos x="connsiteX1" y="connsiteY1"/>
              </a:cxn>
              <a:cxn ang="0">
                <a:pos x="connsiteX2" y="connsiteY2"/>
              </a:cxn>
              <a:cxn ang="0">
                <a:pos x="connsiteX3" y="connsiteY3"/>
              </a:cxn>
            </a:cxnLst>
            <a:rect l="l" t="t" r="r" b="b"/>
            <a:pathLst>
              <a:path w="1661668" h="1755902">
                <a:moveTo>
                  <a:pt x="0" y="0"/>
                </a:moveTo>
                <a:lnTo>
                  <a:pt x="1661668" y="0"/>
                </a:lnTo>
                <a:lnTo>
                  <a:pt x="826009" y="1755902"/>
                </a:lnTo>
                <a:cubicBezTo>
                  <a:pt x="826009" y="1755902"/>
                  <a:pt x="0" y="0"/>
                  <a:pt x="0" y="0"/>
                </a:cubicBezTo>
                <a:close/>
              </a:path>
            </a:pathLst>
          </a:custGeom>
          <a:solidFill>
            <a:schemeClr val="accent1">
              <a:alpha val="33000"/>
            </a:schemeClr>
          </a:solidFill>
        </p:spPr>
        <p:txBody>
          <a:bodyPr wrap="square">
            <a:noAutofit/>
          </a:bodyPr>
          <a:lstStyle>
            <a:lvl1pPr>
              <a:spcBef>
                <a:spcPts val="0"/>
              </a:spcBef>
              <a:defRPr sz="324">
                <a:noFill/>
              </a:defRPr>
            </a:lvl1pPr>
            <a:lvl2pPr marL="0" indent="0">
              <a:spcBef>
                <a:spcPts val="0"/>
              </a:spcBef>
              <a:buNone/>
              <a:defRPr sz="324">
                <a:noFill/>
              </a:defRPr>
            </a:lvl2pPr>
            <a:lvl3pPr marL="0" indent="0">
              <a:spcBef>
                <a:spcPts val="0"/>
              </a:spcBef>
              <a:buNone/>
              <a:defRPr sz="324">
                <a:noFill/>
              </a:defRPr>
            </a:lvl3pPr>
            <a:lvl4pPr>
              <a:spcBef>
                <a:spcPts val="0"/>
              </a:spcBef>
              <a:defRPr sz="324" b="0">
                <a:noFill/>
              </a:defRPr>
            </a:lvl4pPr>
            <a:lvl5pPr>
              <a:spcBef>
                <a:spcPts val="0"/>
              </a:spcBef>
              <a:defRPr sz="324">
                <a:noFill/>
              </a:defRPr>
            </a:lvl5pPr>
            <a:lvl6pPr>
              <a:spcBef>
                <a:spcPts val="0"/>
              </a:spcBef>
              <a:defRPr sz="324">
                <a:noFill/>
              </a:defRPr>
            </a:lvl6pPr>
            <a:lvl7pPr>
              <a:spcBef>
                <a:spcPts val="0"/>
              </a:spcBef>
              <a:defRPr sz="324">
                <a:noFill/>
              </a:defRPr>
            </a:lvl7pPr>
            <a:lvl8pPr>
              <a:spcBef>
                <a:spcPts val="0"/>
              </a:spcBef>
              <a:defRPr sz="324">
                <a:noFill/>
              </a:defRPr>
            </a:lvl8pPr>
            <a:lvl9pPr>
              <a:spcBef>
                <a:spcPts val="0"/>
              </a:spcBef>
              <a:defRPr sz="324">
                <a:noFill/>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a:p>
        </p:txBody>
      </p:sp>
      <p:sp>
        <p:nvSpPr>
          <p:cNvPr id="32" name="Text Placeholder 31">
            <a:extLst>
              <a:ext uri="{FF2B5EF4-FFF2-40B4-BE49-F238E27FC236}">
                <a16:creationId xmlns:a16="http://schemas.microsoft.com/office/drawing/2014/main" id="{EB2E7923-7ED8-1CD8-94BA-243F169D2D85}"/>
              </a:ext>
            </a:extLst>
          </p:cNvPr>
          <p:cNvSpPr>
            <a:spLocks noGrp="1"/>
          </p:cNvSpPr>
          <p:nvPr>
            <p:ph type="body" sz="quarter" idx="19"/>
          </p:nvPr>
        </p:nvSpPr>
        <p:spPr>
          <a:xfrm>
            <a:off x="3408476" y="3482014"/>
            <a:ext cx="1268450" cy="1693267"/>
          </a:xfrm>
          <a:custGeom>
            <a:avLst/>
            <a:gdLst>
              <a:gd name="connsiteX0" fmla="*/ 0 w 1534287"/>
              <a:gd name="connsiteY0" fmla="*/ 0 h 1086104"/>
              <a:gd name="connsiteX1" fmla="*/ 1023366 w 1534287"/>
              <a:gd name="connsiteY1" fmla="*/ 0 h 1086104"/>
              <a:gd name="connsiteX2" fmla="*/ 1534287 w 1534287"/>
              <a:gd name="connsiteY2" fmla="*/ 1086104 h 1086104"/>
              <a:gd name="connsiteX3" fmla="*/ 510921 w 1534287"/>
              <a:gd name="connsiteY3" fmla="*/ 1086104 h 1086104"/>
              <a:gd name="connsiteX4" fmla="*/ 0 w 1534287"/>
              <a:gd name="connsiteY4" fmla="*/ 0 h 1086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4287" h="1086104">
                <a:moveTo>
                  <a:pt x="0" y="0"/>
                </a:moveTo>
                <a:lnTo>
                  <a:pt x="1023366" y="0"/>
                </a:lnTo>
                <a:lnTo>
                  <a:pt x="1534287" y="1086104"/>
                </a:lnTo>
                <a:lnTo>
                  <a:pt x="510921" y="1086104"/>
                </a:lnTo>
                <a:cubicBezTo>
                  <a:pt x="510921" y="1086104"/>
                  <a:pt x="0" y="0"/>
                  <a:pt x="0" y="0"/>
                </a:cubicBezTo>
                <a:close/>
              </a:path>
            </a:pathLst>
          </a:custGeom>
          <a:solidFill>
            <a:schemeClr val="bg1">
              <a:alpha val="50000"/>
            </a:schemeClr>
          </a:solidFill>
        </p:spPr>
        <p:txBody>
          <a:bodyPr wrap="square">
            <a:noAutofit/>
          </a:bodyPr>
          <a:lstStyle>
            <a:lvl1pPr>
              <a:spcBef>
                <a:spcPts val="0"/>
              </a:spcBef>
              <a:defRPr sz="324">
                <a:noFill/>
              </a:defRPr>
            </a:lvl1pPr>
            <a:lvl2pPr marL="0" indent="0">
              <a:spcBef>
                <a:spcPts val="0"/>
              </a:spcBef>
              <a:buNone/>
              <a:defRPr sz="324">
                <a:noFill/>
              </a:defRPr>
            </a:lvl2pPr>
            <a:lvl3pPr marL="0" indent="0">
              <a:spcBef>
                <a:spcPts val="0"/>
              </a:spcBef>
              <a:buNone/>
              <a:defRPr sz="324">
                <a:noFill/>
              </a:defRPr>
            </a:lvl3pPr>
            <a:lvl4pPr>
              <a:spcBef>
                <a:spcPts val="0"/>
              </a:spcBef>
              <a:defRPr sz="324" b="0">
                <a:noFill/>
              </a:defRPr>
            </a:lvl4pPr>
            <a:lvl5pPr>
              <a:spcBef>
                <a:spcPts val="0"/>
              </a:spcBef>
              <a:defRPr sz="324">
                <a:noFill/>
              </a:defRPr>
            </a:lvl5pPr>
            <a:lvl6pPr>
              <a:spcBef>
                <a:spcPts val="0"/>
              </a:spcBef>
              <a:defRPr sz="324">
                <a:noFill/>
              </a:defRPr>
            </a:lvl6pPr>
            <a:lvl7pPr>
              <a:spcBef>
                <a:spcPts val="0"/>
              </a:spcBef>
              <a:defRPr sz="324">
                <a:noFill/>
              </a:defRPr>
            </a:lvl7pPr>
            <a:lvl8pPr>
              <a:spcBef>
                <a:spcPts val="0"/>
              </a:spcBef>
              <a:defRPr sz="324">
                <a:noFill/>
              </a:defRPr>
            </a:lvl8pPr>
            <a:lvl9pPr>
              <a:spcBef>
                <a:spcPts val="0"/>
              </a:spcBef>
              <a:defRPr sz="324">
                <a:noFill/>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a:p>
        </p:txBody>
      </p:sp>
      <p:sp>
        <p:nvSpPr>
          <p:cNvPr id="35" name="Text Placeholder 24">
            <a:extLst>
              <a:ext uri="{FF2B5EF4-FFF2-40B4-BE49-F238E27FC236}">
                <a16:creationId xmlns:a16="http://schemas.microsoft.com/office/drawing/2014/main" id="{022B79C5-62BF-CA09-6885-DE822CF41B7A}"/>
              </a:ext>
            </a:extLst>
          </p:cNvPr>
          <p:cNvSpPr>
            <a:spLocks noGrp="1" noChangeAspect="1"/>
          </p:cNvSpPr>
          <p:nvPr>
            <p:ph type="body" sz="quarter" idx="20"/>
          </p:nvPr>
        </p:nvSpPr>
        <p:spPr>
          <a:xfrm>
            <a:off x="3830870" y="3482012"/>
            <a:ext cx="850590" cy="1694975"/>
          </a:xfrm>
          <a:custGeom>
            <a:avLst/>
            <a:gdLst>
              <a:gd name="connsiteX0" fmla="*/ 835659 w 1661668"/>
              <a:gd name="connsiteY0" fmla="*/ 0 h 1755902"/>
              <a:gd name="connsiteX1" fmla="*/ 1661668 w 1661668"/>
              <a:gd name="connsiteY1" fmla="*/ 1755902 h 1755902"/>
              <a:gd name="connsiteX2" fmla="*/ 0 w 1661668"/>
              <a:gd name="connsiteY2" fmla="*/ 1755902 h 1755902"/>
            </a:gdLst>
            <a:ahLst/>
            <a:cxnLst>
              <a:cxn ang="0">
                <a:pos x="connsiteX0" y="connsiteY0"/>
              </a:cxn>
              <a:cxn ang="0">
                <a:pos x="connsiteX1" y="connsiteY1"/>
              </a:cxn>
              <a:cxn ang="0">
                <a:pos x="connsiteX2" y="connsiteY2"/>
              </a:cxn>
            </a:cxnLst>
            <a:rect l="l" t="t" r="r" b="b"/>
            <a:pathLst>
              <a:path w="1661668" h="1755902">
                <a:moveTo>
                  <a:pt x="835659" y="0"/>
                </a:moveTo>
                <a:cubicBezTo>
                  <a:pt x="835659" y="0"/>
                  <a:pt x="1661668" y="1755902"/>
                  <a:pt x="1661668" y="1755902"/>
                </a:cubicBezTo>
                <a:lnTo>
                  <a:pt x="0" y="1755902"/>
                </a:lnTo>
                <a:close/>
              </a:path>
            </a:pathLst>
          </a:custGeom>
          <a:solidFill>
            <a:schemeClr val="accent1">
              <a:alpha val="33000"/>
            </a:schemeClr>
          </a:solidFill>
        </p:spPr>
        <p:txBody>
          <a:bodyPr wrap="square">
            <a:noAutofit/>
          </a:bodyPr>
          <a:lstStyle>
            <a:lvl1pPr>
              <a:spcBef>
                <a:spcPts val="0"/>
              </a:spcBef>
              <a:defRPr sz="324">
                <a:noFill/>
              </a:defRPr>
            </a:lvl1pPr>
            <a:lvl2pPr marL="0" indent="0">
              <a:spcBef>
                <a:spcPts val="0"/>
              </a:spcBef>
              <a:buNone/>
              <a:defRPr sz="324">
                <a:noFill/>
              </a:defRPr>
            </a:lvl2pPr>
            <a:lvl3pPr marL="0" indent="0">
              <a:spcBef>
                <a:spcPts val="0"/>
              </a:spcBef>
              <a:buNone/>
              <a:defRPr sz="324">
                <a:noFill/>
              </a:defRPr>
            </a:lvl3pPr>
            <a:lvl4pPr>
              <a:spcBef>
                <a:spcPts val="0"/>
              </a:spcBef>
              <a:defRPr sz="324" b="0">
                <a:noFill/>
              </a:defRPr>
            </a:lvl4pPr>
            <a:lvl5pPr>
              <a:spcBef>
                <a:spcPts val="0"/>
              </a:spcBef>
              <a:defRPr sz="324">
                <a:noFill/>
              </a:defRPr>
            </a:lvl5pPr>
            <a:lvl6pPr>
              <a:spcBef>
                <a:spcPts val="0"/>
              </a:spcBef>
              <a:defRPr sz="324">
                <a:noFill/>
              </a:defRPr>
            </a:lvl6pPr>
            <a:lvl7pPr>
              <a:spcBef>
                <a:spcPts val="0"/>
              </a:spcBef>
              <a:defRPr sz="324">
                <a:noFill/>
              </a:defRPr>
            </a:lvl7pPr>
            <a:lvl8pPr>
              <a:spcBef>
                <a:spcPts val="0"/>
              </a:spcBef>
              <a:defRPr sz="324">
                <a:noFill/>
              </a:defRPr>
            </a:lvl8pPr>
            <a:lvl9pPr>
              <a:spcBef>
                <a:spcPts val="0"/>
              </a:spcBef>
              <a:defRPr sz="324">
                <a:noFill/>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a:p>
        </p:txBody>
      </p:sp>
      <p:sp>
        <p:nvSpPr>
          <p:cNvPr id="39" name="Text Placeholder 38">
            <a:extLst>
              <a:ext uri="{FF2B5EF4-FFF2-40B4-BE49-F238E27FC236}">
                <a16:creationId xmlns:a16="http://schemas.microsoft.com/office/drawing/2014/main" id="{6599D0EC-660D-FC34-6C21-DA20DC3AEAB7}"/>
              </a:ext>
            </a:extLst>
          </p:cNvPr>
          <p:cNvSpPr>
            <a:spLocks noGrp="1"/>
          </p:cNvSpPr>
          <p:nvPr>
            <p:ph type="body" sz="quarter" idx="24"/>
          </p:nvPr>
        </p:nvSpPr>
        <p:spPr>
          <a:xfrm>
            <a:off x="5280228" y="7549807"/>
            <a:ext cx="1615881" cy="2154400"/>
          </a:xfrm>
          <a:custGeom>
            <a:avLst/>
            <a:gdLst>
              <a:gd name="connsiteX0" fmla="*/ 0 w 1954530"/>
              <a:gd name="connsiteY0" fmla="*/ 0 h 1381887"/>
              <a:gd name="connsiteX1" fmla="*/ 1305052 w 1954530"/>
              <a:gd name="connsiteY1" fmla="*/ 0 h 1381887"/>
              <a:gd name="connsiteX2" fmla="*/ 1954530 w 1954530"/>
              <a:gd name="connsiteY2" fmla="*/ 1381887 h 1381887"/>
              <a:gd name="connsiteX3" fmla="*/ 649478 w 1954530"/>
              <a:gd name="connsiteY3" fmla="*/ 1381887 h 1381887"/>
            </a:gdLst>
            <a:ahLst/>
            <a:cxnLst>
              <a:cxn ang="0">
                <a:pos x="connsiteX0" y="connsiteY0"/>
              </a:cxn>
              <a:cxn ang="0">
                <a:pos x="connsiteX1" y="connsiteY1"/>
              </a:cxn>
              <a:cxn ang="0">
                <a:pos x="connsiteX2" y="connsiteY2"/>
              </a:cxn>
              <a:cxn ang="0">
                <a:pos x="connsiteX3" y="connsiteY3"/>
              </a:cxn>
            </a:cxnLst>
            <a:rect l="l" t="t" r="r" b="b"/>
            <a:pathLst>
              <a:path w="1954530" h="1381887">
                <a:moveTo>
                  <a:pt x="0" y="0"/>
                </a:moveTo>
                <a:lnTo>
                  <a:pt x="1305052" y="0"/>
                </a:lnTo>
                <a:cubicBezTo>
                  <a:pt x="1305052" y="0"/>
                  <a:pt x="1954530" y="1381887"/>
                  <a:pt x="1954530" y="1381887"/>
                </a:cubicBezTo>
                <a:lnTo>
                  <a:pt x="649478" y="1381887"/>
                </a:lnTo>
                <a:close/>
              </a:path>
            </a:pathLst>
          </a:custGeom>
          <a:solidFill>
            <a:schemeClr val="bg1">
              <a:alpha val="50000"/>
            </a:schemeClr>
          </a:solidFill>
        </p:spPr>
        <p:txBody>
          <a:bodyPr wrap="square">
            <a:noAutofit/>
          </a:bodyPr>
          <a:lstStyle>
            <a:lvl1pPr>
              <a:spcBef>
                <a:spcPts val="0"/>
              </a:spcBef>
              <a:defRPr sz="324">
                <a:noFill/>
              </a:defRPr>
            </a:lvl1pPr>
            <a:lvl2pPr marL="0" indent="0">
              <a:spcBef>
                <a:spcPts val="0"/>
              </a:spcBef>
              <a:buNone/>
              <a:defRPr sz="324">
                <a:noFill/>
              </a:defRPr>
            </a:lvl2pPr>
            <a:lvl3pPr marL="0" indent="0">
              <a:spcBef>
                <a:spcPts val="0"/>
              </a:spcBef>
              <a:buNone/>
              <a:defRPr sz="324">
                <a:noFill/>
              </a:defRPr>
            </a:lvl3pPr>
            <a:lvl4pPr>
              <a:spcBef>
                <a:spcPts val="0"/>
              </a:spcBef>
              <a:defRPr sz="324" b="0">
                <a:noFill/>
              </a:defRPr>
            </a:lvl4pPr>
            <a:lvl5pPr>
              <a:spcBef>
                <a:spcPts val="0"/>
              </a:spcBef>
              <a:defRPr sz="324">
                <a:noFill/>
              </a:defRPr>
            </a:lvl5pPr>
            <a:lvl6pPr>
              <a:spcBef>
                <a:spcPts val="0"/>
              </a:spcBef>
              <a:defRPr sz="324">
                <a:noFill/>
              </a:defRPr>
            </a:lvl6pPr>
            <a:lvl7pPr>
              <a:spcBef>
                <a:spcPts val="0"/>
              </a:spcBef>
              <a:defRPr sz="324">
                <a:noFill/>
              </a:defRPr>
            </a:lvl7pPr>
            <a:lvl8pPr>
              <a:spcBef>
                <a:spcPts val="0"/>
              </a:spcBef>
              <a:defRPr sz="324">
                <a:noFill/>
              </a:defRPr>
            </a:lvl8pPr>
            <a:lvl9pPr>
              <a:spcBef>
                <a:spcPts val="0"/>
              </a:spcBef>
              <a:defRPr sz="324">
                <a:noFill/>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a:p>
        </p:txBody>
      </p:sp>
    </p:spTree>
    <p:extLst>
      <p:ext uri="{BB962C8B-B14F-4D97-AF65-F5344CB8AC3E}">
        <p14:creationId xmlns:p14="http://schemas.microsoft.com/office/powerpoint/2010/main" val="24365401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GB"/>
              <a:t>Click to edit Master title style</a:t>
            </a:r>
          </a:p>
        </p:txBody>
      </p:sp>
      <p:sp>
        <p:nvSpPr>
          <p:cNvPr id="7" name="Content Placeholder 8">
            <a:extLst>
              <a:ext uri="{FF2B5EF4-FFF2-40B4-BE49-F238E27FC236}">
                <a16:creationId xmlns:a16="http://schemas.microsoft.com/office/drawing/2014/main" id="{90448248-0EB9-324F-5283-E3BF1DCAAEC8}"/>
              </a:ext>
            </a:extLst>
          </p:cNvPr>
          <p:cNvSpPr>
            <a:spLocks noGrp="1"/>
          </p:cNvSpPr>
          <p:nvPr>
            <p:ph sz="quarter" idx="14" hasCustomPrompt="1"/>
          </p:nvPr>
        </p:nvSpPr>
        <p:spPr>
          <a:xfrm>
            <a:off x="401607" y="2846200"/>
            <a:ext cx="5803688" cy="6173750"/>
          </a:xfrm>
        </p:spPr>
        <p:txBody>
          <a:bodyPr/>
          <a:lstStyle>
            <a:lvl1pPr>
              <a:defRPr/>
            </a:lvl1pPr>
          </a:lstStyle>
          <a:p>
            <a:pPr lvl="0"/>
            <a:r>
              <a:rPr lang="en-GB"/>
              <a:t>Click to add text, or click on one of the central icons to add a table, chart, SmartArt, image or media. Press the ‘Increase/Decrease’ button under the Home tab to move through the text styles.</a:t>
            </a:r>
            <a:endParaRPr lang="en-US"/>
          </a:p>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Date Placeholder 9">
            <a:extLst>
              <a:ext uri="{FF2B5EF4-FFF2-40B4-BE49-F238E27FC236}">
                <a16:creationId xmlns:a16="http://schemas.microsoft.com/office/drawing/2014/main" id="{6105EC4C-205A-AE42-AC77-45023A8CB0A6}"/>
              </a:ext>
            </a:extLst>
          </p:cNvPr>
          <p:cNvSpPr>
            <a:spLocks noGrp="1"/>
          </p:cNvSpPr>
          <p:nvPr>
            <p:ph type="dt" sz="half" idx="15"/>
          </p:nvPr>
        </p:nvSpPr>
        <p:spPr/>
        <p:txBody>
          <a:bodyPr/>
          <a:lstStyle/>
          <a:p>
            <a:fld id="{6DB7E033-7760-4F53-AB39-23E75C1E8B96}" type="datetime1">
              <a:rPr lang="en-GB" smtClean="0"/>
              <a:t>31/07/2023</a:t>
            </a:fld>
            <a:endParaRPr lang="en-GB"/>
          </a:p>
        </p:txBody>
      </p:sp>
      <p:sp>
        <p:nvSpPr>
          <p:cNvPr id="11" name="Footer Placeholder 10">
            <a:extLst>
              <a:ext uri="{FF2B5EF4-FFF2-40B4-BE49-F238E27FC236}">
                <a16:creationId xmlns:a16="http://schemas.microsoft.com/office/drawing/2014/main" id="{B0B0CA08-E061-255E-37AD-C77C63384A76}"/>
              </a:ext>
            </a:extLst>
          </p:cNvPr>
          <p:cNvSpPr>
            <a:spLocks noGrp="1"/>
          </p:cNvSpPr>
          <p:nvPr>
            <p:ph type="ftr" sz="quarter" idx="16"/>
          </p:nvPr>
        </p:nvSpPr>
        <p:spPr/>
        <p:txBody>
          <a:bodyPr/>
          <a:lstStyle/>
          <a:p>
            <a:r>
              <a:rPr lang="en-GB"/>
              <a:t>To add a Footer, select 'Insert &gt; Header &amp; Footer'</a:t>
            </a:r>
          </a:p>
        </p:txBody>
      </p:sp>
      <p:sp>
        <p:nvSpPr>
          <p:cNvPr id="12" name="Slide Number Placeholder 11">
            <a:extLst>
              <a:ext uri="{FF2B5EF4-FFF2-40B4-BE49-F238E27FC236}">
                <a16:creationId xmlns:a16="http://schemas.microsoft.com/office/drawing/2014/main" id="{C310BF31-A4C3-377B-AEC6-33F3A1A293F1}"/>
              </a:ext>
            </a:extLst>
          </p:cNvPr>
          <p:cNvSpPr>
            <a:spLocks noGrp="1"/>
          </p:cNvSpPr>
          <p:nvPr>
            <p:ph type="sldNum" sz="quarter" idx="17"/>
          </p:nvPr>
        </p:nvSpPr>
        <p:spPr/>
        <p:txBody>
          <a:bodyPr/>
          <a:lstStyle/>
          <a:p>
            <a:r>
              <a:rPr lang="en-GB"/>
              <a:t>Page </a:t>
            </a:r>
            <a:fld id="{F5AEA0E0-5CC6-4BD0-905C-A0021E419432}" type="slidenum">
              <a:rPr lang="en-GB" smtClean="0"/>
              <a:pPr/>
              <a:t>‹#›</a:t>
            </a:fld>
            <a:endParaRPr lang="en-GB"/>
          </a:p>
        </p:txBody>
      </p:sp>
    </p:spTree>
    <p:extLst>
      <p:ext uri="{BB962C8B-B14F-4D97-AF65-F5344CB8AC3E}">
        <p14:creationId xmlns:p14="http://schemas.microsoft.com/office/powerpoint/2010/main" val="189085455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GB"/>
              <a:t>Click to edit Master title style</a:t>
            </a:r>
          </a:p>
        </p:txBody>
      </p:sp>
      <p:sp>
        <p:nvSpPr>
          <p:cNvPr id="3" name="Content Placeholder 2"/>
          <p:cNvSpPr>
            <a:spLocks noGrp="1"/>
          </p:cNvSpPr>
          <p:nvPr>
            <p:ph sz="half" idx="1" hasCustomPrompt="1"/>
          </p:nvPr>
        </p:nvSpPr>
        <p:spPr>
          <a:xfrm>
            <a:off x="401607" y="2846200"/>
            <a:ext cx="2678625" cy="6173750"/>
          </a:xfrm>
        </p:spPr>
        <p:txBody>
          <a:bodyPr/>
          <a:lstStyle>
            <a:lvl1pPr>
              <a:defRPr/>
            </a:lvl1pPr>
          </a:lstStyle>
          <a:p>
            <a:pPr lvl="0"/>
            <a:r>
              <a:rPr lang="en-US"/>
              <a:t>This slide can be used for two text boxes, or text and: chart, SmartArt, image or table.</a:t>
            </a:r>
          </a:p>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3526670" y="2846200"/>
            <a:ext cx="2678625" cy="6173750"/>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9" name="Date Placeholder 8">
            <a:extLst>
              <a:ext uri="{FF2B5EF4-FFF2-40B4-BE49-F238E27FC236}">
                <a16:creationId xmlns:a16="http://schemas.microsoft.com/office/drawing/2014/main" id="{47A1DEDE-6AEA-86E9-4E33-2C1EA515B29B}"/>
              </a:ext>
            </a:extLst>
          </p:cNvPr>
          <p:cNvSpPr>
            <a:spLocks noGrp="1"/>
          </p:cNvSpPr>
          <p:nvPr>
            <p:ph type="dt" sz="half" idx="10"/>
          </p:nvPr>
        </p:nvSpPr>
        <p:spPr/>
        <p:txBody>
          <a:bodyPr/>
          <a:lstStyle/>
          <a:p>
            <a:fld id="{93472334-F3BF-4941-B066-A9089F7890EF}" type="datetime1">
              <a:rPr lang="en-GB" smtClean="0"/>
              <a:t>31/07/2023</a:t>
            </a:fld>
            <a:endParaRPr lang="en-GB"/>
          </a:p>
        </p:txBody>
      </p:sp>
      <p:sp>
        <p:nvSpPr>
          <p:cNvPr id="10" name="Footer Placeholder 9">
            <a:extLst>
              <a:ext uri="{FF2B5EF4-FFF2-40B4-BE49-F238E27FC236}">
                <a16:creationId xmlns:a16="http://schemas.microsoft.com/office/drawing/2014/main" id="{A2BBABFD-F4F5-2DE9-E006-D11D24911AFB}"/>
              </a:ext>
            </a:extLst>
          </p:cNvPr>
          <p:cNvSpPr>
            <a:spLocks noGrp="1"/>
          </p:cNvSpPr>
          <p:nvPr>
            <p:ph type="ftr" sz="quarter" idx="11"/>
          </p:nvPr>
        </p:nvSpPr>
        <p:spPr/>
        <p:txBody>
          <a:bodyPr/>
          <a:lstStyle/>
          <a:p>
            <a:r>
              <a:rPr lang="en-GB"/>
              <a:t>To add a Footer, select 'Insert &gt; Header &amp; Footer'</a:t>
            </a:r>
          </a:p>
        </p:txBody>
      </p:sp>
      <p:sp>
        <p:nvSpPr>
          <p:cNvPr id="11" name="Slide Number Placeholder 10">
            <a:extLst>
              <a:ext uri="{FF2B5EF4-FFF2-40B4-BE49-F238E27FC236}">
                <a16:creationId xmlns:a16="http://schemas.microsoft.com/office/drawing/2014/main" id="{E07799FD-E5BC-A43F-4E9E-C3BC17F3CF7E}"/>
              </a:ext>
            </a:extLst>
          </p:cNvPr>
          <p:cNvSpPr>
            <a:spLocks noGrp="1"/>
          </p:cNvSpPr>
          <p:nvPr>
            <p:ph type="sldNum" sz="quarter" idx="12"/>
          </p:nvPr>
        </p:nvSpPr>
        <p:spPr/>
        <p:txBody>
          <a:bodyPr/>
          <a:lstStyle/>
          <a:p>
            <a:r>
              <a:rPr lang="en-GB"/>
              <a:t>Page </a:t>
            </a:r>
            <a:fld id="{F5AEA0E0-5CC6-4BD0-905C-A0021E419432}" type="slidenum">
              <a:rPr lang="en-GB" smtClean="0"/>
              <a:pPr/>
              <a:t>‹#›</a:t>
            </a:fld>
            <a:endParaRPr lang="en-GB"/>
          </a:p>
        </p:txBody>
      </p:sp>
    </p:spTree>
    <p:extLst>
      <p:ext uri="{BB962C8B-B14F-4D97-AF65-F5344CB8AC3E}">
        <p14:creationId xmlns:p14="http://schemas.microsoft.com/office/powerpoint/2010/main" val="331880685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GB"/>
              <a:t>Click to edit Master title style</a:t>
            </a:r>
          </a:p>
        </p:txBody>
      </p:sp>
      <p:sp>
        <p:nvSpPr>
          <p:cNvPr id="7" name="Content Placeholder 8">
            <a:extLst>
              <a:ext uri="{FF2B5EF4-FFF2-40B4-BE49-F238E27FC236}">
                <a16:creationId xmlns:a16="http://schemas.microsoft.com/office/drawing/2014/main" id="{90448248-0EB9-324F-5283-E3BF1DCAAEC8}"/>
              </a:ext>
            </a:extLst>
          </p:cNvPr>
          <p:cNvSpPr>
            <a:spLocks noGrp="1"/>
          </p:cNvSpPr>
          <p:nvPr>
            <p:ph sz="quarter" idx="14" hasCustomPrompt="1"/>
          </p:nvPr>
        </p:nvSpPr>
        <p:spPr>
          <a:xfrm>
            <a:off x="401607" y="3688073"/>
            <a:ext cx="5803688" cy="5331875"/>
          </a:xfrm>
        </p:spPr>
        <p:txBody>
          <a:bodyPr/>
          <a:lstStyle>
            <a:lvl1pPr>
              <a:defRPr/>
            </a:lvl1pPr>
          </a:lstStyle>
          <a:p>
            <a:pPr lvl="0"/>
            <a:r>
              <a:rPr lang="en-GB"/>
              <a:t>Select one of the central icons to add a table, chart, SmartArt, image or media</a:t>
            </a:r>
            <a:endParaRPr lang="en-US"/>
          </a:p>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Date Placeholder 9">
            <a:extLst>
              <a:ext uri="{FF2B5EF4-FFF2-40B4-BE49-F238E27FC236}">
                <a16:creationId xmlns:a16="http://schemas.microsoft.com/office/drawing/2014/main" id="{6105EC4C-205A-AE42-AC77-45023A8CB0A6}"/>
              </a:ext>
            </a:extLst>
          </p:cNvPr>
          <p:cNvSpPr>
            <a:spLocks noGrp="1"/>
          </p:cNvSpPr>
          <p:nvPr>
            <p:ph type="dt" sz="half" idx="15"/>
          </p:nvPr>
        </p:nvSpPr>
        <p:spPr/>
        <p:txBody>
          <a:bodyPr/>
          <a:lstStyle/>
          <a:p>
            <a:fld id="{B95440ED-8C89-4301-B204-2D326E26EA6F}" type="datetime1">
              <a:rPr lang="en-GB" smtClean="0"/>
              <a:t>31/07/2023</a:t>
            </a:fld>
            <a:endParaRPr lang="en-GB"/>
          </a:p>
        </p:txBody>
      </p:sp>
      <p:sp>
        <p:nvSpPr>
          <p:cNvPr id="11" name="Footer Placeholder 10">
            <a:extLst>
              <a:ext uri="{FF2B5EF4-FFF2-40B4-BE49-F238E27FC236}">
                <a16:creationId xmlns:a16="http://schemas.microsoft.com/office/drawing/2014/main" id="{B0B0CA08-E061-255E-37AD-C77C63384A76}"/>
              </a:ext>
            </a:extLst>
          </p:cNvPr>
          <p:cNvSpPr>
            <a:spLocks noGrp="1"/>
          </p:cNvSpPr>
          <p:nvPr>
            <p:ph type="ftr" sz="quarter" idx="16"/>
          </p:nvPr>
        </p:nvSpPr>
        <p:spPr/>
        <p:txBody>
          <a:bodyPr/>
          <a:lstStyle/>
          <a:p>
            <a:r>
              <a:rPr lang="en-GB"/>
              <a:t>To add a Footer, select 'Insert &gt; Header &amp; Footer'</a:t>
            </a:r>
          </a:p>
        </p:txBody>
      </p:sp>
      <p:sp>
        <p:nvSpPr>
          <p:cNvPr id="12" name="Slide Number Placeholder 11">
            <a:extLst>
              <a:ext uri="{FF2B5EF4-FFF2-40B4-BE49-F238E27FC236}">
                <a16:creationId xmlns:a16="http://schemas.microsoft.com/office/drawing/2014/main" id="{C310BF31-A4C3-377B-AEC6-33F3A1A293F1}"/>
              </a:ext>
            </a:extLst>
          </p:cNvPr>
          <p:cNvSpPr>
            <a:spLocks noGrp="1"/>
          </p:cNvSpPr>
          <p:nvPr>
            <p:ph type="sldNum" sz="quarter" idx="17"/>
          </p:nvPr>
        </p:nvSpPr>
        <p:spPr/>
        <p:txBody>
          <a:bodyPr/>
          <a:lstStyle/>
          <a:p>
            <a:r>
              <a:rPr lang="en-GB"/>
              <a:t>Page </a:t>
            </a:r>
            <a:fld id="{F5AEA0E0-5CC6-4BD0-905C-A0021E419432}" type="slidenum">
              <a:rPr lang="en-GB" smtClean="0"/>
              <a:pPr/>
              <a:t>‹#›</a:t>
            </a:fld>
            <a:endParaRPr lang="en-GB"/>
          </a:p>
        </p:txBody>
      </p:sp>
      <p:sp>
        <p:nvSpPr>
          <p:cNvPr id="4" name="Text Placeholder 3">
            <a:extLst>
              <a:ext uri="{FF2B5EF4-FFF2-40B4-BE49-F238E27FC236}">
                <a16:creationId xmlns:a16="http://schemas.microsoft.com/office/drawing/2014/main" id="{2D2EE1AF-A60C-0DAE-29BA-0F1D2FBF76CB}"/>
              </a:ext>
            </a:extLst>
          </p:cNvPr>
          <p:cNvSpPr>
            <a:spLocks noGrp="1"/>
          </p:cNvSpPr>
          <p:nvPr>
            <p:ph type="body" sz="quarter" idx="18" hasCustomPrompt="1"/>
          </p:nvPr>
        </p:nvSpPr>
        <p:spPr>
          <a:xfrm>
            <a:off x="401607" y="2553416"/>
            <a:ext cx="5803688" cy="841875"/>
          </a:xfrm>
        </p:spPr>
        <p:txBody>
          <a:bodyPr/>
          <a:lstStyle>
            <a:lvl1pPr>
              <a:defRPr/>
            </a:lvl1pPr>
          </a:lstStyle>
          <a:p>
            <a:pPr lvl="0"/>
            <a:r>
              <a:rPr lang="en-GB"/>
              <a:t>Click to add text</a:t>
            </a:r>
            <a:endParaRPr lang="en-AU"/>
          </a:p>
        </p:txBody>
      </p:sp>
    </p:spTree>
    <p:extLst>
      <p:ext uri="{BB962C8B-B14F-4D97-AF65-F5344CB8AC3E}">
        <p14:creationId xmlns:p14="http://schemas.microsoft.com/office/powerpoint/2010/main" val="346540655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text and imag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0DFAE338-542F-062A-113E-84D5DEAC9297}"/>
              </a:ext>
            </a:extLst>
          </p:cNvPr>
          <p:cNvSpPr>
            <a:spLocks noGrp="1" noChangeAspect="1"/>
          </p:cNvSpPr>
          <p:nvPr>
            <p:ph type="pic" sz="quarter" idx="14" hasCustomPrompt="1"/>
          </p:nvPr>
        </p:nvSpPr>
        <p:spPr>
          <a:xfrm>
            <a:off x="4005577" y="2235933"/>
            <a:ext cx="3549588" cy="7470065"/>
          </a:xfrm>
          <a:custGeom>
            <a:avLst/>
            <a:gdLst>
              <a:gd name="connsiteX0" fmla="*/ 2272483 w 4293496"/>
              <a:gd name="connsiteY0" fmla="*/ 0 h 4791489"/>
              <a:gd name="connsiteX1" fmla="*/ 4293496 w 4293496"/>
              <a:gd name="connsiteY1" fmla="*/ 0 h 4791489"/>
              <a:gd name="connsiteX2" fmla="*/ 4293496 w 4293496"/>
              <a:gd name="connsiteY2" fmla="*/ 4791489 h 4791489"/>
              <a:gd name="connsiteX3" fmla="*/ 0 w 4293496"/>
              <a:gd name="connsiteY3" fmla="*/ 4791489 h 4791489"/>
            </a:gdLst>
            <a:ahLst/>
            <a:cxnLst>
              <a:cxn ang="0">
                <a:pos x="connsiteX0" y="connsiteY0"/>
              </a:cxn>
              <a:cxn ang="0">
                <a:pos x="connsiteX1" y="connsiteY1"/>
              </a:cxn>
              <a:cxn ang="0">
                <a:pos x="connsiteX2" y="connsiteY2"/>
              </a:cxn>
              <a:cxn ang="0">
                <a:pos x="connsiteX3" y="connsiteY3"/>
              </a:cxn>
            </a:cxnLst>
            <a:rect l="l" t="t" r="r" b="b"/>
            <a:pathLst>
              <a:path w="4293496" h="4791489">
                <a:moveTo>
                  <a:pt x="2272483" y="0"/>
                </a:moveTo>
                <a:lnTo>
                  <a:pt x="4293496" y="0"/>
                </a:lnTo>
                <a:lnTo>
                  <a:pt x="4293496" y="4791489"/>
                </a:lnTo>
                <a:lnTo>
                  <a:pt x="0" y="4791489"/>
                </a:lnTo>
                <a:close/>
              </a:path>
            </a:pathLst>
          </a:custGeom>
          <a:solidFill>
            <a:schemeClr val="bg1">
              <a:lumMod val="75000"/>
            </a:schemeClr>
          </a:solidFill>
        </p:spPr>
        <p:txBody>
          <a:bodyPr wrap="square" lIns="2520000" tIns="288000" rIns="360000" bIns="360000" anchor="t" anchorCtr="0">
            <a:noAutofit/>
          </a:bodyPr>
          <a:lstStyle>
            <a:lvl1pPr algn="r">
              <a:defRPr sz="1133" b="0">
                <a:solidFill>
                  <a:schemeClr val="bg1"/>
                </a:solidFill>
                <a:latin typeface="+mj-lt"/>
                <a:ea typeface="Roboto" panose="02000000000000000000" pitchFamily="2" charset="0"/>
              </a:defRPr>
            </a:lvl1pPr>
            <a:lvl2pPr algn="ctr">
              <a:defRPr b="0">
                <a:solidFill>
                  <a:schemeClr val="accent2"/>
                </a:solidFill>
                <a:latin typeface="Roboto" panose="02000000000000000000" pitchFamily="2" charset="0"/>
                <a:ea typeface="Roboto" panose="02000000000000000000" pitchFamily="2" charset="0"/>
              </a:defRPr>
            </a:lvl2pPr>
          </a:lstStyle>
          <a:p>
            <a:r>
              <a:rPr lang="en-AU"/>
              <a:t>To insert an image, select ‘Insert Picture’, or click on icon. Select ‘Picture Format &gt; Crop’ to edit size and position of picture.</a:t>
            </a:r>
          </a:p>
        </p:txBody>
      </p:sp>
      <p:sp>
        <p:nvSpPr>
          <p:cNvPr id="10" name="Text Placeholder 8">
            <a:extLst>
              <a:ext uri="{FF2B5EF4-FFF2-40B4-BE49-F238E27FC236}">
                <a16:creationId xmlns:a16="http://schemas.microsoft.com/office/drawing/2014/main" id="{3399DAD4-A874-4EAB-AB3C-820568E6E783}"/>
              </a:ext>
            </a:extLst>
          </p:cNvPr>
          <p:cNvSpPr>
            <a:spLocks noGrp="1"/>
          </p:cNvSpPr>
          <p:nvPr>
            <p:ph type="body" sz="quarter" idx="13"/>
          </p:nvPr>
        </p:nvSpPr>
        <p:spPr>
          <a:xfrm>
            <a:off x="401606" y="2846200"/>
            <a:ext cx="4910813" cy="6173750"/>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a:p>
        </p:txBody>
      </p:sp>
      <p:sp>
        <p:nvSpPr>
          <p:cNvPr id="3" name="Title 2">
            <a:extLst>
              <a:ext uri="{FF2B5EF4-FFF2-40B4-BE49-F238E27FC236}">
                <a16:creationId xmlns:a16="http://schemas.microsoft.com/office/drawing/2014/main" id="{564EBA4A-B347-103C-AA7B-74A81B6E6CA7}"/>
              </a:ext>
            </a:extLst>
          </p:cNvPr>
          <p:cNvSpPr>
            <a:spLocks noGrp="1"/>
          </p:cNvSpPr>
          <p:nvPr>
            <p:ph type="title"/>
          </p:nvPr>
        </p:nvSpPr>
        <p:spPr>
          <a:xfrm>
            <a:off x="401606" y="599396"/>
            <a:ext cx="4910813" cy="1122500"/>
          </a:xfrm>
        </p:spPr>
        <p:txBody>
          <a:bodyPr/>
          <a:lstStyle/>
          <a:p>
            <a:r>
              <a:rPr lang="en-GB"/>
              <a:t>Click to edit Master title style</a:t>
            </a:r>
            <a:endParaRPr lang="en-AU"/>
          </a:p>
        </p:txBody>
      </p:sp>
      <p:sp>
        <p:nvSpPr>
          <p:cNvPr id="11" name="Text Placeholder 10">
            <a:extLst>
              <a:ext uri="{FF2B5EF4-FFF2-40B4-BE49-F238E27FC236}">
                <a16:creationId xmlns:a16="http://schemas.microsoft.com/office/drawing/2014/main" id="{3B49C342-B9AA-BE4C-DBA6-A414FD6F6656}"/>
              </a:ext>
            </a:extLst>
          </p:cNvPr>
          <p:cNvSpPr>
            <a:spLocks noGrp="1"/>
          </p:cNvSpPr>
          <p:nvPr>
            <p:ph type="body" sz="quarter" idx="16"/>
          </p:nvPr>
        </p:nvSpPr>
        <p:spPr>
          <a:xfrm>
            <a:off x="6645884" y="6085434"/>
            <a:ext cx="909283" cy="3620562"/>
          </a:xfrm>
          <a:custGeom>
            <a:avLst/>
            <a:gdLst>
              <a:gd name="connsiteX0" fmla="*/ 1099846 w 1099846"/>
              <a:gd name="connsiteY0" fmla="*/ 0 h 2322320"/>
              <a:gd name="connsiteX1" fmla="*/ 1099846 w 1099846"/>
              <a:gd name="connsiteY1" fmla="*/ 2322320 h 2322320"/>
              <a:gd name="connsiteX2" fmla="*/ 0 w 1099846"/>
              <a:gd name="connsiteY2" fmla="*/ 2322320 h 2322320"/>
            </a:gdLst>
            <a:ahLst/>
            <a:cxnLst>
              <a:cxn ang="0">
                <a:pos x="connsiteX0" y="connsiteY0"/>
              </a:cxn>
              <a:cxn ang="0">
                <a:pos x="connsiteX1" y="connsiteY1"/>
              </a:cxn>
              <a:cxn ang="0">
                <a:pos x="connsiteX2" y="connsiteY2"/>
              </a:cxn>
            </a:cxnLst>
            <a:rect l="l" t="t" r="r" b="b"/>
            <a:pathLst>
              <a:path w="1099846" h="2322320">
                <a:moveTo>
                  <a:pt x="1099846" y="0"/>
                </a:moveTo>
                <a:lnTo>
                  <a:pt x="1099846" y="2322320"/>
                </a:lnTo>
                <a:lnTo>
                  <a:pt x="0" y="2322320"/>
                </a:lnTo>
                <a:close/>
              </a:path>
            </a:pathLst>
          </a:custGeom>
          <a:solidFill>
            <a:schemeClr val="tx2">
              <a:alpha val="65000"/>
            </a:schemeClr>
          </a:solidFill>
        </p:spPr>
        <p:txBody>
          <a:bodyPr wrap="square">
            <a:noAutofit/>
          </a:bodyPr>
          <a:lstStyle>
            <a:lvl1pPr>
              <a:spcBef>
                <a:spcPts val="0"/>
              </a:spcBef>
              <a:defRPr sz="324">
                <a:noFill/>
              </a:defRPr>
            </a:lvl1pPr>
            <a:lvl2pPr marL="0" indent="0">
              <a:spcBef>
                <a:spcPts val="0"/>
              </a:spcBef>
              <a:buNone/>
              <a:defRPr sz="324">
                <a:noFill/>
              </a:defRPr>
            </a:lvl2pPr>
            <a:lvl3pPr marL="0" indent="0">
              <a:spcBef>
                <a:spcPts val="0"/>
              </a:spcBef>
              <a:buNone/>
              <a:defRPr sz="324">
                <a:noFill/>
              </a:defRPr>
            </a:lvl3pPr>
            <a:lvl4pPr>
              <a:spcBef>
                <a:spcPts val="0"/>
              </a:spcBef>
              <a:defRPr sz="324" b="0">
                <a:noFill/>
              </a:defRPr>
            </a:lvl4pPr>
            <a:lvl5pPr>
              <a:spcBef>
                <a:spcPts val="0"/>
              </a:spcBef>
              <a:defRPr sz="324">
                <a:noFill/>
              </a:defRPr>
            </a:lvl5pPr>
            <a:lvl6pPr>
              <a:spcBef>
                <a:spcPts val="0"/>
              </a:spcBef>
              <a:defRPr sz="324">
                <a:noFill/>
              </a:defRPr>
            </a:lvl6pPr>
            <a:lvl7pPr>
              <a:spcBef>
                <a:spcPts val="0"/>
              </a:spcBef>
              <a:defRPr sz="324">
                <a:noFill/>
              </a:defRPr>
            </a:lvl7pPr>
            <a:lvl8pPr>
              <a:spcBef>
                <a:spcPts val="0"/>
              </a:spcBef>
              <a:defRPr sz="324">
                <a:noFill/>
              </a:defRPr>
            </a:lvl8pPr>
            <a:lvl9pPr>
              <a:spcBef>
                <a:spcPts val="0"/>
              </a:spcBef>
              <a:defRPr sz="324">
                <a:noFill/>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a:p>
        </p:txBody>
      </p:sp>
      <p:sp>
        <p:nvSpPr>
          <p:cNvPr id="39" name="Date Placeholder 38">
            <a:extLst>
              <a:ext uri="{FF2B5EF4-FFF2-40B4-BE49-F238E27FC236}">
                <a16:creationId xmlns:a16="http://schemas.microsoft.com/office/drawing/2014/main" id="{F698BA25-4BD0-67D4-7C71-C0E01B8EC811}"/>
              </a:ext>
            </a:extLst>
          </p:cNvPr>
          <p:cNvSpPr>
            <a:spLocks noGrp="1"/>
          </p:cNvSpPr>
          <p:nvPr>
            <p:ph type="dt" sz="half" idx="17"/>
          </p:nvPr>
        </p:nvSpPr>
        <p:spPr/>
        <p:txBody>
          <a:bodyPr/>
          <a:lstStyle/>
          <a:p>
            <a:fld id="{920A0E56-D0C5-4B3E-813B-A90A31A1DAA6}" type="datetime1">
              <a:rPr lang="en-GB" smtClean="0"/>
              <a:t>31/07/2023</a:t>
            </a:fld>
            <a:endParaRPr lang="en-GB"/>
          </a:p>
        </p:txBody>
      </p:sp>
      <p:sp>
        <p:nvSpPr>
          <p:cNvPr id="40" name="Footer Placeholder 39">
            <a:extLst>
              <a:ext uri="{FF2B5EF4-FFF2-40B4-BE49-F238E27FC236}">
                <a16:creationId xmlns:a16="http://schemas.microsoft.com/office/drawing/2014/main" id="{9C50C287-886F-8EE0-566B-F65B7FD7A54F}"/>
              </a:ext>
            </a:extLst>
          </p:cNvPr>
          <p:cNvSpPr>
            <a:spLocks noGrp="1"/>
          </p:cNvSpPr>
          <p:nvPr>
            <p:ph type="ftr" sz="quarter" idx="18"/>
          </p:nvPr>
        </p:nvSpPr>
        <p:spPr/>
        <p:txBody>
          <a:bodyPr/>
          <a:lstStyle/>
          <a:p>
            <a:r>
              <a:rPr lang="en-GB"/>
              <a:t>To add a Footer, select 'Insert &gt; Header &amp; Footer'</a:t>
            </a:r>
          </a:p>
        </p:txBody>
      </p:sp>
      <p:sp>
        <p:nvSpPr>
          <p:cNvPr id="41" name="Slide Number Placeholder 40">
            <a:extLst>
              <a:ext uri="{FF2B5EF4-FFF2-40B4-BE49-F238E27FC236}">
                <a16:creationId xmlns:a16="http://schemas.microsoft.com/office/drawing/2014/main" id="{ECB20DFD-4DFE-0F76-52E2-4F336B547E1E}"/>
              </a:ext>
            </a:extLst>
          </p:cNvPr>
          <p:cNvSpPr>
            <a:spLocks noGrp="1"/>
          </p:cNvSpPr>
          <p:nvPr>
            <p:ph type="sldNum" sz="quarter" idx="19"/>
          </p:nvPr>
        </p:nvSpPr>
        <p:spPr/>
        <p:txBody>
          <a:bodyPr/>
          <a:lstStyle/>
          <a:p>
            <a:r>
              <a:rPr lang="en-GB"/>
              <a:t>Page </a:t>
            </a:r>
            <a:fld id="{F5AEA0E0-5CC6-4BD0-905C-A0021E419432}" type="slidenum">
              <a:rPr lang="en-GB" smtClean="0"/>
              <a:pPr/>
              <a:t>‹#›</a:t>
            </a:fld>
            <a:endParaRPr lang="en-GB"/>
          </a:p>
        </p:txBody>
      </p:sp>
    </p:spTree>
    <p:extLst>
      <p:ext uri="{BB962C8B-B14F-4D97-AF65-F5344CB8AC3E}">
        <p14:creationId xmlns:p14="http://schemas.microsoft.com/office/powerpoint/2010/main" val="29618778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laarge image">
    <p:spTree>
      <p:nvGrpSpPr>
        <p:cNvPr id="1" name=""/>
        <p:cNvGrpSpPr/>
        <p:nvPr/>
      </p:nvGrpSpPr>
      <p:grpSpPr>
        <a:xfrm>
          <a:off x="0" y="0"/>
          <a:ext cx="0" cy="0"/>
          <a:chOff x="0" y="0"/>
          <a:chExt cx="0" cy="0"/>
        </a:xfrm>
      </p:grpSpPr>
      <p:sp>
        <p:nvSpPr>
          <p:cNvPr id="29" name="Picture Placeholder 28">
            <a:extLst>
              <a:ext uri="{FF2B5EF4-FFF2-40B4-BE49-F238E27FC236}">
                <a16:creationId xmlns:a16="http://schemas.microsoft.com/office/drawing/2014/main" id="{84F04595-8F0F-9159-49EE-2EF24C129E8A}"/>
              </a:ext>
            </a:extLst>
          </p:cNvPr>
          <p:cNvSpPr>
            <a:spLocks noGrp="1" noChangeAspect="1"/>
          </p:cNvSpPr>
          <p:nvPr>
            <p:ph type="pic" sz="quarter" idx="14" hasCustomPrompt="1"/>
          </p:nvPr>
        </p:nvSpPr>
        <p:spPr>
          <a:xfrm>
            <a:off x="0" y="2235932"/>
            <a:ext cx="7559675" cy="7455376"/>
          </a:xfrm>
          <a:prstGeom prst="rect">
            <a:avLst/>
          </a:prstGeom>
          <a:solidFill>
            <a:schemeClr val="bg1">
              <a:lumMod val="75000"/>
            </a:schemeClr>
          </a:solidFill>
        </p:spPr>
        <p:txBody>
          <a:bodyPr wrap="square" lIns="648000" tIns="288000" rIns="4320000" bIns="360000" anchor="t" anchorCtr="0">
            <a:noAutofit/>
          </a:bodyPr>
          <a:lstStyle>
            <a:lvl1pPr algn="l">
              <a:defRPr sz="1133" b="0">
                <a:solidFill>
                  <a:schemeClr val="bg1"/>
                </a:solidFill>
                <a:latin typeface="+mj-lt"/>
                <a:ea typeface="Roboto" panose="02000000000000000000" pitchFamily="2" charset="0"/>
              </a:defRPr>
            </a:lvl1pPr>
            <a:lvl2pPr algn="ctr">
              <a:defRPr b="0">
                <a:solidFill>
                  <a:schemeClr val="accent2"/>
                </a:solidFill>
                <a:latin typeface="Roboto" panose="02000000000000000000" pitchFamily="2" charset="0"/>
                <a:ea typeface="Roboto" panose="02000000000000000000" pitchFamily="2" charset="0"/>
              </a:defRPr>
            </a:lvl2pPr>
          </a:lstStyle>
          <a:p>
            <a:r>
              <a:rPr lang="en-AU"/>
              <a:t>To insert an image, select ‘Insert Picture’, or click on icon. Select ‘Picture Format &gt; Crop’ to edit size and position of picture.</a:t>
            </a:r>
          </a:p>
        </p:txBody>
      </p:sp>
      <p:sp>
        <p:nvSpPr>
          <p:cNvPr id="3" name="Title 2">
            <a:extLst>
              <a:ext uri="{FF2B5EF4-FFF2-40B4-BE49-F238E27FC236}">
                <a16:creationId xmlns:a16="http://schemas.microsoft.com/office/drawing/2014/main" id="{564EBA4A-B347-103C-AA7B-74A81B6E6CA7}"/>
              </a:ext>
            </a:extLst>
          </p:cNvPr>
          <p:cNvSpPr>
            <a:spLocks noGrp="1"/>
          </p:cNvSpPr>
          <p:nvPr>
            <p:ph type="title"/>
          </p:nvPr>
        </p:nvSpPr>
        <p:spPr>
          <a:xfrm>
            <a:off x="401607" y="599396"/>
            <a:ext cx="3125063" cy="1122500"/>
          </a:xfrm>
        </p:spPr>
        <p:txBody>
          <a:bodyPr/>
          <a:lstStyle/>
          <a:p>
            <a:r>
              <a:rPr lang="en-GB"/>
              <a:t>Click to edit Master title style</a:t>
            </a:r>
            <a:endParaRPr lang="en-AU"/>
          </a:p>
        </p:txBody>
      </p:sp>
      <p:sp>
        <p:nvSpPr>
          <p:cNvPr id="2" name="Date Placeholder 1">
            <a:extLst>
              <a:ext uri="{FF2B5EF4-FFF2-40B4-BE49-F238E27FC236}">
                <a16:creationId xmlns:a16="http://schemas.microsoft.com/office/drawing/2014/main" id="{029D1A89-6D04-E6B7-642A-FC4A5D65F2FE}"/>
              </a:ext>
            </a:extLst>
          </p:cNvPr>
          <p:cNvSpPr>
            <a:spLocks noGrp="1"/>
          </p:cNvSpPr>
          <p:nvPr>
            <p:ph type="dt" sz="half" idx="17"/>
          </p:nvPr>
        </p:nvSpPr>
        <p:spPr/>
        <p:txBody>
          <a:bodyPr/>
          <a:lstStyle>
            <a:lvl1pPr>
              <a:defRPr>
                <a:solidFill>
                  <a:schemeClr val="accent6"/>
                </a:solidFill>
              </a:defRPr>
            </a:lvl1pPr>
          </a:lstStyle>
          <a:p>
            <a:fld id="{3C048CFF-D5A4-4BED-AD1A-14E8D2CBA798}" type="datetime1">
              <a:rPr lang="en-GB" smtClean="0"/>
              <a:pPr/>
              <a:t>31/07/2023</a:t>
            </a:fld>
            <a:endParaRPr lang="en-GB"/>
          </a:p>
        </p:txBody>
      </p:sp>
      <p:sp>
        <p:nvSpPr>
          <p:cNvPr id="4" name="Footer Placeholder 3">
            <a:extLst>
              <a:ext uri="{FF2B5EF4-FFF2-40B4-BE49-F238E27FC236}">
                <a16:creationId xmlns:a16="http://schemas.microsoft.com/office/drawing/2014/main" id="{EF0ACF10-A8A1-158D-77C0-F1470495E064}"/>
              </a:ext>
            </a:extLst>
          </p:cNvPr>
          <p:cNvSpPr>
            <a:spLocks noGrp="1"/>
          </p:cNvSpPr>
          <p:nvPr>
            <p:ph type="ftr" sz="quarter" idx="18"/>
          </p:nvPr>
        </p:nvSpPr>
        <p:spPr/>
        <p:txBody>
          <a:bodyPr/>
          <a:lstStyle>
            <a:lvl1pPr>
              <a:defRPr>
                <a:solidFill>
                  <a:schemeClr val="accent6"/>
                </a:solidFill>
              </a:defRPr>
            </a:lvl1pPr>
          </a:lstStyle>
          <a:p>
            <a:r>
              <a:rPr lang="en-GB"/>
              <a:t>To add a Footer, select 'Insert &gt; Header &amp; Footer'</a:t>
            </a:r>
          </a:p>
        </p:txBody>
      </p:sp>
      <p:sp>
        <p:nvSpPr>
          <p:cNvPr id="8" name="Slide Number Placeholder 7">
            <a:extLst>
              <a:ext uri="{FF2B5EF4-FFF2-40B4-BE49-F238E27FC236}">
                <a16:creationId xmlns:a16="http://schemas.microsoft.com/office/drawing/2014/main" id="{17DED0C4-FEDA-7F07-651E-81D65BEE7C93}"/>
              </a:ext>
            </a:extLst>
          </p:cNvPr>
          <p:cNvSpPr>
            <a:spLocks noGrp="1"/>
          </p:cNvSpPr>
          <p:nvPr>
            <p:ph type="sldNum" sz="quarter" idx="19"/>
          </p:nvPr>
        </p:nvSpPr>
        <p:spPr/>
        <p:txBody>
          <a:bodyPr/>
          <a:lstStyle>
            <a:lvl1pPr>
              <a:defRPr>
                <a:solidFill>
                  <a:schemeClr val="accent6"/>
                </a:solidFill>
              </a:defRPr>
            </a:lvl1pPr>
          </a:lstStyle>
          <a:p>
            <a:r>
              <a:rPr lang="en-GB"/>
              <a:t>Page </a:t>
            </a:r>
            <a:fld id="{F5AEA0E0-5CC6-4BD0-905C-A0021E419432}" type="slidenum">
              <a:rPr lang="en-GB" smtClean="0"/>
              <a:pPr/>
              <a:t>‹#›</a:t>
            </a:fld>
            <a:endParaRPr lang="en-GB"/>
          </a:p>
        </p:txBody>
      </p:sp>
      <p:sp>
        <p:nvSpPr>
          <p:cNvPr id="7" name="Text Placeholder 6">
            <a:extLst>
              <a:ext uri="{FF2B5EF4-FFF2-40B4-BE49-F238E27FC236}">
                <a16:creationId xmlns:a16="http://schemas.microsoft.com/office/drawing/2014/main" id="{F2C391D5-CDF7-2EA7-BE15-53AD611FD5D2}"/>
              </a:ext>
            </a:extLst>
          </p:cNvPr>
          <p:cNvSpPr>
            <a:spLocks noGrp="1"/>
          </p:cNvSpPr>
          <p:nvPr>
            <p:ph type="body" sz="quarter" idx="16"/>
          </p:nvPr>
        </p:nvSpPr>
        <p:spPr>
          <a:xfrm>
            <a:off x="4005577" y="2235933"/>
            <a:ext cx="3549588" cy="7470065"/>
          </a:xfrm>
          <a:custGeom>
            <a:avLst/>
            <a:gdLst>
              <a:gd name="connsiteX0" fmla="*/ 2272483 w 4293496"/>
              <a:gd name="connsiteY0" fmla="*/ 0 h 4791489"/>
              <a:gd name="connsiteX1" fmla="*/ 4293496 w 4293496"/>
              <a:gd name="connsiteY1" fmla="*/ 0 h 4791489"/>
              <a:gd name="connsiteX2" fmla="*/ 4293496 w 4293496"/>
              <a:gd name="connsiteY2" fmla="*/ 4791489 h 4791489"/>
              <a:gd name="connsiteX3" fmla="*/ 0 w 4293496"/>
              <a:gd name="connsiteY3" fmla="*/ 4791489 h 4791489"/>
            </a:gdLst>
            <a:ahLst/>
            <a:cxnLst>
              <a:cxn ang="0">
                <a:pos x="connsiteX0" y="connsiteY0"/>
              </a:cxn>
              <a:cxn ang="0">
                <a:pos x="connsiteX1" y="connsiteY1"/>
              </a:cxn>
              <a:cxn ang="0">
                <a:pos x="connsiteX2" y="connsiteY2"/>
              </a:cxn>
              <a:cxn ang="0">
                <a:pos x="connsiteX3" y="connsiteY3"/>
              </a:cxn>
            </a:cxnLst>
            <a:rect l="l" t="t" r="r" b="b"/>
            <a:pathLst>
              <a:path w="4293496" h="4791489">
                <a:moveTo>
                  <a:pt x="2272483" y="0"/>
                </a:moveTo>
                <a:lnTo>
                  <a:pt x="4293496" y="0"/>
                </a:lnTo>
                <a:lnTo>
                  <a:pt x="4293496" y="4791489"/>
                </a:lnTo>
                <a:lnTo>
                  <a:pt x="0" y="4791489"/>
                </a:lnTo>
                <a:close/>
              </a:path>
            </a:pathLst>
          </a:custGeom>
          <a:solidFill>
            <a:schemeClr val="tx2">
              <a:alpha val="65000"/>
            </a:schemeClr>
          </a:solidFill>
        </p:spPr>
        <p:txBody>
          <a:bodyPr wrap="square">
            <a:noAutofit/>
          </a:bodyPr>
          <a:lstStyle>
            <a:lvl1pPr>
              <a:spcBef>
                <a:spcPts val="0"/>
              </a:spcBef>
              <a:defRPr sz="324">
                <a:noFill/>
              </a:defRPr>
            </a:lvl1pPr>
            <a:lvl2pPr marL="0" indent="0">
              <a:spcBef>
                <a:spcPts val="0"/>
              </a:spcBef>
              <a:buNone/>
              <a:defRPr sz="324">
                <a:noFill/>
              </a:defRPr>
            </a:lvl2pPr>
            <a:lvl3pPr marL="0" indent="0">
              <a:spcBef>
                <a:spcPts val="0"/>
              </a:spcBef>
              <a:buNone/>
              <a:defRPr sz="324">
                <a:noFill/>
              </a:defRPr>
            </a:lvl3pPr>
            <a:lvl4pPr>
              <a:spcBef>
                <a:spcPts val="0"/>
              </a:spcBef>
              <a:defRPr sz="324" b="0">
                <a:noFill/>
              </a:defRPr>
            </a:lvl4pPr>
            <a:lvl5pPr>
              <a:spcBef>
                <a:spcPts val="0"/>
              </a:spcBef>
              <a:defRPr sz="324">
                <a:noFill/>
              </a:defRPr>
            </a:lvl5pPr>
            <a:lvl6pPr>
              <a:spcBef>
                <a:spcPts val="0"/>
              </a:spcBef>
              <a:defRPr sz="324">
                <a:noFill/>
              </a:defRPr>
            </a:lvl6pPr>
            <a:lvl7pPr>
              <a:spcBef>
                <a:spcPts val="0"/>
              </a:spcBef>
              <a:defRPr sz="324">
                <a:noFill/>
              </a:defRPr>
            </a:lvl7pPr>
            <a:lvl8pPr>
              <a:spcBef>
                <a:spcPts val="0"/>
              </a:spcBef>
              <a:defRPr sz="324">
                <a:noFill/>
              </a:defRPr>
            </a:lvl8pPr>
            <a:lvl9pPr>
              <a:spcBef>
                <a:spcPts val="0"/>
              </a:spcBef>
              <a:defRPr sz="324">
                <a:noFill/>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a:p>
        </p:txBody>
      </p:sp>
    </p:spTree>
    <p:extLst>
      <p:ext uri="{BB962C8B-B14F-4D97-AF65-F5344CB8AC3E}">
        <p14:creationId xmlns:p14="http://schemas.microsoft.com/office/powerpoint/2010/main" val="110110471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9C4C61D-A11F-20F3-425B-054D35CC81C6}"/>
              </a:ext>
            </a:extLst>
          </p:cNvPr>
          <p:cNvGraphicFramePr>
            <a:graphicFrameLocks noChangeAspect="1"/>
          </p:cNvGraphicFramePr>
          <p:nvPr userDrawn="1">
            <p:custDataLst>
              <p:tags r:id="rId18"/>
            </p:custDataLst>
            <p:extLst>
              <p:ext uri="{D42A27DB-BD31-4B8C-83A1-F6EECF244321}">
                <p14:modId xmlns:p14="http://schemas.microsoft.com/office/powerpoint/2010/main" val="854735091"/>
              </p:ext>
            </p:extLst>
          </p:nvPr>
        </p:nvGraphicFramePr>
        <p:xfrm>
          <a:off x="1751" y="1714"/>
          <a:ext cx="1750" cy="1714"/>
        </p:xfrm>
        <a:graphic>
          <a:graphicData uri="http://schemas.openxmlformats.org/presentationml/2006/ole">
            <mc:AlternateContent xmlns:mc="http://schemas.openxmlformats.org/markup-compatibility/2006">
              <mc:Choice xmlns:v="urn:schemas-microsoft-com:vml" Requires="v">
                <p:oleObj name="think-cell Slide" r:id="rId19" imgW="328" imgH="328" progId="TCLayout.ActiveDocument.1">
                  <p:embed/>
                </p:oleObj>
              </mc:Choice>
              <mc:Fallback>
                <p:oleObj name="think-cell Slide" r:id="rId19" imgW="328" imgH="328" progId="TCLayout.ActiveDocument.1">
                  <p:embed/>
                  <p:pic>
                    <p:nvPicPr>
                      <p:cNvPr id="9" name="Object 8" hidden="1">
                        <a:extLst>
                          <a:ext uri="{FF2B5EF4-FFF2-40B4-BE49-F238E27FC236}">
                            <a16:creationId xmlns:a16="http://schemas.microsoft.com/office/drawing/2014/main" id="{59C4C61D-A11F-20F3-425B-054D35CC81C6}"/>
                          </a:ext>
                        </a:extLst>
                      </p:cNvPr>
                      <p:cNvPicPr/>
                      <p:nvPr/>
                    </p:nvPicPr>
                    <p:blipFill>
                      <a:blip r:embed="rId20"/>
                      <a:stretch>
                        <a:fillRect/>
                      </a:stretch>
                    </p:blipFill>
                    <p:spPr>
                      <a:xfrm>
                        <a:off x="1751" y="1714"/>
                        <a:ext cx="1750" cy="1714"/>
                      </a:xfrm>
                      <a:prstGeom prst="rect">
                        <a:avLst/>
                      </a:prstGeom>
                    </p:spPr>
                  </p:pic>
                </p:oleObj>
              </mc:Fallback>
            </mc:AlternateContent>
          </a:graphicData>
        </a:graphic>
      </p:graphicFrame>
      <p:sp>
        <p:nvSpPr>
          <p:cNvPr id="38" name="Free-form: Shape 37">
            <a:extLst>
              <a:ext uri="{FF2B5EF4-FFF2-40B4-BE49-F238E27FC236}">
                <a16:creationId xmlns:a16="http://schemas.microsoft.com/office/drawing/2014/main" id="{DEE5F1F6-308B-BAE5-E04C-67ACD64873A7}"/>
              </a:ext>
            </a:extLst>
          </p:cNvPr>
          <p:cNvSpPr/>
          <p:nvPr userDrawn="1"/>
        </p:nvSpPr>
        <p:spPr>
          <a:xfrm>
            <a:off x="0" y="0"/>
            <a:ext cx="7559675" cy="2245000"/>
          </a:xfrm>
          <a:custGeom>
            <a:avLst/>
            <a:gdLst>
              <a:gd name="connsiteX0" fmla="*/ 0 w 12192000"/>
              <a:gd name="connsiteY0" fmla="*/ 0 h 1270000"/>
              <a:gd name="connsiteX1" fmla="*/ 12192000 w 12192000"/>
              <a:gd name="connsiteY1" fmla="*/ 0 h 1270000"/>
              <a:gd name="connsiteX2" fmla="*/ 12192000 w 12192000"/>
              <a:gd name="connsiteY2" fmla="*/ 1270000 h 1270000"/>
              <a:gd name="connsiteX3" fmla="*/ 0 w 12192000"/>
              <a:gd name="connsiteY3" fmla="*/ 1270000 h 1270000"/>
            </a:gdLst>
            <a:ahLst/>
            <a:cxnLst>
              <a:cxn ang="0">
                <a:pos x="connsiteX0" y="connsiteY0"/>
              </a:cxn>
              <a:cxn ang="0">
                <a:pos x="connsiteX1" y="connsiteY1"/>
              </a:cxn>
              <a:cxn ang="0">
                <a:pos x="connsiteX2" y="connsiteY2"/>
              </a:cxn>
              <a:cxn ang="0">
                <a:pos x="connsiteX3" y="connsiteY3"/>
              </a:cxn>
            </a:cxnLst>
            <a:rect l="l" t="t" r="r" b="b"/>
            <a:pathLst>
              <a:path w="12192000" h="1270000">
                <a:moveTo>
                  <a:pt x="0" y="0"/>
                </a:moveTo>
                <a:lnTo>
                  <a:pt x="12192000" y="0"/>
                </a:lnTo>
                <a:lnTo>
                  <a:pt x="12192000" y="1270000"/>
                </a:lnTo>
                <a:lnTo>
                  <a:pt x="0" y="1270000"/>
                </a:lnTo>
                <a:close/>
              </a:path>
            </a:pathLst>
          </a:custGeom>
          <a:solidFill>
            <a:srgbClr val="E0EDF8"/>
          </a:solidFill>
          <a:ln w="6350" cap="flat">
            <a:noFill/>
            <a:prstDash val="solid"/>
            <a:miter/>
          </a:ln>
        </p:spPr>
        <p:txBody>
          <a:bodyPr rtlCol="0" anchor="ctr"/>
          <a:lstStyle/>
          <a:p>
            <a:endParaRPr lang="en-AU" sz="1457"/>
          </a:p>
        </p:txBody>
      </p:sp>
      <p:grpSp>
        <p:nvGrpSpPr>
          <p:cNvPr id="11" name="Group 10">
            <a:extLst>
              <a:ext uri="{FF2B5EF4-FFF2-40B4-BE49-F238E27FC236}">
                <a16:creationId xmlns:a16="http://schemas.microsoft.com/office/drawing/2014/main" id="{C0F69CC5-725A-DC9C-EE57-E4195036E597}"/>
              </a:ext>
            </a:extLst>
          </p:cNvPr>
          <p:cNvGrpSpPr/>
          <p:nvPr userDrawn="1"/>
        </p:nvGrpSpPr>
        <p:grpSpPr>
          <a:xfrm>
            <a:off x="5883687" y="0"/>
            <a:ext cx="1675988" cy="2245000"/>
            <a:chOff x="7792497" y="1"/>
            <a:chExt cx="1351502" cy="1269998"/>
          </a:xfrm>
        </p:grpSpPr>
        <p:sp>
          <p:nvSpPr>
            <p:cNvPr id="39" name="Free-form: Shape 38">
              <a:extLst>
                <a:ext uri="{FF2B5EF4-FFF2-40B4-BE49-F238E27FC236}">
                  <a16:creationId xmlns:a16="http://schemas.microsoft.com/office/drawing/2014/main" id="{ACD74EFB-1EB2-C902-2EB7-7A5AC47A3130}"/>
                </a:ext>
              </a:extLst>
            </p:cNvPr>
            <p:cNvSpPr/>
            <p:nvPr userDrawn="1"/>
          </p:nvSpPr>
          <p:spPr>
            <a:xfrm>
              <a:off x="7792497" y="600837"/>
              <a:ext cx="712232" cy="669162"/>
            </a:xfrm>
            <a:custGeom>
              <a:avLst/>
              <a:gdLst>
                <a:gd name="connsiteX0" fmla="*/ 316547 w 949642"/>
                <a:gd name="connsiteY0" fmla="*/ 0 h 669162"/>
                <a:gd name="connsiteX1" fmla="*/ 0 w 949642"/>
                <a:gd name="connsiteY1" fmla="*/ 669163 h 669162"/>
                <a:gd name="connsiteX2" fmla="*/ 633095 w 949642"/>
                <a:gd name="connsiteY2" fmla="*/ 669163 h 669162"/>
                <a:gd name="connsiteX3" fmla="*/ 949643 w 949642"/>
                <a:gd name="connsiteY3" fmla="*/ 0 h 669162"/>
                <a:gd name="connsiteX4" fmla="*/ 316547 w 949642"/>
                <a:gd name="connsiteY4" fmla="*/ 0 h 6691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642" h="669162">
                  <a:moveTo>
                    <a:pt x="316547" y="0"/>
                  </a:moveTo>
                  <a:lnTo>
                    <a:pt x="0" y="669163"/>
                  </a:lnTo>
                  <a:lnTo>
                    <a:pt x="633095" y="669163"/>
                  </a:lnTo>
                  <a:cubicBezTo>
                    <a:pt x="633095" y="669163"/>
                    <a:pt x="949643" y="0"/>
                    <a:pt x="949643" y="0"/>
                  </a:cubicBezTo>
                  <a:lnTo>
                    <a:pt x="316547" y="0"/>
                  </a:lnTo>
                  <a:close/>
                </a:path>
              </a:pathLst>
            </a:custGeom>
            <a:solidFill>
              <a:srgbClr val="00B1A8"/>
            </a:solidFill>
            <a:ln w="6350" cap="flat">
              <a:noFill/>
              <a:prstDash val="solid"/>
              <a:miter/>
            </a:ln>
          </p:spPr>
          <p:txBody>
            <a:bodyPr rtlCol="0" anchor="ctr"/>
            <a:lstStyle/>
            <a:p>
              <a:endParaRPr lang="en-AU" sz="1457"/>
            </a:p>
          </p:txBody>
        </p:sp>
        <p:sp>
          <p:nvSpPr>
            <p:cNvPr id="40" name="Free-form: Shape 39">
              <a:extLst>
                <a:ext uri="{FF2B5EF4-FFF2-40B4-BE49-F238E27FC236}">
                  <a16:creationId xmlns:a16="http://schemas.microsoft.com/office/drawing/2014/main" id="{E7241B76-7122-AE56-0EFB-6DFFD069ADBB}"/>
                </a:ext>
              </a:extLst>
            </p:cNvPr>
            <p:cNvSpPr/>
            <p:nvPr userDrawn="1"/>
          </p:nvSpPr>
          <p:spPr>
            <a:xfrm>
              <a:off x="8504777" y="1"/>
              <a:ext cx="639222" cy="600837"/>
            </a:xfrm>
            <a:custGeom>
              <a:avLst/>
              <a:gdLst>
                <a:gd name="connsiteX0" fmla="*/ 568198 w 852296"/>
                <a:gd name="connsiteY0" fmla="*/ 600837 h 600837"/>
                <a:gd name="connsiteX1" fmla="*/ 852297 w 852296"/>
                <a:gd name="connsiteY1" fmla="*/ 0 h 600837"/>
                <a:gd name="connsiteX2" fmla="*/ 284099 w 852296"/>
                <a:gd name="connsiteY2" fmla="*/ 0 h 600837"/>
                <a:gd name="connsiteX3" fmla="*/ 0 w 852296"/>
                <a:gd name="connsiteY3" fmla="*/ 600837 h 600837"/>
                <a:gd name="connsiteX4" fmla="*/ 568198 w 852296"/>
                <a:gd name="connsiteY4" fmla="*/ 600837 h 6008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2296" h="600837">
                  <a:moveTo>
                    <a:pt x="568198" y="600837"/>
                  </a:moveTo>
                  <a:lnTo>
                    <a:pt x="852297" y="0"/>
                  </a:lnTo>
                  <a:lnTo>
                    <a:pt x="284099" y="0"/>
                  </a:lnTo>
                  <a:cubicBezTo>
                    <a:pt x="284099" y="0"/>
                    <a:pt x="0" y="600837"/>
                    <a:pt x="0" y="600837"/>
                  </a:cubicBezTo>
                  <a:lnTo>
                    <a:pt x="568198" y="600837"/>
                  </a:lnTo>
                  <a:close/>
                </a:path>
              </a:pathLst>
            </a:custGeom>
            <a:solidFill>
              <a:srgbClr val="CDDB00"/>
            </a:solidFill>
            <a:ln w="6350" cap="flat">
              <a:noFill/>
              <a:prstDash val="solid"/>
              <a:miter/>
            </a:ln>
          </p:spPr>
          <p:txBody>
            <a:bodyPr rtlCol="0" anchor="ctr"/>
            <a:lstStyle/>
            <a:p>
              <a:endParaRPr lang="en-AU" sz="1457"/>
            </a:p>
          </p:txBody>
        </p:sp>
        <p:sp>
          <p:nvSpPr>
            <p:cNvPr id="41" name="Free-form: Shape 40">
              <a:extLst>
                <a:ext uri="{FF2B5EF4-FFF2-40B4-BE49-F238E27FC236}">
                  <a16:creationId xmlns:a16="http://schemas.microsoft.com/office/drawing/2014/main" id="{1AB8811A-2AF9-3D1A-7290-BC7B6EA26CFE}"/>
                </a:ext>
              </a:extLst>
            </p:cNvPr>
            <p:cNvSpPr/>
            <p:nvPr userDrawn="1"/>
          </p:nvSpPr>
          <p:spPr>
            <a:xfrm>
              <a:off x="8291703" y="1"/>
              <a:ext cx="639222" cy="600837"/>
            </a:xfrm>
            <a:custGeom>
              <a:avLst/>
              <a:gdLst>
                <a:gd name="connsiteX0" fmla="*/ 852297 w 852296"/>
                <a:gd name="connsiteY0" fmla="*/ 600837 h 600837"/>
                <a:gd name="connsiteX1" fmla="*/ 568198 w 852296"/>
                <a:gd name="connsiteY1" fmla="*/ 0 h 600837"/>
                <a:gd name="connsiteX2" fmla="*/ 0 w 852296"/>
                <a:gd name="connsiteY2" fmla="*/ 0 h 600837"/>
                <a:gd name="connsiteX3" fmla="*/ 284099 w 852296"/>
                <a:gd name="connsiteY3" fmla="*/ 600837 h 600837"/>
                <a:gd name="connsiteX4" fmla="*/ 852297 w 852296"/>
                <a:gd name="connsiteY4" fmla="*/ 600837 h 6008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2296" h="600837">
                  <a:moveTo>
                    <a:pt x="852297" y="600837"/>
                  </a:moveTo>
                  <a:lnTo>
                    <a:pt x="568198" y="0"/>
                  </a:lnTo>
                  <a:lnTo>
                    <a:pt x="0" y="0"/>
                  </a:lnTo>
                  <a:cubicBezTo>
                    <a:pt x="0" y="0"/>
                    <a:pt x="284099" y="600837"/>
                    <a:pt x="284099" y="600837"/>
                  </a:cubicBezTo>
                  <a:lnTo>
                    <a:pt x="852297" y="600837"/>
                  </a:lnTo>
                  <a:close/>
                </a:path>
              </a:pathLst>
            </a:custGeom>
            <a:solidFill>
              <a:srgbClr val="FFFFFF">
                <a:alpha val="50000"/>
              </a:srgbClr>
            </a:solidFill>
            <a:ln w="6350" cap="flat">
              <a:noFill/>
              <a:prstDash val="solid"/>
              <a:miter/>
            </a:ln>
          </p:spPr>
          <p:txBody>
            <a:bodyPr rtlCol="0" anchor="ctr"/>
            <a:lstStyle/>
            <a:p>
              <a:endParaRPr lang="en-AU" sz="1457"/>
            </a:p>
          </p:txBody>
        </p:sp>
        <p:sp>
          <p:nvSpPr>
            <p:cNvPr id="42" name="Free-form: Shape 41">
              <a:extLst>
                <a:ext uri="{FF2B5EF4-FFF2-40B4-BE49-F238E27FC236}">
                  <a16:creationId xmlns:a16="http://schemas.microsoft.com/office/drawing/2014/main" id="{F88C237B-3642-81D4-58BC-F75C75257471}"/>
                </a:ext>
              </a:extLst>
            </p:cNvPr>
            <p:cNvSpPr/>
            <p:nvPr userDrawn="1"/>
          </p:nvSpPr>
          <p:spPr>
            <a:xfrm>
              <a:off x="8029908" y="600837"/>
              <a:ext cx="712232" cy="669162"/>
            </a:xfrm>
            <a:custGeom>
              <a:avLst/>
              <a:gdLst>
                <a:gd name="connsiteX0" fmla="*/ 0 w 949642"/>
                <a:gd name="connsiteY0" fmla="*/ 0 h 669162"/>
                <a:gd name="connsiteX1" fmla="*/ 316548 w 949642"/>
                <a:gd name="connsiteY1" fmla="*/ 669163 h 669162"/>
                <a:gd name="connsiteX2" fmla="*/ 949643 w 949642"/>
                <a:gd name="connsiteY2" fmla="*/ 669163 h 669162"/>
                <a:gd name="connsiteX3" fmla="*/ 633095 w 949642"/>
                <a:gd name="connsiteY3" fmla="*/ 0 h 669162"/>
                <a:gd name="connsiteX4" fmla="*/ 0 w 949642"/>
                <a:gd name="connsiteY4" fmla="*/ 0 h 6691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642" h="669162">
                  <a:moveTo>
                    <a:pt x="0" y="0"/>
                  </a:moveTo>
                  <a:lnTo>
                    <a:pt x="316548" y="669163"/>
                  </a:lnTo>
                  <a:lnTo>
                    <a:pt x="949643" y="669163"/>
                  </a:lnTo>
                  <a:cubicBezTo>
                    <a:pt x="949643" y="669163"/>
                    <a:pt x="633095" y="0"/>
                    <a:pt x="633095" y="0"/>
                  </a:cubicBezTo>
                  <a:lnTo>
                    <a:pt x="0" y="0"/>
                  </a:lnTo>
                  <a:close/>
                </a:path>
              </a:pathLst>
            </a:custGeom>
            <a:solidFill>
              <a:srgbClr val="FFFFFF">
                <a:alpha val="50000"/>
              </a:srgbClr>
            </a:solidFill>
            <a:ln w="6350" cap="flat">
              <a:noFill/>
              <a:prstDash val="solid"/>
              <a:miter/>
            </a:ln>
          </p:spPr>
          <p:txBody>
            <a:bodyPr rtlCol="0" anchor="ctr"/>
            <a:lstStyle/>
            <a:p>
              <a:endParaRPr lang="en-AU" sz="1457"/>
            </a:p>
          </p:txBody>
        </p:sp>
      </p:grpSp>
      <p:sp>
        <p:nvSpPr>
          <p:cNvPr id="4" name="Date Placeholder 3"/>
          <p:cNvSpPr>
            <a:spLocks noGrp="1"/>
          </p:cNvSpPr>
          <p:nvPr>
            <p:ph type="dt" sz="half" idx="2"/>
          </p:nvPr>
        </p:nvSpPr>
        <p:spPr>
          <a:xfrm>
            <a:off x="4602901" y="9905984"/>
            <a:ext cx="1602395" cy="561250"/>
          </a:xfrm>
          <a:prstGeom prst="rect">
            <a:avLst/>
          </a:prstGeom>
        </p:spPr>
        <p:txBody>
          <a:bodyPr vert="horz" lIns="0" tIns="0" rIns="0" bIns="0" rtlCol="0" anchor="ctr"/>
          <a:lstStyle>
            <a:lvl1pPr algn="r">
              <a:defRPr sz="809">
                <a:solidFill>
                  <a:schemeClr val="accent6"/>
                </a:solidFill>
              </a:defRPr>
            </a:lvl1pPr>
          </a:lstStyle>
          <a:p>
            <a:fld id="{973D4877-A18C-4E62-9946-F942ED83388C}" type="datetime1">
              <a:rPr lang="en-GB" smtClean="0"/>
              <a:pPr/>
              <a:t>31/07/2023</a:t>
            </a:fld>
            <a:endParaRPr lang="en-GB"/>
          </a:p>
        </p:txBody>
      </p:sp>
      <p:sp>
        <p:nvSpPr>
          <p:cNvPr id="2" name="Title Placeholder 1"/>
          <p:cNvSpPr>
            <a:spLocks noGrp="1"/>
          </p:cNvSpPr>
          <p:nvPr>
            <p:ph type="title"/>
          </p:nvPr>
        </p:nvSpPr>
        <p:spPr>
          <a:xfrm>
            <a:off x="401607" y="599396"/>
            <a:ext cx="5357250" cy="1122500"/>
          </a:xfrm>
          <a:prstGeom prst="rect">
            <a:avLst/>
          </a:prstGeom>
        </p:spPr>
        <p:txBody>
          <a:bodyPr vert="horz" lIns="0" tIns="0" rIns="0" bIns="0" rtlCol="0" anchor="ctr">
            <a:noAutofit/>
          </a:bodyPr>
          <a:lstStyle/>
          <a:p>
            <a:r>
              <a:rPr lang="en-US"/>
              <a:t>Click to edit </a:t>
            </a:r>
            <a:br>
              <a:rPr lang="en-US"/>
            </a:br>
            <a:r>
              <a:rPr lang="en-US"/>
              <a:t>Master title style</a:t>
            </a:r>
            <a:endParaRPr lang="en-GB"/>
          </a:p>
        </p:txBody>
      </p:sp>
      <p:sp>
        <p:nvSpPr>
          <p:cNvPr id="3" name="Text Placeholder 2"/>
          <p:cNvSpPr>
            <a:spLocks noGrp="1"/>
          </p:cNvSpPr>
          <p:nvPr>
            <p:ph type="body" idx="1"/>
          </p:nvPr>
        </p:nvSpPr>
        <p:spPr>
          <a:xfrm>
            <a:off x="401606" y="2846200"/>
            <a:ext cx="6666800" cy="6173750"/>
          </a:xfrm>
          <a:prstGeom prst="rect">
            <a:avLst/>
          </a:prstGeom>
        </p:spPr>
        <p:txBody>
          <a:bodyPr vert="horz" lIns="0" tIns="0" rIns="0" bIns="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Footer Placeholder 4"/>
          <p:cNvSpPr>
            <a:spLocks noGrp="1"/>
          </p:cNvSpPr>
          <p:nvPr>
            <p:ph type="ftr" sz="quarter" idx="3"/>
          </p:nvPr>
        </p:nvSpPr>
        <p:spPr>
          <a:xfrm>
            <a:off x="401607" y="9905984"/>
            <a:ext cx="3704959" cy="561250"/>
          </a:xfrm>
          <a:prstGeom prst="rect">
            <a:avLst/>
          </a:prstGeom>
        </p:spPr>
        <p:txBody>
          <a:bodyPr vert="horz" lIns="0" tIns="0" rIns="0" bIns="0" rtlCol="0" anchor="ctr"/>
          <a:lstStyle>
            <a:lvl1pPr algn="l">
              <a:defRPr sz="809">
                <a:solidFill>
                  <a:schemeClr val="accent6"/>
                </a:solidFill>
              </a:defRPr>
            </a:lvl1pPr>
          </a:lstStyle>
          <a:p>
            <a:r>
              <a:rPr lang="en-GB"/>
              <a:t>To add a Footer, select 'Insert &gt; Header &amp; Footer'</a:t>
            </a:r>
          </a:p>
        </p:txBody>
      </p:sp>
      <p:sp>
        <p:nvSpPr>
          <p:cNvPr id="6" name="Slide Number Placeholder 5"/>
          <p:cNvSpPr>
            <a:spLocks noGrp="1"/>
          </p:cNvSpPr>
          <p:nvPr>
            <p:ph type="sldNum" sz="quarter" idx="4"/>
          </p:nvPr>
        </p:nvSpPr>
        <p:spPr>
          <a:xfrm>
            <a:off x="6893918" y="9905984"/>
            <a:ext cx="446438" cy="561250"/>
          </a:xfrm>
          <a:prstGeom prst="rect">
            <a:avLst/>
          </a:prstGeom>
        </p:spPr>
        <p:txBody>
          <a:bodyPr vert="horz" lIns="0" tIns="0" rIns="0" bIns="0" rtlCol="0" anchor="ctr"/>
          <a:lstStyle>
            <a:lvl1pPr algn="l">
              <a:defRPr sz="809">
                <a:solidFill>
                  <a:schemeClr val="accent6"/>
                </a:solidFill>
              </a:defRPr>
            </a:lvl1pPr>
          </a:lstStyle>
          <a:p>
            <a:r>
              <a:rPr lang="en-GB"/>
              <a:t>Page </a:t>
            </a:r>
            <a:fld id="{F5AEA0E0-5CC6-4BD0-905C-A0021E419432}" type="slidenum">
              <a:rPr lang="en-GB" smtClean="0"/>
              <a:pPr/>
              <a:t>‹#›</a:t>
            </a:fld>
            <a:endParaRPr lang="en-GB"/>
          </a:p>
        </p:txBody>
      </p:sp>
      <p:cxnSp>
        <p:nvCxnSpPr>
          <p:cNvPr id="24" name="Straight Connector 23">
            <a:extLst>
              <a:ext uri="{FF2B5EF4-FFF2-40B4-BE49-F238E27FC236}">
                <a16:creationId xmlns:a16="http://schemas.microsoft.com/office/drawing/2014/main" id="{E2331FF9-7A58-D9D4-9E93-1D3FD3FC9D3D}"/>
              </a:ext>
            </a:extLst>
          </p:cNvPr>
          <p:cNvCxnSpPr/>
          <p:nvPr userDrawn="1"/>
        </p:nvCxnSpPr>
        <p:spPr>
          <a:xfrm>
            <a:off x="6803250" y="10078027"/>
            <a:ext cx="0" cy="242545"/>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8" name="MSIPCMContentMarking" descr="{&quot;HashCode&quot;:-1264680268,&quot;Placement&quot;:&quot;Footer&quot;,&quot;Top&quot;:696.65155,&quot;Left&quot;:236.046463,&quot;SlideWidth&quot;:540,&quot;SlideHeight&quot;:720}">
            <a:extLst>
              <a:ext uri="{FF2B5EF4-FFF2-40B4-BE49-F238E27FC236}">
                <a16:creationId xmlns:a16="http://schemas.microsoft.com/office/drawing/2014/main" id="{1CFFE4FA-A59C-4D92-999F-7EBC586DD0E8}"/>
              </a:ext>
            </a:extLst>
          </p:cNvPr>
          <p:cNvSpPr txBox="1"/>
          <p:nvPr userDrawn="1"/>
        </p:nvSpPr>
        <p:spPr>
          <a:xfrm>
            <a:off x="3304510" y="10418811"/>
            <a:ext cx="950657" cy="199285"/>
          </a:xfrm>
          <a:prstGeom prst="rect">
            <a:avLst/>
          </a:prstGeom>
          <a:noFill/>
        </p:spPr>
        <p:txBody>
          <a:bodyPr vert="horz" wrap="square" lIns="0" tIns="0" rIns="0" bIns="0" rtlCol="0" anchor="ctr" anchorCtr="1">
            <a:spAutoFit/>
          </a:bodyPr>
          <a:lstStyle/>
          <a:p>
            <a:pPr algn="ctr">
              <a:spcBef>
                <a:spcPts val="0"/>
              </a:spcBef>
              <a:spcAft>
                <a:spcPts val="0"/>
              </a:spcAft>
            </a:pPr>
            <a:r>
              <a:rPr lang="en-AU" sz="1295">
                <a:solidFill>
                  <a:srgbClr val="000000"/>
                </a:solidFill>
                <a:latin typeface="Calibri" panose="020F0502020204030204" pitchFamily="34" charset="0"/>
              </a:rPr>
              <a:t>OFFICIAL</a:t>
            </a:r>
          </a:p>
        </p:txBody>
      </p:sp>
    </p:spTree>
    <p:extLst>
      <p:ext uri="{BB962C8B-B14F-4D97-AF65-F5344CB8AC3E}">
        <p14:creationId xmlns:p14="http://schemas.microsoft.com/office/powerpoint/2010/main" val="2559479050"/>
      </p:ext>
    </p:extLst>
  </p:cSld>
  <p:clrMap bg1="lt1" tx1="dk1" bg2="lt2" tx2="dk2" accent1="accent1" accent2="accent2" accent3="accent3" accent4="accent4" accent5="accent5" accent6="accent6" hlink="hlink" folHlink="folHlink"/>
  <p:sldLayoutIdLst>
    <p:sldLayoutId id="2147483670" r:id="rId1"/>
    <p:sldLayoutId id="2147483677" r:id="rId2"/>
    <p:sldLayoutId id="2147483678" r:id="rId3"/>
    <p:sldLayoutId id="2147483692" r:id="rId4"/>
    <p:sldLayoutId id="2147483650" r:id="rId5"/>
    <p:sldLayoutId id="2147483652" r:id="rId6"/>
    <p:sldLayoutId id="2147483691" r:id="rId7"/>
    <p:sldLayoutId id="2147483664" r:id="rId8"/>
    <p:sldLayoutId id="2147483681" r:id="rId9"/>
    <p:sldLayoutId id="2147483662" r:id="rId10"/>
    <p:sldLayoutId id="2147483680" r:id="rId11"/>
    <p:sldLayoutId id="2147483689" r:id="rId12"/>
    <p:sldLayoutId id="2147483693" r:id="rId13"/>
    <p:sldLayoutId id="2147483690" r:id="rId14"/>
    <p:sldLayoutId id="2147483675" r:id="rId15"/>
    <p:sldLayoutId id="2147483655" r:id="rId16"/>
  </p:sldLayoutIdLst>
  <p:hf hdr="0" dt="0"/>
  <p:txStyles>
    <p:titleStyle>
      <a:lvl1pPr algn="l" defTabSz="740184" rtl="0" eaLnBrk="1" latinLnBrk="0" hangingPunct="1">
        <a:lnSpc>
          <a:spcPct val="100000"/>
        </a:lnSpc>
        <a:spcBef>
          <a:spcPct val="0"/>
        </a:spcBef>
        <a:buNone/>
        <a:defRPr sz="1862" kern="1200">
          <a:solidFill>
            <a:schemeClr val="accent6"/>
          </a:solidFill>
          <a:latin typeface="+mj-lt"/>
          <a:ea typeface="+mj-ea"/>
          <a:cs typeface="+mj-cs"/>
        </a:defRPr>
      </a:lvl1pPr>
    </p:titleStyle>
    <p:bodyStyle>
      <a:lvl1pPr marL="0" indent="0" algn="l" defTabSz="740184" rtl="0" eaLnBrk="1" latinLnBrk="0" hangingPunct="1">
        <a:lnSpc>
          <a:spcPct val="100000"/>
        </a:lnSpc>
        <a:spcBef>
          <a:spcPts val="486"/>
        </a:spcBef>
        <a:buFont typeface="Arial" panose="020B0604020202020204" pitchFamily="34" charset="0"/>
        <a:buNone/>
        <a:defRPr sz="1457" b="1" kern="1200">
          <a:solidFill>
            <a:schemeClr val="accent6"/>
          </a:solidFill>
          <a:latin typeface="+mn-lt"/>
          <a:ea typeface="+mn-ea"/>
          <a:cs typeface="+mn-cs"/>
        </a:defRPr>
      </a:lvl1pPr>
      <a:lvl2pPr marL="0" indent="0" algn="l" defTabSz="740184" rtl="0" eaLnBrk="1" latinLnBrk="0" hangingPunct="1">
        <a:lnSpc>
          <a:spcPct val="100000"/>
        </a:lnSpc>
        <a:spcBef>
          <a:spcPts val="486"/>
        </a:spcBef>
        <a:buFont typeface="Arial" panose="020B0604020202020204" pitchFamily="34" charset="0"/>
        <a:buNone/>
        <a:defRPr sz="1457" kern="1200">
          <a:solidFill>
            <a:schemeClr val="accent6"/>
          </a:solidFill>
          <a:latin typeface="+mn-lt"/>
          <a:ea typeface="+mn-ea"/>
          <a:cs typeface="+mn-cs"/>
        </a:defRPr>
      </a:lvl2pPr>
      <a:lvl3pPr marL="145706" indent="-145706" algn="l" defTabSz="740184" rtl="0" eaLnBrk="1" latinLnBrk="0" hangingPunct="1">
        <a:lnSpc>
          <a:spcPct val="100000"/>
        </a:lnSpc>
        <a:spcBef>
          <a:spcPts val="486"/>
        </a:spcBef>
        <a:buClr>
          <a:schemeClr val="accent3"/>
        </a:buClr>
        <a:buFont typeface="Arial" panose="020B0604020202020204" pitchFamily="34" charset="0"/>
        <a:buChar char="•"/>
        <a:defRPr sz="1457" kern="1200">
          <a:solidFill>
            <a:schemeClr val="accent6"/>
          </a:solidFill>
          <a:latin typeface="+mn-lt"/>
          <a:ea typeface="+mn-ea"/>
          <a:cs typeface="+mn-cs"/>
        </a:defRPr>
      </a:lvl3pPr>
      <a:lvl4pPr marL="291411" indent="-145706" algn="l" defTabSz="740184" rtl="0" eaLnBrk="1" latinLnBrk="0" hangingPunct="1">
        <a:lnSpc>
          <a:spcPct val="100000"/>
        </a:lnSpc>
        <a:spcBef>
          <a:spcPts val="971"/>
        </a:spcBef>
        <a:spcAft>
          <a:spcPts val="971"/>
        </a:spcAft>
        <a:buClr>
          <a:schemeClr val="accent2"/>
        </a:buClr>
        <a:buFont typeface="Arial" panose="020B0604020202020204" pitchFamily="34" charset="0"/>
        <a:buChar char="•"/>
        <a:defRPr sz="1457" b="0" i="0" kern="1200">
          <a:solidFill>
            <a:schemeClr val="accent6"/>
          </a:solidFill>
          <a:latin typeface="+mn-lt"/>
          <a:ea typeface="+mn-ea"/>
          <a:cs typeface="+mn-cs"/>
        </a:defRPr>
      </a:lvl4pPr>
      <a:lvl5pPr marL="0" indent="0" algn="l" defTabSz="740184" rtl="0" eaLnBrk="1" latinLnBrk="0" hangingPunct="1">
        <a:lnSpc>
          <a:spcPct val="100000"/>
        </a:lnSpc>
        <a:spcBef>
          <a:spcPts val="486"/>
        </a:spcBef>
        <a:buFont typeface="Arial" panose="020B0604020202020204" pitchFamily="34" charset="0"/>
        <a:buNone/>
        <a:defRPr sz="1133" b="1" kern="1200">
          <a:solidFill>
            <a:schemeClr val="accent6"/>
          </a:solidFill>
          <a:latin typeface="+mn-lt"/>
          <a:ea typeface="+mn-ea"/>
          <a:cs typeface="+mn-cs"/>
        </a:defRPr>
      </a:lvl5pPr>
      <a:lvl6pPr marL="0" indent="0" algn="l" defTabSz="740184" rtl="0" eaLnBrk="1" latinLnBrk="0" hangingPunct="1">
        <a:lnSpc>
          <a:spcPct val="100000"/>
        </a:lnSpc>
        <a:spcBef>
          <a:spcPts val="486"/>
        </a:spcBef>
        <a:buFont typeface="Arial" panose="020B0604020202020204" pitchFamily="34" charset="0"/>
        <a:buNone/>
        <a:defRPr sz="1133" kern="1200">
          <a:solidFill>
            <a:schemeClr val="tx1"/>
          </a:solidFill>
          <a:latin typeface="+mn-lt"/>
          <a:ea typeface="+mn-ea"/>
          <a:cs typeface="+mn-cs"/>
        </a:defRPr>
      </a:lvl6pPr>
      <a:lvl7pPr marL="0" indent="0" algn="l" defTabSz="740184" rtl="0" eaLnBrk="1" latinLnBrk="0" hangingPunct="1">
        <a:lnSpc>
          <a:spcPct val="100000"/>
        </a:lnSpc>
        <a:spcBef>
          <a:spcPts val="486"/>
        </a:spcBef>
        <a:buFont typeface="Arial" panose="020B0604020202020204" pitchFamily="34" charset="0"/>
        <a:buNone/>
        <a:defRPr sz="1457" kern="1200">
          <a:solidFill>
            <a:schemeClr val="tx1"/>
          </a:solidFill>
          <a:latin typeface="+mn-lt"/>
          <a:ea typeface="+mn-ea"/>
          <a:cs typeface="+mn-cs"/>
        </a:defRPr>
      </a:lvl7pPr>
      <a:lvl8pPr marL="0" indent="0" algn="l" defTabSz="740184" rtl="0" eaLnBrk="1" latinLnBrk="0" hangingPunct="1">
        <a:lnSpc>
          <a:spcPct val="100000"/>
        </a:lnSpc>
        <a:spcBef>
          <a:spcPts val="486"/>
        </a:spcBef>
        <a:buFont typeface="Arial" panose="020B0604020202020204" pitchFamily="34" charset="0"/>
        <a:buNone/>
        <a:defRPr sz="1457" kern="1200">
          <a:solidFill>
            <a:schemeClr val="tx1"/>
          </a:solidFill>
          <a:latin typeface="+mn-lt"/>
          <a:ea typeface="+mn-ea"/>
          <a:cs typeface="+mn-cs"/>
        </a:defRPr>
      </a:lvl8pPr>
      <a:lvl9pPr marL="0" indent="0" algn="l" defTabSz="740184" rtl="0" eaLnBrk="1" latinLnBrk="0" hangingPunct="1">
        <a:lnSpc>
          <a:spcPct val="100000"/>
        </a:lnSpc>
        <a:spcBef>
          <a:spcPts val="486"/>
        </a:spcBef>
        <a:buFont typeface="Arial" panose="020B0604020202020204" pitchFamily="34" charset="0"/>
        <a:buNone/>
        <a:defRPr sz="1457" kern="1200">
          <a:solidFill>
            <a:schemeClr val="tx1"/>
          </a:solidFill>
          <a:latin typeface="+mn-lt"/>
          <a:ea typeface="+mn-ea"/>
          <a:cs typeface="+mn-cs"/>
        </a:defRPr>
      </a:lvl9pPr>
    </p:bodyStyle>
    <p:otherStyle>
      <a:defPPr>
        <a:defRPr lang="en-US"/>
      </a:defPPr>
      <a:lvl1pPr marL="0" algn="l" defTabSz="740184" rtl="0" eaLnBrk="1" latinLnBrk="0" hangingPunct="1">
        <a:defRPr sz="1457" kern="1200">
          <a:solidFill>
            <a:schemeClr val="tx1"/>
          </a:solidFill>
          <a:latin typeface="+mn-lt"/>
          <a:ea typeface="+mn-ea"/>
          <a:cs typeface="+mn-cs"/>
        </a:defRPr>
      </a:lvl1pPr>
      <a:lvl2pPr marL="370092" algn="l" defTabSz="740184" rtl="0" eaLnBrk="1" latinLnBrk="0" hangingPunct="1">
        <a:defRPr sz="1457" kern="1200">
          <a:solidFill>
            <a:schemeClr val="tx1"/>
          </a:solidFill>
          <a:latin typeface="+mn-lt"/>
          <a:ea typeface="+mn-ea"/>
          <a:cs typeface="+mn-cs"/>
        </a:defRPr>
      </a:lvl2pPr>
      <a:lvl3pPr marL="740184" algn="l" defTabSz="740184" rtl="0" eaLnBrk="1" latinLnBrk="0" hangingPunct="1">
        <a:defRPr sz="1457" kern="1200">
          <a:solidFill>
            <a:schemeClr val="tx1"/>
          </a:solidFill>
          <a:latin typeface="+mn-lt"/>
          <a:ea typeface="+mn-ea"/>
          <a:cs typeface="+mn-cs"/>
        </a:defRPr>
      </a:lvl3pPr>
      <a:lvl4pPr marL="1110276" algn="l" defTabSz="740184" rtl="0" eaLnBrk="1" latinLnBrk="0" hangingPunct="1">
        <a:defRPr sz="1457" kern="1200">
          <a:solidFill>
            <a:schemeClr val="tx1"/>
          </a:solidFill>
          <a:latin typeface="+mn-lt"/>
          <a:ea typeface="+mn-ea"/>
          <a:cs typeface="+mn-cs"/>
        </a:defRPr>
      </a:lvl4pPr>
      <a:lvl5pPr marL="1480368" algn="l" defTabSz="740184" rtl="0" eaLnBrk="1" latinLnBrk="0" hangingPunct="1">
        <a:defRPr sz="1457" kern="1200">
          <a:solidFill>
            <a:schemeClr val="tx1"/>
          </a:solidFill>
          <a:latin typeface="+mn-lt"/>
          <a:ea typeface="+mn-ea"/>
          <a:cs typeface="+mn-cs"/>
        </a:defRPr>
      </a:lvl5pPr>
      <a:lvl6pPr marL="1850460" algn="l" defTabSz="740184" rtl="0" eaLnBrk="1" latinLnBrk="0" hangingPunct="1">
        <a:defRPr sz="1457" kern="1200">
          <a:solidFill>
            <a:schemeClr val="tx1"/>
          </a:solidFill>
          <a:latin typeface="+mn-lt"/>
          <a:ea typeface="+mn-ea"/>
          <a:cs typeface="+mn-cs"/>
        </a:defRPr>
      </a:lvl6pPr>
      <a:lvl7pPr marL="2220552" algn="l" defTabSz="740184" rtl="0" eaLnBrk="1" latinLnBrk="0" hangingPunct="1">
        <a:defRPr sz="1457" kern="1200">
          <a:solidFill>
            <a:schemeClr val="tx1"/>
          </a:solidFill>
          <a:latin typeface="+mn-lt"/>
          <a:ea typeface="+mn-ea"/>
          <a:cs typeface="+mn-cs"/>
        </a:defRPr>
      </a:lvl7pPr>
      <a:lvl8pPr marL="2590644" algn="l" defTabSz="740184" rtl="0" eaLnBrk="1" latinLnBrk="0" hangingPunct="1">
        <a:defRPr sz="1457" kern="1200">
          <a:solidFill>
            <a:schemeClr val="tx1"/>
          </a:solidFill>
          <a:latin typeface="+mn-lt"/>
          <a:ea typeface="+mn-ea"/>
          <a:cs typeface="+mn-cs"/>
        </a:defRPr>
      </a:lvl8pPr>
      <a:lvl9pPr marL="2960736" algn="l" defTabSz="740184" rtl="0" eaLnBrk="1" latinLnBrk="0" hangingPunct="1">
        <a:defRPr sz="1457"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hyperlink" Target="https://transport.vic.gov.au/about/statutory-planning/crossovers" TargetMode="External"/><Relationship Id="rId3" Type="http://schemas.openxmlformats.org/officeDocument/2006/relationships/oleObject" Target="../embeddings/oleObject2.bin"/><Relationship Id="rId7" Type="http://schemas.openxmlformats.org/officeDocument/2006/relationships/hyperlink" Target="https://www.landata.vic.gov.au/" TargetMode="External"/><Relationship Id="rId2" Type="http://schemas.openxmlformats.org/officeDocument/2006/relationships/slideLayout" Target="../slideLayouts/slideLayout15.xml"/><Relationship Id="rId1" Type="http://schemas.openxmlformats.org/officeDocument/2006/relationships/tags" Target="../tags/tag3.xml"/><Relationship Id="rId6" Type="http://schemas.openxmlformats.org/officeDocument/2006/relationships/hyperlink" Target="https://www.planning.vic.gov.au/policy-and-strategy/bushfire/building-in-the-bmo" TargetMode="External"/><Relationship Id="rId5" Type="http://schemas.openxmlformats.org/officeDocument/2006/relationships/hyperlink" Target="https://www.cfa.vic.gov.au/plan-prepare/building-planning-regulations/planning-controls/planning-and-bushfire-management-overlay" TargetMode="External"/><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15.xml"/><Relationship Id="rId1" Type="http://schemas.openxmlformats.org/officeDocument/2006/relationships/tags" Target="../tags/tag4.xml"/><Relationship Id="rId6" Type="http://schemas.openxmlformats.org/officeDocument/2006/relationships/hyperlink" Target="https://www.landata.vic.gov.au/" TargetMode="External"/><Relationship Id="rId5" Type="http://schemas.openxmlformats.org/officeDocument/2006/relationships/hyperlink" Target="https://www.firstpeoplesrelations.vic.gov.au/cultural-heritage-management-plans" TargetMode="External"/><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15.xml"/><Relationship Id="rId1" Type="http://schemas.openxmlformats.org/officeDocument/2006/relationships/tags" Target="../tags/tag5.xml"/><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15.xml"/><Relationship Id="rId1" Type="http://schemas.openxmlformats.org/officeDocument/2006/relationships/tags" Target="../tags/tag6.xml"/><Relationship Id="rId5" Type="http://schemas.openxmlformats.org/officeDocument/2006/relationships/hyperlink" Target="https://www.planning.vic.gov.au/schemes-and-amendments/about-planning-schemes" TargetMode="External"/><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15.xml"/><Relationship Id="rId1" Type="http://schemas.openxmlformats.org/officeDocument/2006/relationships/tags" Target="../tags/tag7.xml"/><Relationship Id="rId5" Type="http://schemas.openxmlformats.org/officeDocument/2006/relationships/hyperlink" Target="https://www.landata.vic.gov.au/" TargetMode="External"/><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15.xml"/><Relationship Id="rId1" Type="http://schemas.openxmlformats.org/officeDocument/2006/relationships/tags" Target="../tags/tag8.xml"/><Relationship Id="rId5" Type="http://schemas.openxmlformats.org/officeDocument/2006/relationships/hyperlink" Target="https://www.landata.vic.gov.au/" TargetMode="External"/><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26" Type="http://schemas.openxmlformats.org/officeDocument/2006/relationships/image" Target="../media/image24.png"/><Relationship Id="rId21" Type="http://schemas.openxmlformats.org/officeDocument/2006/relationships/image" Target="../media/image19.png"/><Relationship Id="rId42" Type="http://schemas.openxmlformats.org/officeDocument/2006/relationships/image" Target="../media/image40.png"/><Relationship Id="rId47" Type="http://schemas.openxmlformats.org/officeDocument/2006/relationships/image" Target="../media/image45.png"/><Relationship Id="rId63" Type="http://schemas.openxmlformats.org/officeDocument/2006/relationships/image" Target="../media/image61.png"/><Relationship Id="rId68" Type="http://schemas.openxmlformats.org/officeDocument/2006/relationships/image" Target="../media/image66.png"/><Relationship Id="rId7" Type="http://schemas.openxmlformats.org/officeDocument/2006/relationships/image" Target="../media/image5.png"/><Relationship Id="rId2" Type="http://schemas.openxmlformats.org/officeDocument/2006/relationships/slideLayout" Target="../slideLayouts/slideLayout15.xml"/><Relationship Id="rId16" Type="http://schemas.openxmlformats.org/officeDocument/2006/relationships/image" Target="../media/image14.png"/><Relationship Id="rId29" Type="http://schemas.openxmlformats.org/officeDocument/2006/relationships/image" Target="../media/image27.png"/><Relationship Id="rId11" Type="http://schemas.openxmlformats.org/officeDocument/2006/relationships/image" Target="../media/image9.png"/><Relationship Id="rId24" Type="http://schemas.openxmlformats.org/officeDocument/2006/relationships/image" Target="../media/image22.png"/><Relationship Id="rId32" Type="http://schemas.openxmlformats.org/officeDocument/2006/relationships/image" Target="../media/image30.png"/><Relationship Id="rId37" Type="http://schemas.openxmlformats.org/officeDocument/2006/relationships/image" Target="../media/image35.png"/><Relationship Id="rId40" Type="http://schemas.openxmlformats.org/officeDocument/2006/relationships/image" Target="../media/image38.png"/><Relationship Id="rId45" Type="http://schemas.openxmlformats.org/officeDocument/2006/relationships/image" Target="../media/image43.png"/><Relationship Id="rId53" Type="http://schemas.openxmlformats.org/officeDocument/2006/relationships/image" Target="../media/image51.png"/><Relationship Id="rId58" Type="http://schemas.openxmlformats.org/officeDocument/2006/relationships/image" Target="../media/image56.png"/><Relationship Id="rId66" Type="http://schemas.openxmlformats.org/officeDocument/2006/relationships/image" Target="../media/image64.png"/><Relationship Id="rId5" Type="http://schemas.openxmlformats.org/officeDocument/2006/relationships/image" Target="../media/image1.emf"/><Relationship Id="rId61" Type="http://schemas.openxmlformats.org/officeDocument/2006/relationships/image" Target="../media/image59.png"/><Relationship Id="rId19" Type="http://schemas.openxmlformats.org/officeDocument/2006/relationships/image" Target="../media/image17.png"/><Relationship Id="rId14" Type="http://schemas.openxmlformats.org/officeDocument/2006/relationships/image" Target="../media/image12.png"/><Relationship Id="rId22" Type="http://schemas.openxmlformats.org/officeDocument/2006/relationships/image" Target="../media/image20.png"/><Relationship Id="rId27" Type="http://schemas.openxmlformats.org/officeDocument/2006/relationships/image" Target="../media/image25.png"/><Relationship Id="rId30" Type="http://schemas.openxmlformats.org/officeDocument/2006/relationships/image" Target="../media/image28.png"/><Relationship Id="rId35" Type="http://schemas.openxmlformats.org/officeDocument/2006/relationships/image" Target="../media/image33.png"/><Relationship Id="rId43" Type="http://schemas.openxmlformats.org/officeDocument/2006/relationships/image" Target="../media/image41.png"/><Relationship Id="rId48" Type="http://schemas.openxmlformats.org/officeDocument/2006/relationships/image" Target="../media/image46.png"/><Relationship Id="rId56" Type="http://schemas.openxmlformats.org/officeDocument/2006/relationships/image" Target="../media/image54.png"/><Relationship Id="rId64" Type="http://schemas.openxmlformats.org/officeDocument/2006/relationships/image" Target="../media/image62.png"/><Relationship Id="rId69" Type="http://schemas.openxmlformats.org/officeDocument/2006/relationships/image" Target="../media/image67.png"/><Relationship Id="rId8" Type="http://schemas.openxmlformats.org/officeDocument/2006/relationships/image" Target="../media/image6.png"/><Relationship Id="rId51" Type="http://schemas.openxmlformats.org/officeDocument/2006/relationships/image" Target="../media/image49.png"/><Relationship Id="rId3" Type="http://schemas.openxmlformats.org/officeDocument/2006/relationships/notesSlide" Target="../notesSlides/notesSlide1.xml"/><Relationship Id="rId12" Type="http://schemas.openxmlformats.org/officeDocument/2006/relationships/image" Target="../media/image10.png"/><Relationship Id="rId17" Type="http://schemas.openxmlformats.org/officeDocument/2006/relationships/image" Target="../media/image15.png"/><Relationship Id="rId25" Type="http://schemas.openxmlformats.org/officeDocument/2006/relationships/image" Target="../media/image23.png"/><Relationship Id="rId33" Type="http://schemas.openxmlformats.org/officeDocument/2006/relationships/image" Target="../media/image31.png"/><Relationship Id="rId38" Type="http://schemas.openxmlformats.org/officeDocument/2006/relationships/image" Target="../media/image36.png"/><Relationship Id="rId46" Type="http://schemas.openxmlformats.org/officeDocument/2006/relationships/image" Target="../media/image44.png"/><Relationship Id="rId59" Type="http://schemas.openxmlformats.org/officeDocument/2006/relationships/image" Target="../media/image57.png"/><Relationship Id="rId67" Type="http://schemas.openxmlformats.org/officeDocument/2006/relationships/image" Target="../media/image65.png"/><Relationship Id="rId20" Type="http://schemas.openxmlformats.org/officeDocument/2006/relationships/image" Target="../media/image18.png"/><Relationship Id="rId41" Type="http://schemas.openxmlformats.org/officeDocument/2006/relationships/image" Target="../media/image39.png"/><Relationship Id="rId54" Type="http://schemas.openxmlformats.org/officeDocument/2006/relationships/image" Target="../media/image52.png"/><Relationship Id="rId62" Type="http://schemas.openxmlformats.org/officeDocument/2006/relationships/image" Target="../media/image60.png"/><Relationship Id="rId70" Type="http://schemas.openxmlformats.org/officeDocument/2006/relationships/image" Target="../media/image68.png"/><Relationship Id="rId1" Type="http://schemas.openxmlformats.org/officeDocument/2006/relationships/tags" Target="../tags/tag9.xml"/><Relationship Id="rId6" Type="http://schemas.openxmlformats.org/officeDocument/2006/relationships/image" Target="../media/image4.png"/><Relationship Id="rId15" Type="http://schemas.openxmlformats.org/officeDocument/2006/relationships/image" Target="../media/image13.png"/><Relationship Id="rId23" Type="http://schemas.openxmlformats.org/officeDocument/2006/relationships/image" Target="../media/image21.png"/><Relationship Id="rId28" Type="http://schemas.openxmlformats.org/officeDocument/2006/relationships/image" Target="../media/image26.png"/><Relationship Id="rId36" Type="http://schemas.openxmlformats.org/officeDocument/2006/relationships/image" Target="../media/image34.png"/><Relationship Id="rId49" Type="http://schemas.openxmlformats.org/officeDocument/2006/relationships/image" Target="../media/image47.png"/><Relationship Id="rId57" Type="http://schemas.openxmlformats.org/officeDocument/2006/relationships/image" Target="../media/image55.png"/><Relationship Id="rId10" Type="http://schemas.openxmlformats.org/officeDocument/2006/relationships/image" Target="../media/image8.png"/><Relationship Id="rId31" Type="http://schemas.openxmlformats.org/officeDocument/2006/relationships/image" Target="../media/image29.png"/><Relationship Id="rId44" Type="http://schemas.openxmlformats.org/officeDocument/2006/relationships/image" Target="../media/image42.png"/><Relationship Id="rId52" Type="http://schemas.openxmlformats.org/officeDocument/2006/relationships/image" Target="../media/image50.png"/><Relationship Id="rId60" Type="http://schemas.openxmlformats.org/officeDocument/2006/relationships/image" Target="../media/image58.png"/><Relationship Id="rId65" Type="http://schemas.openxmlformats.org/officeDocument/2006/relationships/image" Target="../media/image63.png"/><Relationship Id="rId4" Type="http://schemas.openxmlformats.org/officeDocument/2006/relationships/oleObject" Target="../embeddings/oleObject8.bin"/><Relationship Id="rId9" Type="http://schemas.openxmlformats.org/officeDocument/2006/relationships/image" Target="../media/image7.png"/><Relationship Id="rId13" Type="http://schemas.openxmlformats.org/officeDocument/2006/relationships/image" Target="../media/image11.png"/><Relationship Id="rId18" Type="http://schemas.openxmlformats.org/officeDocument/2006/relationships/image" Target="../media/image16.png"/><Relationship Id="rId39" Type="http://schemas.openxmlformats.org/officeDocument/2006/relationships/image" Target="../media/image37.png"/><Relationship Id="rId34" Type="http://schemas.openxmlformats.org/officeDocument/2006/relationships/image" Target="../media/image32.png"/><Relationship Id="rId50" Type="http://schemas.openxmlformats.org/officeDocument/2006/relationships/image" Target="../media/image48.png"/><Relationship Id="rId55" Type="http://schemas.openxmlformats.org/officeDocument/2006/relationships/image" Target="../media/image5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318C26-A74E-1BFA-1EA9-1936095480E6}"/>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2651635407"/>
              </p:ext>
            </p:ext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name="think-cell Slide" r:id="rId3" imgW="328" imgH="328" progId="TCLayout.ActiveDocument.1">
                  <p:embed/>
                </p:oleObj>
              </mc:Choice>
              <mc:Fallback>
                <p:oleObj name="think-cell Slide" r:id="rId3" imgW="328" imgH="328" progId="TCLayout.ActiveDocument.1">
                  <p:embed/>
                  <p:pic>
                    <p:nvPicPr>
                      <p:cNvPr id="7" name="Object 6" hidden="1">
                        <a:extLst>
                          <a:ext uri="{FF2B5EF4-FFF2-40B4-BE49-F238E27FC236}">
                            <a16:creationId xmlns:a16="http://schemas.microsoft.com/office/drawing/2014/main" id="{A3318C26-A74E-1BFA-1EA9-1936095480E6}"/>
                          </a:ext>
                          <a:ext uri="{C183D7F6-B498-43B3-948B-1728B52AA6E4}">
                            <adec:decorative xmlns:adec="http://schemas.microsoft.com/office/drawing/2017/decorative" val="1"/>
                          </a:ext>
                        </a:extLst>
                      </p:cNvPr>
                      <p:cNvPicPr/>
                      <p:nvPr/>
                    </p:nvPicPr>
                    <p:blipFill>
                      <a:blip r:embed="rId4"/>
                      <a:stretch>
                        <a:fillRect/>
                      </a:stretch>
                    </p:blipFill>
                    <p:spPr>
                      <a:xfrm>
                        <a:off x="80539" y="1714"/>
                        <a:ext cx="1714" cy="1714"/>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775851-1710-1ECE-9244-8DB335407B32}"/>
              </a:ext>
            </a:extLst>
          </p:cNvPr>
          <p:cNvSpPr>
            <a:spLocks noGrp="1"/>
          </p:cNvSpPr>
          <p:nvPr>
            <p:ph type="title"/>
          </p:nvPr>
        </p:nvSpPr>
        <p:spPr>
          <a:xfrm>
            <a:off x="472058" y="599395"/>
            <a:ext cx="4130227" cy="1122500"/>
          </a:xfrm>
        </p:spPr>
        <p:txBody>
          <a:bodyPr vert="horz"/>
          <a:lstStyle/>
          <a:p>
            <a:r>
              <a:rPr lang="en-AU" sz="2590" dirty="0"/>
              <a:t>Glossary of common planning terms</a:t>
            </a:r>
          </a:p>
        </p:txBody>
      </p:sp>
      <p:sp>
        <p:nvSpPr>
          <p:cNvPr id="5" name="Content Placeholder 2">
            <a:extLst>
              <a:ext uri="{FF2B5EF4-FFF2-40B4-BE49-F238E27FC236}">
                <a16:creationId xmlns:a16="http://schemas.microsoft.com/office/drawing/2014/main" id="{A1CE4481-A351-EDB4-D370-B5CAB633F6FF}"/>
              </a:ext>
            </a:extLst>
          </p:cNvPr>
          <p:cNvSpPr txBox="1">
            <a:spLocks/>
          </p:cNvSpPr>
          <p:nvPr/>
        </p:nvSpPr>
        <p:spPr>
          <a:xfrm>
            <a:off x="472058" y="2512497"/>
            <a:ext cx="6356918" cy="6760112"/>
          </a:xfrm>
          <a:prstGeom prst="rect">
            <a:avLst/>
          </a:prstGeom>
        </p:spPr>
        <p:txBody>
          <a:bodyPr vert="horz" lIns="0" tIns="0" rIns="0" bIns="0" rtlCol="0">
            <a:noAutofit/>
          </a:bodyPr>
          <a:lstStyle>
            <a:lvl1pPr marL="0" indent="0" algn="l" defTabSz="685800" rtl="0" eaLnBrk="1" latinLnBrk="0" hangingPunct="1">
              <a:lnSpc>
                <a:spcPct val="100000"/>
              </a:lnSpc>
              <a:spcBef>
                <a:spcPts val="450"/>
              </a:spcBef>
              <a:buFont typeface="Arial" panose="020B0604020202020204" pitchFamily="34" charset="0"/>
              <a:buNone/>
              <a:defRPr sz="1350" b="1" kern="1200">
                <a:solidFill>
                  <a:schemeClr val="accent6"/>
                </a:solidFill>
                <a:latin typeface="+mn-lt"/>
                <a:ea typeface="+mn-ea"/>
                <a:cs typeface="+mn-cs"/>
              </a:defRPr>
            </a:lvl1pPr>
            <a:lvl2pPr marL="0" indent="0" algn="l" defTabSz="685800" rtl="0" eaLnBrk="1" latinLnBrk="0" hangingPunct="1">
              <a:lnSpc>
                <a:spcPct val="100000"/>
              </a:lnSpc>
              <a:spcBef>
                <a:spcPts val="450"/>
              </a:spcBef>
              <a:buFont typeface="Arial" panose="020B0604020202020204" pitchFamily="34" charset="0"/>
              <a:buNone/>
              <a:defRPr sz="1350" kern="1200">
                <a:solidFill>
                  <a:schemeClr val="accent6"/>
                </a:solidFill>
                <a:latin typeface="+mn-lt"/>
                <a:ea typeface="+mn-ea"/>
                <a:cs typeface="+mn-cs"/>
              </a:defRPr>
            </a:lvl2pPr>
            <a:lvl3pPr marL="135000" indent="-135000" algn="l" defTabSz="685800" rtl="0" eaLnBrk="1" latinLnBrk="0" hangingPunct="1">
              <a:lnSpc>
                <a:spcPct val="100000"/>
              </a:lnSpc>
              <a:spcBef>
                <a:spcPts val="450"/>
              </a:spcBef>
              <a:buClr>
                <a:schemeClr val="accent3"/>
              </a:buClr>
              <a:buFont typeface="Arial" panose="020B0604020202020204" pitchFamily="34" charset="0"/>
              <a:buChar char="•"/>
              <a:defRPr sz="1350" kern="1200">
                <a:solidFill>
                  <a:schemeClr val="accent6"/>
                </a:solidFill>
                <a:latin typeface="+mn-lt"/>
                <a:ea typeface="+mn-ea"/>
                <a:cs typeface="+mn-cs"/>
              </a:defRPr>
            </a:lvl3pPr>
            <a:lvl4pPr marL="270000" indent="-135000" algn="l" defTabSz="685800" rtl="0" eaLnBrk="1" latinLnBrk="0" hangingPunct="1">
              <a:lnSpc>
                <a:spcPct val="100000"/>
              </a:lnSpc>
              <a:spcBef>
                <a:spcPts val="900"/>
              </a:spcBef>
              <a:spcAft>
                <a:spcPts val="900"/>
              </a:spcAft>
              <a:buClr>
                <a:schemeClr val="accent2"/>
              </a:buClr>
              <a:buFont typeface="Arial" panose="020B0604020202020204" pitchFamily="34" charset="0"/>
              <a:buChar char="•"/>
              <a:defRPr sz="1350" b="0" i="0" kern="1200">
                <a:solidFill>
                  <a:schemeClr val="accent6"/>
                </a:solidFill>
                <a:latin typeface="+mn-lt"/>
                <a:ea typeface="+mn-ea"/>
                <a:cs typeface="+mn-cs"/>
              </a:defRPr>
            </a:lvl4pPr>
            <a:lvl5pPr marL="0" indent="0" algn="l" defTabSz="685800" rtl="0" eaLnBrk="1" latinLnBrk="0" hangingPunct="1">
              <a:lnSpc>
                <a:spcPct val="100000"/>
              </a:lnSpc>
              <a:spcBef>
                <a:spcPts val="450"/>
              </a:spcBef>
              <a:buFont typeface="Arial" panose="020B0604020202020204" pitchFamily="34" charset="0"/>
              <a:buNone/>
              <a:defRPr sz="1050" b="1" kern="1200">
                <a:solidFill>
                  <a:schemeClr val="accent6"/>
                </a:solidFill>
                <a:latin typeface="+mn-lt"/>
                <a:ea typeface="+mn-ea"/>
                <a:cs typeface="+mn-cs"/>
              </a:defRPr>
            </a:lvl5pPr>
            <a:lvl6pPr marL="0" indent="0" algn="l" defTabSz="685800" rtl="0" eaLnBrk="1" latinLnBrk="0" hangingPunct="1">
              <a:lnSpc>
                <a:spcPct val="100000"/>
              </a:lnSpc>
              <a:spcBef>
                <a:spcPts val="450"/>
              </a:spcBef>
              <a:buFont typeface="Arial" panose="020B0604020202020204" pitchFamily="34" charset="0"/>
              <a:buNone/>
              <a:defRPr sz="1050" kern="1200">
                <a:solidFill>
                  <a:schemeClr val="tx1"/>
                </a:solidFill>
                <a:latin typeface="+mn-lt"/>
                <a:ea typeface="+mn-ea"/>
                <a:cs typeface="+mn-cs"/>
              </a:defRPr>
            </a:lvl6pPr>
            <a:lvl7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7pPr>
            <a:lvl8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8pPr>
            <a:lvl9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9pPr>
          </a:lstStyle>
          <a:p>
            <a:pPr algn="l" rtl="0" fontAlgn="base">
              <a:lnSpc>
                <a:spcPct val="114000"/>
              </a:lnSpc>
            </a:pPr>
            <a:r>
              <a:rPr lang="en-AU" sz="1200" dirty="0">
                <a:solidFill>
                  <a:srgbClr val="017D7D"/>
                </a:solidFill>
              </a:rPr>
              <a:t>Access / Accessway (Driveway)</a:t>
            </a:r>
            <a:r>
              <a:rPr lang="en-AU" sz="1050" b="0" dirty="0">
                <a:solidFill>
                  <a:srgbClr val="017D7D"/>
                </a:solidFill>
              </a:rPr>
              <a:t> </a:t>
            </a:r>
          </a:p>
          <a:p>
            <a:pPr fontAlgn="base">
              <a:lnSpc>
                <a:spcPct val="114000"/>
              </a:lnSpc>
              <a:spcBef>
                <a:spcPts val="0"/>
              </a:spcBef>
              <a:spcAft>
                <a:spcPts val="648"/>
              </a:spcAft>
            </a:pPr>
            <a:r>
              <a:rPr lang="en-AU" sz="1050" b="0" dirty="0">
                <a:solidFill>
                  <a:srgbClr val="000000"/>
                </a:solidFill>
              </a:rPr>
              <a:t>The path used to approach the road from within a property. It refers to what is within the site only, not on the road reserve. </a:t>
            </a:r>
            <a:endParaRPr lang="en-AU" sz="1600" b="0" dirty="0">
              <a:solidFill>
                <a:srgbClr val="000000"/>
              </a:solidFill>
              <a:latin typeface="Segoe UI" panose="020B0502040204020203" pitchFamily="34" charset="0"/>
            </a:endParaRPr>
          </a:p>
          <a:p>
            <a:pPr algn="l" rtl="0" fontAlgn="base">
              <a:lnSpc>
                <a:spcPct val="114000"/>
              </a:lnSpc>
            </a:pPr>
            <a:r>
              <a:rPr lang="en-AU" sz="1200" dirty="0">
                <a:solidFill>
                  <a:srgbClr val="017D7D"/>
                </a:solidFill>
              </a:rPr>
              <a:t>Building Envelope</a:t>
            </a:r>
            <a:endParaRPr lang="en-AU" sz="1800" b="0" dirty="0">
              <a:solidFill>
                <a:srgbClr val="017D7D"/>
              </a:solidFill>
              <a:latin typeface="Calibri" panose="020F0502020204030204" pitchFamily="34" charset="0"/>
            </a:endParaRPr>
          </a:p>
          <a:p>
            <a:pPr fontAlgn="base">
              <a:lnSpc>
                <a:spcPct val="114000"/>
              </a:lnSpc>
              <a:spcBef>
                <a:spcPts val="0"/>
              </a:spcBef>
              <a:spcAft>
                <a:spcPts val="648"/>
              </a:spcAft>
            </a:pPr>
            <a:r>
              <a:rPr lang="en-AU" sz="1050" b="0" dirty="0">
                <a:solidFill>
                  <a:srgbClr val="000000"/>
                </a:solidFill>
              </a:rPr>
              <a:t>Shows the outline where buildings can be built, including the setbacks to the property boundaries and the maximum area of a building footprint.  </a:t>
            </a:r>
            <a:endParaRPr lang="en-AU" sz="1600" b="0" dirty="0">
              <a:solidFill>
                <a:srgbClr val="000000"/>
              </a:solidFill>
              <a:latin typeface="Segoe UI" panose="020B0502040204020203" pitchFamily="34" charset="0"/>
            </a:endParaRPr>
          </a:p>
          <a:p>
            <a:pPr algn="l" rtl="0" fontAlgn="base">
              <a:lnSpc>
                <a:spcPct val="114000"/>
              </a:lnSpc>
            </a:pPr>
            <a:r>
              <a:rPr lang="en-AU" sz="1200" dirty="0">
                <a:solidFill>
                  <a:srgbClr val="017D7D"/>
                </a:solidFill>
              </a:rPr>
              <a:t>Bushfire Management Overlay (BMO</a:t>
            </a:r>
            <a:br>
              <a:rPr lang="en-AU" sz="1200" dirty="0">
                <a:solidFill>
                  <a:srgbClr val="000000"/>
                </a:solidFill>
              </a:rPr>
            </a:br>
            <a:r>
              <a:rPr lang="en-AU" sz="1050" b="0" dirty="0">
                <a:solidFill>
                  <a:srgbClr val="000000"/>
                </a:solidFill>
              </a:rPr>
              <a:t>Applies to land that might be significantly affected by bushfire. The BMO triggers the need for a Planning Permit for certain uses, developments and subdivisions, and requires appropriate bushfire protection measures.   </a:t>
            </a:r>
          </a:p>
          <a:p>
            <a:pPr fontAlgn="base">
              <a:lnSpc>
                <a:spcPct val="114000"/>
              </a:lnSpc>
              <a:spcBef>
                <a:spcPts val="648"/>
              </a:spcBef>
              <a:spcAft>
                <a:spcPts val="648"/>
              </a:spcAft>
            </a:pPr>
            <a:r>
              <a:rPr lang="en-AU" sz="1050" b="0" dirty="0">
                <a:solidFill>
                  <a:srgbClr val="000000"/>
                </a:solidFill>
              </a:rPr>
              <a:t>The</a:t>
            </a:r>
            <a:r>
              <a:rPr lang="en-AU" sz="1050" b="0" dirty="0">
                <a:solidFill>
                  <a:schemeClr val="bg2">
                    <a:lumMod val="50000"/>
                  </a:schemeClr>
                </a:solidFill>
              </a:rPr>
              <a:t> </a:t>
            </a:r>
            <a:r>
              <a:rPr lang="en-AU" sz="1050" b="0" dirty="0">
                <a:solidFill>
                  <a:schemeClr val="bg2">
                    <a:lumMod val="50000"/>
                  </a:schemeClr>
                </a:solidFill>
                <a:hlinkClick r:id="rId5">
                  <a:extLst>
                    <a:ext uri="{A12FA001-AC4F-418D-AE19-62706E023703}">
                      <ahyp:hlinkClr xmlns:ahyp="http://schemas.microsoft.com/office/drawing/2018/hyperlinkcolor" val="tx"/>
                    </a:ext>
                  </a:extLst>
                </a:hlinkClick>
              </a:rPr>
              <a:t>CFA</a:t>
            </a:r>
            <a:r>
              <a:rPr lang="en-AU" sz="1050" b="0" dirty="0">
                <a:solidFill>
                  <a:schemeClr val="bg2">
                    <a:lumMod val="50000"/>
                  </a:schemeClr>
                </a:solidFill>
              </a:rPr>
              <a:t> </a:t>
            </a:r>
            <a:r>
              <a:rPr lang="en-AU" sz="1050" b="0" dirty="0">
                <a:solidFill>
                  <a:srgbClr val="000000"/>
                </a:solidFill>
              </a:rPr>
              <a:t>and </a:t>
            </a:r>
            <a:r>
              <a:rPr lang="en-AU" sz="1050" b="0" dirty="0">
                <a:solidFill>
                  <a:schemeClr val="bg2">
                    <a:lumMod val="50000"/>
                  </a:schemeClr>
                </a:solidFill>
                <a:hlinkClick r:id="rId6">
                  <a:extLst>
                    <a:ext uri="{A12FA001-AC4F-418D-AE19-62706E023703}">
                      <ahyp:hlinkClr xmlns:ahyp="http://schemas.microsoft.com/office/drawing/2018/hyperlinkcolor" val="tx"/>
                    </a:ext>
                  </a:extLst>
                </a:hlinkClick>
              </a:rPr>
              <a:t>Department of Environment, Land, Water and Planning</a:t>
            </a:r>
            <a:r>
              <a:rPr lang="en-AU" sz="1050" b="0" dirty="0">
                <a:solidFill>
                  <a:schemeClr val="bg2">
                    <a:lumMod val="50000"/>
                  </a:schemeClr>
                </a:solidFill>
              </a:rPr>
              <a:t> </a:t>
            </a:r>
            <a:r>
              <a:rPr lang="en-AU" sz="1050" b="0" dirty="0">
                <a:solidFill>
                  <a:srgbClr val="000000"/>
                </a:solidFill>
              </a:rPr>
              <a:t>have a variety of useful resources for anyone developing in an area subject to BMO. </a:t>
            </a:r>
            <a:endParaRPr lang="en-AU" sz="1600" b="0" dirty="0">
              <a:solidFill>
                <a:srgbClr val="000000"/>
              </a:solidFill>
              <a:latin typeface="Segoe UI" panose="020B0502040204020203" pitchFamily="34" charset="0"/>
            </a:endParaRPr>
          </a:p>
          <a:p>
            <a:pPr algn="l" rtl="0" fontAlgn="base">
              <a:lnSpc>
                <a:spcPct val="114000"/>
              </a:lnSpc>
              <a:spcBef>
                <a:spcPts val="0"/>
              </a:spcBef>
            </a:pPr>
            <a:r>
              <a:rPr lang="en-AU" sz="1200" dirty="0">
                <a:solidFill>
                  <a:srgbClr val="017D7D"/>
                </a:solidFill>
              </a:rPr>
              <a:t>Caveat</a:t>
            </a:r>
            <a:r>
              <a:rPr lang="en-AU" sz="1800" b="0" dirty="0">
                <a:solidFill>
                  <a:srgbClr val="017D7D"/>
                </a:solidFill>
                <a:latin typeface="Calibri" panose="020F0502020204030204" pitchFamily="34" charset="0"/>
              </a:rPr>
              <a:t> </a:t>
            </a:r>
          </a:p>
          <a:p>
            <a:pPr fontAlgn="base">
              <a:lnSpc>
                <a:spcPct val="114000"/>
              </a:lnSpc>
              <a:spcBef>
                <a:spcPts val="0"/>
              </a:spcBef>
            </a:pPr>
            <a:r>
              <a:rPr lang="en-AU" sz="1050" b="0" dirty="0">
                <a:solidFill>
                  <a:srgbClr val="000000"/>
                </a:solidFill>
              </a:rPr>
              <a:t>A claim from any given party to an interest in the land. Caveats are listed on the Certificate of Title. Example of reasons of a caveat include an easement, or a mortgage being held on the property. You can purchase a Certificate of Title from the </a:t>
            </a:r>
            <a:r>
              <a:rPr lang="en-AU" sz="1050" b="0" dirty="0">
                <a:solidFill>
                  <a:schemeClr val="bg2">
                    <a:lumMod val="50000"/>
                  </a:schemeClr>
                </a:solidFill>
                <a:hlinkClick r:id="rId7">
                  <a:extLst>
                    <a:ext uri="{A12FA001-AC4F-418D-AE19-62706E023703}">
                      <ahyp:hlinkClr xmlns:ahyp="http://schemas.microsoft.com/office/drawing/2018/hyperlinkcolor" val="tx"/>
                    </a:ext>
                  </a:extLst>
                </a:hlinkClick>
              </a:rPr>
              <a:t>Landata</a:t>
            </a:r>
            <a:r>
              <a:rPr lang="en-AU" sz="1050" b="0" dirty="0">
                <a:solidFill>
                  <a:srgbClr val="000000"/>
                </a:solidFill>
              </a:rPr>
              <a:t> website.  </a:t>
            </a:r>
            <a:r>
              <a:rPr lang="en-AU" sz="1800" b="0" dirty="0">
                <a:solidFill>
                  <a:srgbClr val="000000"/>
                </a:solidFill>
                <a:latin typeface="Calibri" panose="020F0502020204030204" pitchFamily="34" charset="0"/>
              </a:rPr>
              <a:t> </a:t>
            </a:r>
            <a:endParaRPr lang="en-AU" sz="1600" b="0" dirty="0">
              <a:solidFill>
                <a:srgbClr val="000000"/>
              </a:solidFill>
              <a:latin typeface="Segoe UI" panose="020B0502040204020203" pitchFamily="34" charset="0"/>
            </a:endParaRPr>
          </a:p>
          <a:p>
            <a:pPr algn="l" rtl="0" fontAlgn="base">
              <a:lnSpc>
                <a:spcPct val="114000"/>
              </a:lnSpc>
              <a:spcBef>
                <a:spcPts val="0"/>
              </a:spcBef>
            </a:pPr>
            <a:r>
              <a:rPr lang="en-AU" sz="1200" dirty="0">
                <a:solidFill>
                  <a:srgbClr val="017D7D"/>
                </a:solidFill>
              </a:rPr>
              <a:t>Consolidation</a:t>
            </a:r>
            <a:r>
              <a:rPr lang="en-AU" sz="1800" b="0" dirty="0">
                <a:solidFill>
                  <a:srgbClr val="017D7D"/>
                </a:solidFill>
                <a:latin typeface="Calibri" panose="020F0502020204030204" pitchFamily="34" charset="0"/>
              </a:rPr>
              <a:t> </a:t>
            </a:r>
          </a:p>
          <a:p>
            <a:pPr fontAlgn="base">
              <a:lnSpc>
                <a:spcPct val="114000"/>
              </a:lnSpc>
              <a:spcBef>
                <a:spcPts val="0"/>
              </a:spcBef>
              <a:spcAft>
                <a:spcPts val="648"/>
              </a:spcAft>
            </a:pPr>
            <a:r>
              <a:rPr lang="en-AU" sz="1050" b="0" dirty="0">
                <a:solidFill>
                  <a:srgbClr val="000000"/>
                </a:solidFill>
              </a:rPr>
              <a:t>The joining together of two or more lots to make a single larger lot.  </a:t>
            </a:r>
          </a:p>
          <a:p>
            <a:pPr algn="l" rtl="0" fontAlgn="base">
              <a:lnSpc>
                <a:spcPct val="114000"/>
              </a:lnSpc>
            </a:pPr>
            <a:r>
              <a:rPr lang="en-AU" sz="1200" dirty="0">
                <a:solidFill>
                  <a:srgbClr val="017D7D"/>
                </a:solidFill>
              </a:rPr>
              <a:t>Copy of Plan (Title Plan) </a:t>
            </a:r>
          </a:p>
          <a:p>
            <a:pPr fontAlgn="base">
              <a:lnSpc>
                <a:spcPct val="114000"/>
              </a:lnSpc>
              <a:spcBef>
                <a:spcPts val="0"/>
              </a:spcBef>
              <a:spcAft>
                <a:spcPts val="648"/>
              </a:spcAft>
            </a:pPr>
            <a:r>
              <a:rPr lang="en-AU" sz="1050" b="0" dirty="0">
                <a:solidFill>
                  <a:srgbClr val="000000"/>
                </a:solidFill>
              </a:rPr>
              <a:t>A document that shows the subdivision of an original parcel of land, including legal boundaries and location of the parcel/s. It includes a diagram of the property. You can purchase a Title Plan from the </a:t>
            </a:r>
            <a:r>
              <a:rPr lang="en-AU" sz="1050" b="0" dirty="0">
                <a:solidFill>
                  <a:schemeClr val="bg2">
                    <a:lumMod val="50000"/>
                  </a:schemeClr>
                </a:solidFill>
                <a:hlinkClick r:id="rId7">
                  <a:extLst>
                    <a:ext uri="{A12FA001-AC4F-418D-AE19-62706E023703}">
                      <ahyp:hlinkClr xmlns:ahyp="http://schemas.microsoft.com/office/drawing/2018/hyperlinkcolor" val="tx"/>
                    </a:ext>
                  </a:extLst>
                </a:hlinkClick>
              </a:rPr>
              <a:t>Landata</a:t>
            </a:r>
            <a:r>
              <a:rPr lang="en-AU" sz="1050" b="0" dirty="0">
                <a:solidFill>
                  <a:srgbClr val="000000"/>
                </a:solidFill>
              </a:rPr>
              <a:t> website.   </a:t>
            </a:r>
          </a:p>
          <a:p>
            <a:pPr algn="l" rtl="0" fontAlgn="base">
              <a:lnSpc>
                <a:spcPct val="114000"/>
              </a:lnSpc>
            </a:pPr>
            <a:r>
              <a:rPr lang="en-AU" sz="1200" dirty="0">
                <a:solidFill>
                  <a:srgbClr val="017D7D"/>
                </a:solidFill>
              </a:rPr>
              <a:t>Copy of the Title</a:t>
            </a:r>
            <a:endParaRPr lang="en-AU" sz="1800" b="0" dirty="0">
              <a:solidFill>
                <a:srgbClr val="017D7D"/>
              </a:solidFill>
              <a:latin typeface="Calibri" panose="020F0502020204030204" pitchFamily="34" charset="0"/>
            </a:endParaRPr>
          </a:p>
          <a:p>
            <a:pPr fontAlgn="base">
              <a:lnSpc>
                <a:spcPct val="114000"/>
              </a:lnSpc>
              <a:spcBef>
                <a:spcPts val="0"/>
              </a:spcBef>
            </a:pPr>
            <a:r>
              <a:rPr lang="en-AU" sz="1050" b="0" dirty="0">
                <a:solidFill>
                  <a:srgbClr val="000000"/>
                </a:solidFill>
              </a:rPr>
              <a:t>The copy of the 'original' title held in the Land Registry. This includes information relating to who owns a piece of land and any mortgages, covenants, caveats or easements affecting the land.  </a:t>
            </a:r>
          </a:p>
          <a:p>
            <a:pPr fontAlgn="base">
              <a:lnSpc>
                <a:spcPct val="114000"/>
              </a:lnSpc>
              <a:spcBef>
                <a:spcPts val="648"/>
              </a:spcBef>
              <a:spcAft>
                <a:spcPts val="648"/>
              </a:spcAft>
            </a:pPr>
            <a:r>
              <a:rPr lang="en-AU" sz="1050" b="0" dirty="0">
                <a:solidFill>
                  <a:srgbClr val="000000"/>
                </a:solidFill>
              </a:rPr>
              <a:t>You can purchase a Copy of the Title from the </a:t>
            </a:r>
            <a:r>
              <a:rPr lang="en-AU" sz="1050" b="0" dirty="0">
                <a:solidFill>
                  <a:schemeClr val="bg2">
                    <a:lumMod val="50000"/>
                  </a:schemeClr>
                </a:solidFill>
                <a:hlinkClick r:id="rId7">
                  <a:extLst>
                    <a:ext uri="{A12FA001-AC4F-418D-AE19-62706E023703}">
                      <ahyp:hlinkClr xmlns:ahyp="http://schemas.microsoft.com/office/drawing/2018/hyperlinkcolor" val="tx"/>
                    </a:ext>
                  </a:extLst>
                </a:hlinkClick>
              </a:rPr>
              <a:t>Landata</a:t>
            </a:r>
            <a:r>
              <a:rPr lang="en-AU" sz="1050" b="0" dirty="0">
                <a:solidFill>
                  <a:srgbClr val="000000"/>
                </a:solidFill>
              </a:rPr>
              <a:t> website.   </a:t>
            </a:r>
          </a:p>
          <a:p>
            <a:pPr marL="0" marR="0" lvl="0" indent="0" algn="l" defTabSz="995507" rtl="0" eaLnBrk="1" fontAlgn="base" latinLnBrk="0" hangingPunct="1">
              <a:lnSpc>
                <a:spcPct val="114000"/>
              </a:lnSpc>
              <a:spcAft>
                <a:spcPts val="0"/>
              </a:spcAft>
              <a:buClrTx/>
              <a:buSzTx/>
              <a:buFontTx/>
              <a:buNone/>
              <a:tabLst/>
              <a:defRPr/>
            </a:pPr>
            <a:r>
              <a:rPr kumimoji="0" lang="en-AU" sz="1200" i="0" u="none" strike="noStrike" kern="1200" cap="none" spc="0" normalizeH="0" baseline="0" noProof="0" dirty="0">
                <a:ln>
                  <a:noFill/>
                </a:ln>
                <a:solidFill>
                  <a:srgbClr val="017D7D"/>
                </a:solidFill>
                <a:effectLst/>
                <a:uLnTx/>
                <a:uFillTx/>
                <a:latin typeface="Arial" panose="020B0604020202020204"/>
                <a:ea typeface="+mn-ea"/>
                <a:cs typeface="+mn-cs"/>
              </a:rPr>
              <a:t>Crossover</a:t>
            </a:r>
            <a:endParaRPr kumimoji="0" lang="en-AU" sz="1800" i="0" u="none" strike="noStrike" kern="1200" cap="none" spc="0" normalizeH="0" baseline="0" noProof="0" dirty="0">
              <a:ln>
                <a:noFill/>
              </a:ln>
              <a:solidFill>
                <a:srgbClr val="017D7D"/>
              </a:solidFill>
              <a:effectLst/>
              <a:uLnTx/>
              <a:uFillTx/>
              <a:latin typeface="Calibri" panose="020F0502020204030204" pitchFamily="34" charset="0"/>
              <a:ea typeface="+mn-ea"/>
              <a:cs typeface="+mn-cs"/>
            </a:endParaRPr>
          </a:p>
          <a:p>
            <a:pPr marL="0" marR="0" lvl="0" indent="0" algn="l" defTabSz="995507" rtl="0" eaLnBrk="1" fontAlgn="base" latinLnBrk="0" hangingPunct="1">
              <a:lnSpc>
                <a:spcPct val="114000"/>
              </a:lnSpc>
              <a:spcBef>
                <a:spcPts val="0"/>
              </a:spcBef>
              <a:spcAft>
                <a:spcPts val="648"/>
              </a:spcAft>
              <a:buClrTx/>
              <a:buSzTx/>
              <a:buFontTx/>
              <a:buNone/>
              <a:tabLst/>
              <a:defRPr/>
            </a:pPr>
            <a:r>
              <a:rPr kumimoji="0" lang="en-AU" sz="1050" b="0" i="0" u="none" strike="noStrike" kern="1200" cap="none" spc="0" normalizeH="0" baseline="0" noProof="0" dirty="0">
                <a:ln>
                  <a:noFill/>
                </a:ln>
                <a:solidFill>
                  <a:srgbClr val="000000"/>
                </a:solidFill>
                <a:effectLst/>
                <a:uLnTx/>
                <a:uFillTx/>
                <a:latin typeface="Arial" panose="020B0604020202020204"/>
                <a:ea typeface="+mn-ea"/>
                <a:cs typeface="+mn-cs"/>
              </a:rPr>
              <a:t>The connection from the edge of a property to the road. This might cross the footpath, nature strip or kerb.  </a:t>
            </a:r>
          </a:p>
          <a:p>
            <a:pPr marL="0" marR="0" lvl="0" indent="0" algn="l" defTabSz="995507" rtl="0" eaLnBrk="1" fontAlgn="base" latinLnBrk="0" hangingPunct="1">
              <a:lnSpc>
                <a:spcPct val="114000"/>
              </a:lnSpc>
              <a:spcBef>
                <a:spcPts val="0"/>
              </a:spcBef>
              <a:spcAft>
                <a:spcPts val="648"/>
              </a:spcAft>
              <a:buClrTx/>
              <a:buSzTx/>
              <a:buFontTx/>
              <a:buNone/>
              <a:tabLst/>
              <a:defRPr/>
            </a:pPr>
            <a:r>
              <a:rPr kumimoji="0" lang="en-AU" sz="1050" b="0" i="0" u="none" strike="noStrike" kern="1200" cap="none" spc="0" normalizeH="0" baseline="0" noProof="0" dirty="0">
                <a:ln>
                  <a:noFill/>
                </a:ln>
                <a:solidFill>
                  <a:srgbClr val="000000"/>
                </a:solidFill>
                <a:effectLst/>
                <a:uLnTx/>
                <a:uFillTx/>
                <a:latin typeface="Arial" panose="020B0604020202020204"/>
                <a:ea typeface="+mn-ea"/>
                <a:cs typeface="+mn-cs"/>
              </a:rPr>
              <a:t>More information on the considerations for new access to a property or creating a new crossover can be found on the </a:t>
            </a:r>
            <a:r>
              <a:rPr kumimoji="0" lang="en-AU" sz="1050" b="0" i="0" u="none" strike="noStrike" kern="1200" cap="none" spc="0" normalizeH="0" baseline="0" noProof="0" dirty="0">
                <a:ln>
                  <a:noFill/>
                </a:ln>
                <a:solidFill>
                  <a:srgbClr val="E1EEF9">
                    <a:lumMod val="50000"/>
                  </a:srgbClr>
                </a:solidFill>
                <a:effectLst/>
                <a:uLnTx/>
                <a:uFillTx/>
                <a:latin typeface="Arial" panose="020B0604020202020204"/>
                <a:ea typeface="+mn-ea"/>
                <a:cs typeface="+mn-cs"/>
                <a:hlinkClick r:id="rId8">
                  <a:extLst>
                    <a:ext uri="{A12FA001-AC4F-418D-AE19-62706E023703}">
                      <ahyp:hlinkClr xmlns:ahyp="http://schemas.microsoft.com/office/drawing/2018/hyperlinkcolor" val="tx"/>
                    </a:ext>
                  </a:extLst>
                </a:hlinkClick>
              </a:rPr>
              <a:t>Department of Transport</a:t>
            </a:r>
            <a:r>
              <a:rPr kumimoji="0" lang="en-AU" sz="1050" b="0" i="0" u="none" strike="noStrike" kern="1200" cap="none" spc="0" normalizeH="0" baseline="0" noProof="0" dirty="0">
                <a:ln>
                  <a:noFill/>
                </a:ln>
                <a:solidFill>
                  <a:srgbClr val="E1EEF9">
                    <a:lumMod val="50000"/>
                  </a:srgbClr>
                </a:solidFill>
                <a:effectLst/>
                <a:uLnTx/>
                <a:uFillTx/>
                <a:latin typeface="Arial" panose="020B0604020202020204"/>
                <a:ea typeface="+mn-ea"/>
                <a:cs typeface="+mn-cs"/>
              </a:rPr>
              <a:t> </a:t>
            </a:r>
            <a:r>
              <a:rPr kumimoji="0" lang="en-AU" sz="1050" b="0" i="0" u="none" strike="noStrike" kern="1200" cap="none" spc="0" normalizeH="0" baseline="0" noProof="0" dirty="0">
                <a:ln>
                  <a:noFill/>
                </a:ln>
                <a:solidFill>
                  <a:srgbClr val="000000"/>
                </a:solidFill>
                <a:effectLst/>
                <a:uLnTx/>
                <a:uFillTx/>
                <a:latin typeface="Arial" panose="020B0604020202020204"/>
                <a:ea typeface="+mn-ea"/>
                <a:cs typeface="+mn-cs"/>
              </a:rPr>
              <a:t>website. </a:t>
            </a:r>
          </a:p>
          <a:p>
            <a:pPr fontAlgn="base">
              <a:lnSpc>
                <a:spcPct val="114000"/>
              </a:lnSpc>
              <a:spcBef>
                <a:spcPts val="648"/>
              </a:spcBef>
              <a:spcAft>
                <a:spcPts val="648"/>
              </a:spcAft>
            </a:pPr>
            <a:endParaRPr lang="en-AU" sz="1050" b="0" dirty="0">
              <a:solidFill>
                <a:srgbClr val="000000"/>
              </a:solidFill>
            </a:endParaRPr>
          </a:p>
          <a:p>
            <a:pPr fontAlgn="base">
              <a:lnSpc>
                <a:spcPct val="114000"/>
              </a:lnSpc>
              <a:spcBef>
                <a:spcPts val="648"/>
              </a:spcBef>
              <a:spcAft>
                <a:spcPts val="648"/>
              </a:spcAft>
            </a:pPr>
            <a:endParaRPr lang="en-AU" sz="1050" b="0" dirty="0">
              <a:solidFill>
                <a:srgbClr val="000000"/>
              </a:solidFill>
            </a:endParaRPr>
          </a:p>
        </p:txBody>
      </p:sp>
      <p:sp>
        <p:nvSpPr>
          <p:cNvPr id="9" name="Content Placeholder 2">
            <a:extLst>
              <a:ext uri="{FF2B5EF4-FFF2-40B4-BE49-F238E27FC236}">
                <a16:creationId xmlns:a16="http://schemas.microsoft.com/office/drawing/2014/main" id="{B5B90C0C-76A0-4FA8-80C0-E4CB50E24617}"/>
              </a:ext>
            </a:extLst>
          </p:cNvPr>
          <p:cNvSpPr txBox="1">
            <a:spLocks/>
          </p:cNvSpPr>
          <p:nvPr/>
        </p:nvSpPr>
        <p:spPr>
          <a:xfrm>
            <a:off x="472058" y="9737742"/>
            <a:ext cx="6356918" cy="561250"/>
          </a:xfrm>
          <a:prstGeom prst="rect">
            <a:avLst/>
          </a:prstGeom>
        </p:spPr>
        <p:txBody>
          <a:bodyPr vert="horz" lIns="0" tIns="0" rIns="0" bIns="0" rtlCol="0">
            <a:noAutofit/>
          </a:bodyPr>
          <a:lstStyle>
            <a:lvl1pPr marL="0" indent="0" algn="l" defTabSz="685800" rtl="0" eaLnBrk="1" latinLnBrk="0" hangingPunct="1">
              <a:lnSpc>
                <a:spcPct val="100000"/>
              </a:lnSpc>
              <a:spcBef>
                <a:spcPts val="450"/>
              </a:spcBef>
              <a:buFont typeface="Arial" panose="020B0604020202020204" pitchFamily="34" charset="0"/>
              <a:buNone/>
              <a:defRPr sz="1350" b="1" kern="1200">
                <a:solidFill>
                  <a:schemeClr val="accent6"/>
                </a:solidFill>
                <a:latin typeface="+mn-lt"/>
                <a:ea typeface="+mn-ea"/>
                <a:cs typeface="+mn-cs"/>
              </a:defRPr>
            </a:lvl1pPr>
            <a:lvl2pPr marL="0" indent="0" algn="l" defTabSz="685800" rtl="0" eaLnBrk="1" latinLnBrk="0" hangingPunct="1">
              <a:lnSpc>
                <a:spcPct val="100000"/>
              </a:lnSpc>
              <a:spcBef>
                <a:spcPts val="450"/>
              </a:spcBef>
              <a:buFont typeface="Arial" panose="020B0604020202020204" pitchFamily="34" charset="0"/>
              <a:buNone/>
              <a:defRPr sz="1350" kern="1200">
                <a:solidFill>
                  <a:schemeClr val="accent6"/>
                </a:solidFill>
                <a:latin typeface="+mn-lt"/>
                <a:ea typeface="+mn-ea"/>
                <a:cs typeface="+mn-cs"/>
              </a:defRPr>
            </a:lvl2pPr>
            <a:lvl3pPr marL="135000" indent="-135000" algn="l" defTabSz="685800" rtl="0" eaLnBrk="1" latinLnBrk="0" hangingPunct="1">
              <a:lnSpc>
                <a:spcPct val="100000"/>
              </a:lnSpc>
              <a:spcBef>
                <a:spcPts val="450"/>
              </a:spcBef>
              <a:buClr>
                <a:schemeClr val="accent3"/>
              </a:buClr>
              <a:buFont typeface="Arial" panose="020B0604020202020204" pitchFamily="34" charset="0"/>
              <a:buChar char="•"/>
              <a:defRPr sz="1350" kern="1200">
                <a:solidFill>
                  <a:schemeClr val="accent6"/>
                </a:solidFill>
                <a:latin typeface="+mn-lt"/>
                <a:ea typeface="+mn-ea"/>
                <a:cs typeface="+mn-cs"/>
              </a:defRPr>
            </a:lvl3pPr>
            <a:lvl4pPr marL="270000" indent="-135000" algn="l" defTabSz="685800" rtl="0" eaLnBrk="1" latinLnBrk="0" hangingPunct="1">
              <a:lnSpc>
                <a:spcPct val="100000"/>
              </a:lnSpc>
              <a:spcBef>
                <a:spcPts val="900"/>
              </a:spcBef>
              <a:spcAft>
                <a:spcPts val="900"/>
              </a:spcAft>
              <a:buClr>
                <a:schemeClr val="accent2"/>
              </a:buClr>
              <a:buFont typeface="Arial" panose="020B0604020202020204" pitchFamily="34" charset="0"/>
              <a:buChar char="•"/>
              <a:defRPr sz="1350" b="0" i="0" kern="1200">
                <a:solidFill>
                  <a:schemeClr val="accent6"/>
                </a:solidFill>
                <a:latin typeface="+mn-lt"/>
                <a:ea typeface="+mn-ea"/>
                <a:cs typeface="+mn-cs"/>
              </a:defRPr>
            </a:lvl4pPr>
            <a:lvl5pPr marL="0" indent="0" algn="l" defTabSz="685800" rtl="0" eaLnBrk="1" latinLnBrk="0" hangingPunct="1">
              <a:lnSpc>
                <a:spcPct val="100000"/>
              </a:lnSpc>
              <a:spcBef>
                <a:spcPts val="450"/>
              </a:spcBef>
              <a:buFont typeface="Arial" panose="020B0604020202020204" pitchFamily="34" charset="0"/>
              <a:buNone/>
              <a:defRPr sz="1050" b="1" kern="1200">
                <a:solidFill>
                  <a:schemeClr val="accent6"/>
                </a:solidFill>
                <a:latin typeface="+mn-lt"/>
                <a:ea typeface="+mn-ea"/>
                <a:cs typeface="+mn-cs"/>
              </a:defRPr>
            </a:lvl5pPr>
            <a:lvl6pPr marL="0" indent="0" algn="l" defTabSz="685800" rtl="0" eaLnBrk="1" latinLnBrk="0" hangingPunct="1">
              <a:lnSpc>
                <a:spcPct val="100000"/>
              </a:lnSpc>
              <a:spcBef>
                <a:spcPts val="450"/>
              </a:spcBef>
              <a:buFont typeface="Arial" panose="020B0604020202020204" pitchFamily="34" charset="0"/>
              <a:buNone/>
              <a:defRPr sz="1050" kern="1200">
                <a:solidFill>
                  <a:schemeClr val="tx1"/>
                </a:solidFill>
                <a:latin typeface="+mn-lt"/>
                <a:ea typeface="+mn-ea"/>
                <a:cs typeface="+mn-cs"/>
              </a:defRPr>
            </a:lvl6pPr>
            <a:lvl7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7pPr>
            <a:lvl8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8pPr>
            <a:lvl9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9pPr>
          </a:lstStyle>
          <a:p>
            <a:r>
              <a:rPr lang="en-AU" sz="1079" b="0" i="1" dirty="0"/>
              <a:t>Disclaimer: This glossary is intended to support new permit applicants and should not be used instead of the planning scheme terms at Clause 73 of the </a:t>
            </a:r>
            <a:r>
              <a:rPr lang="en-AU" sz="1079" b="0" i="1" dirty="0">
                <a:highlight>
                  <a:srgbClr val="FFFF00"/>
                </a:highlight>
              </a:rPr>
              <a:t>XXXXX</a:t>
            </a:r>
            <a:r>
              <a:rPr lang="en-AU" sz="1079" b="0" i="1" dirty="0"/>
              <a:t> Planning Scheme. Where there are slight differences in terminology, we recommend deferring to the planning scheme definitions.</a:t>
            </a:r>
          </a:p>
          <a:p>
            <a:endParaRPr lang="en-AU" sz="1079" b="0" dirty="0"/>
          </a:p>
          <a:p>
            <a:endParaRPr lang="en-AU" sz="1295" b="0" dirty="0"/>
          </a:p>
        </p:txBody>
      </p:sp>
      <p:sp>
        <p:nvSpPr>
          <p:cNvPr id="4" name="Slide Number Placeholder 3">
            <a:extLst>
              <a:ext uri="{FF2B5EF4-FFF2-40B4-BE49-F238E27FC236}">
                <a16:creationId xmlns:a16="http://schemas.microsoft.com/office/drawing/2014/main" id="{266AEEAF-260E-01AD-67F6-9774A18E0DAD}"/>
              </a:ext>
              <a:ext uri="{C183D7F6-B498-43B3-948B-1728B52AA6E4}">
                <adec:decorative xmlns:adec="http://schemas.microsoft.com/office/drawing/2017/decorative" val="1"/>
              </a:ext>
            </a:extLst>
          </p:cNvPr>
          <p:cNvSpPr>
            <a:spLocks noGrp="1"/>
          </p:cNvSpPr>
          <p:nvPr>
            <p:ph type="sldNum" sz="quarter" idx="12"/>
          </p:nvPr>
        </p:nvSpPr>
        <p:spPr/>
        <p:txBody>
          <a:bodyPr/>
          <a:lstStyle/>
          <a:p>
            <a:r>
              <a:rPr lang="en-GB"/>
              <a:t>Page </a:t>
            </a:r>
            <a:fld id="{F5AEA0E0-5CC6-4BD0-905C-A0021E419432}" type="slidenum">
              <a:rPr lang="en-GB" smtClean="0"/>
              <a:pPr/>
              <a:t>1</a:t>
            </a:fld>
            <a:endParaRPr lang="en-GB"/>
          </a:p>
        </p:txBody>
      </p:sp>
    </p:spTree>
    <p:extLst>
      <p:ext uri="{BB962C8B-B14F-4D97-AF65-F5344CB8AC3E}">
        <p14:creationId xmlns:p14="http://schemas.microsoft.com/office/powerpoint/2010/main" val="46814756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6871745-70F1-810B-2F65-4ADD984C12EF}"/>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3241068968"/>
              </p:ext>
            </p:ext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name="think-cell Slide" r:id="rId3" imgW="328" imgH="328" progId="TCLayout.ActiveDocument.1">
                  <p:embed/>
                </p:oleObj>
              </mc:Choice>
              <mc:Fallback>
                <p:oleObj name="think-cell Slide" r:id="rId3" imgW="328" imgH="328" progId="TCLayout.ActiveDocument.1">
                  <p:embed/>
                  <p:pic>
                    <p:nvPicPr>
                      <p:cNvPr id="7" name="Object 6" hidden="1">
                        <a:extLst>
                          <a:ext uri="{FF2B5EF4-FFF2-40B4-BE49-F238E27FC236}">
                            <a16:creationId xmlns:a16="http://schemas.microsoft.com/office/drawing/2014/main" id="{C6871745-70F1-810B-2F65-4ADD984C12EF}"/>
                          </a:ext>
                          <a:ext uri="{C183D7F6-B498-43B3-948B-1728B52AA6E4}">
                            <adec:decorative xmlns:adec="http://schemas.microsoft.com/office/drawing/2017/decorative" val="1"/>
                          </a:ext>
                        </a:extLst>
                      </p:cNvPr>
                      <p:cNvPicPr/>
                      <p:nvPr/>
                    </p:nvPicPr>
                    <p:blipFill>
                      <a:blip r:embed="rId4"/>
                      <a:stretch>
                        <a:fillRect/>
                      </a:stretch>
                    </p:blipFill>
                    <p:spPr>
                      <a:xfrm>
                        <a:off x="80539" y="1714"/>
                        <a:ext cx="1714" cy="1714"/>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775851-1710-1ECE-9244-8DB335407B32}"/>
              </a:ext>
            </a:extLst>
          </p:cNvPr>
          <p:cNvSpPr>
            <a:spLocks noGrp="1"/>
          </p:cNvSpPr>
          <p:nvPr>
            <p:ph type="title"/>
          </p:nvPr>
        </p:nvSpPr>
        <p:spPr>
          <a:xfrm>
            <a:off x="472057" y="599395"/>
            <a:ext cx="4325558" cy="1122500"/>
          </a:xfrm>
        </p:spPr>
        <p:txBody>
          <a:bodyPr vert="horz"/>
          <a:lstStyle/>
          <a:p>
            <a:r>
              <a:rPr lang="en-AU" sz="2590" dirty="0"/>
              <a:t>Glossary of common planning terms p2</a:t>
            </a:r>
          </a:p>
        </p:txBody>
      </p:sp>
      <p:sp>
        <p:nvSpPr>
          <p:cNvPr id="5" name="Content Placeholder 2">
            <a:extLst>
              <a:ext uri="{FF2B5EF4-FFF2-40B4-BE49-F238E27FC236}">
                <a16:creationId xmlns:a16="http://schemas.microsoft.com/office/drawing/2014/main" id="{A1CE4481-A351-EDB4-D370-B5CAB633F6FF}"/>
              </a:ext>
            </a:extLst>
          </p:cNvPr>
          <p:cNvSpPr txBox="1">
            <a:spLocks/>
          </p:cNvSpPr>
          <p:nvPr/>
        </p:nvSpPr>
        <p:spPr>
          <a:xfrm>
            <a:off x="472058" y="2512497"/>
            <a:ext cx="6356918" cy="6760112"/>
          </a:xfrm>
          <a:prstGeom prst="rect">
            <a:avLst/>
          </a:prstGeom>
        </p:spPr>
        <p:txBody>
          <a:bodyPr vert="horz" lIns="0" tIns="0" rIns="0" bIns="0" rtlCol="0">
            <a:noAutofit/>
          </a:bodyPr>
          <a:lstStyle>
            <a:lvl1pPr marL="0" indent="0" algn="l" defTabSz="685800" rtl="0" eaLnBrk="1" latinLnBrk="0" hangingPunct="1">
              <a:lnSpc>
                <a:spcPct val="100000"/>
              </a:lnSpc>
              <a:spcBef>
                <a:spcPts val="450"/>
              </a:spcBef>
              <a:buFont typeface="Arial" panose="020B0604020202020204" pitchFamily="34" charset="0"/>
              <a:buNone/>
              <a:defRPr sz="1350" b="1" kern="1200">
                <a:solidFill>
                  <a:schemeClr val="accent6"/>
                </a:solidFill>
                <a:latin typeface="+mn-lt"/>
                <a:ea typeface="+mn-ea"/>
                <a:cs typeface="+mn-cs"/>
              </a:defRPr>
            </a:lvl1pPr>
            <a:lvl2pPr marL="0" indent="0" algn="l" defTabSz="685800" rtl="0" eaLnBrk="1" latinLnBrk="0" hangingPunct="1">
              <a:lnSpc>
                <a:spcPct val="100000"/>
              </a:lnSpc>
              <a:spcBef>
                <a:spcPts val="450"/>
              </a:spcBef>
              <a:buFont typeface="Arial" panose="020B0604020202020204" pitchFamily="34" charset="0"/>
              <a:buNone/>
              <a:defRPr sz="1350" kern="1200">
                <a:solidFill>
                  <a:schemeClr val="accent6"/>
                </a:solidFill>
                <a:latin typeface="+mn-lt"/>
                <a:ea typeface="+mn-ea"/>
                <a:cs typeface="+mn-cs"/>
              </a:defRPr>
            </a:lvl2pPr>
            <a:lvl3pPr marL="135000" indent="-135000" algn="l" defTabSz="685800" rtl="0" eaLnBrk="1" latinLnBrk="0" hangingPunct="1">
              <a:lnSpc>
                <a:spcPct val="100000"/>
              </a:lnSpc>
              <a:spcBef>
                <a:spcPts val="450"/>
              </a:spcBef>
              <a:buClr>
                <a:schemeClr val="accent3"/>
              </a:buClr>
              <a:buFont typeface="Arial" panose="020B0604020202020204" pitchFamily="34" charset="0"/>
              <a:buChar char="•"/>
              <a:defRPr sz="1350" kern="1200">
                <a:solidFill>
                  <a:schemeClr val="accent6"/>
                </a:solidFill>
                <a:latin typeface="+mn-lt"/>
                <a:ea typeface="+mn-ea"/>
                <a:cs typeface="+mn-cs"/>
              </a:defRPr>
            </a:lvl3pPr>
            <a:lvl4pPr marL="270000" indent="-135000" algn="l" defTabSz="685800" rtl="0" eaLnBrk="1" latinLnBrk="0" hangingPunct="1">
              <a:lnSpc>
                <a:spcPct val="100000"/>
              </a:lnSpc>
              <a:spcBef>
                <a:spcPts val="900"/>
              </a:spcBef>
              <a:spcAft>
                <a:spcPts val="900"/>
              </a:spcAft>
              <a:buClr>
                <a:schemeClr val="accent2"/>
              </a:buClr>
              <a:buFont typeface="Arial" panose="020B0604020202020204" pitchFamily="34" charset="0"/>
              <a:buChar char="•"/>
              <a:defRPr sz="1350" b="0" i="0" kern="1200">
                <a:solidFill>
                  <a:schemeClr val="accent6"/>
                </a:solidFill>
                <a:latin typeface="+mn-lt"/>
                <a:ea typeface="+mn-ea"/>
                <a:cs typeface="+mn-cs"/>
              </a:defRPr>
            </a:lvl4pPr>
            <a:lvl5pPr marL="0" indent="0" algn="l" defTabSz="685800" rtl="0" eaLnBrk="1" latinLnBrk="0" hangingPunct="1">
              <a:lnSpc>
                <a:spcPct val="100000"/>
              </a:lnSpc>
              <a:spcBef>
                <a:spcPts val="450"/>
              </a:spcBef>
              <a:buFont typeface="Arial" panose="020B0604020202020204" pitchFamily="34" charset="0"/>
              <a:buNone/>
              <a:defRPr sz="1050" b="1" kern="1200">
                <a:solidFill>
                  <a:schemeClr val="accent6"/>
                </a:solidFill>
                <a:latin typeface="+mn-lt"/>
                <a:ea typeface="+mn-ea"/>
                <a:cs typeface="+mn-cs"/>
              </a:defRPr>
            </a:lvl5pPr>
            <a:lvl6pPr marL="0" indent="0" algn="l" defTabSz="685800" rtl="0" eaLnBrk="1" latinLnBrk="0" hangingPunct="1">
              <a:lnSpc>
                <a:spcPct val="100000"/>
              </a:lnSpc>
              <a:spcBef>
                <a:spcPts val="450"/>
              </a:spcBef>
              <a:buFont typeface="Arial" panose="020B0604020202020204" pitchFamily="34" charset="0"/>
              <a:buNone/>
              <a:defRPr sz="1050" kern="1200">
                <a:solidFill>
                  <a:schemeClr val="tx1"/>
                </a:solidFill>
                <a:latin typeface="+mn-lt"/>
                <a:ea typeface="+mn-ea"/>
                <a:cs typeface="+mn-cs"/>
              </a:defRPr>
            </a:lvl6pPr>
            <a:lvl7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7pPr>
            <a:lvl8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8pPr>
            <a:lvl9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9pPr>
          </a:lstStyle>
          <a:p>
            <a:pPr algn="l" rtl="0" fontAlgn="base">
              <a:lnSpc>
                <a:spcPct val="114000"/>
              </a:lnSpc>
            </a:pPr>
            <a:r>
              <a:rPr lang="en-AU" sz="1200" dirty="0">
                <a:solidFill>
                  <a:srgbClr val="017D7D"/>
                </a:solidFill>
              </a:rPr>
              <a:t>Cultural Heritage Management Plan (CHMP) </a:t>
            </a:r>
          </a:p>
          <a:p>
            <a:pPr fontAlgn="base">
              <a:lnSpc>
                <a:spcPct val="114000"/>
              </a:lnSpc>
              <a:spcBef>
                <a:spcPts val="0"/>
              </a:spcBef>
              <a:spcAft>
                <a:spcPts val="648"/>
              </a:spcAft>
            </a:pPr>
            <a:r>
              <a:rPr lang="en-AU" sz="1050" b="0" dirty="0">
                <a:solidFill>
                  <a:srgbClr val="000000"/>
                </a:solidFill>
              </a:rPr>
              <a:t>A written report that includes an assessment of the potential impact of a proposed activity on Aboriginal cultural heritage.  </a:t>
            </a:r>
          </a:p>
          <a:p>
            <a:pPr fontAlgn="base">
              <a:lnSpc>
                <a:spcPct val="114000"/>
              </a:lnSpc>
              <a:spcBef>
                <a:spcPts val="0"/>
              </a:spcBef>
              <a:spcAft>
                <a:spcPts val="648"/>
              </a:spcAft>
            </a:pPr>
            <a:r>
              <a:rPr lang="en-AU" sz="1050" b="0" dirty="0">
                <a:solidFill>
                  <a:schemeClr val="bg2">
                    <a:lumMod val="50000"/>
                  </a:schemeClr>
                </a:solidFill>
                <a:hlinkClick r:id="rId5">
                  <a:extLst>
                    <a:ext uri="{A12FA001-AC4F-418D-AE19-62706E023703}">
                      <ahyp:hlinkClr xmlns:ahyp="http://schemas.microsoft.com/office/drawing/2018/hyperlinkcolor" val="tx"/>
                    </a:ext>
                  </a:extLst>
                </a:hlinkClick>
              </a:rPr>
              <a:t>First Peoples – State Relations</a:t>
            </a:r>
            <a:r>
              <a:rPr lang="en-AU" sz="1050" b="0" dirty="0">
                <a:solidFill>
                  <a:srgbClr val="000000"/>
                </a:solidFill>
              </a:rPr>
              <a:t>, has useful resources on preparing a CHMP.  </a:t>
            </a:r>
          </a:p>
          <a:p>
            <a:pPr algn="l" rtl="0" fontAlgn="base">
              <a:lnSpc>
                <a:spcPct val="114000"/>
              </a:lnSpc>
            </a:pPr>
            <a:r>
              <a:rPr lang="en-AU" sz="1200" dirty="0">
                <a:solidFill>
                  <a:srgbClr val="017D7D"/>
                </a:solidFill>
              </a:rPr>
              <a:t>Dwelling</a:t>
            </a:r>
            <a:endParaRPr lang="en-AU" sz="1800" b="0" dirty="0">
              <a:solidFill>
                <a:srgbClr val="017D7D"/>
              </a:solidFill>
              <a:latin typeface="Calibri" panose="020F0502020204030204" pitchFamily="34" charset="0"/>
            </a:endParaRPr>
          </a:p>
          <a:p>
            <a:pPr fontAlgn="base">
              <a:lnSpc>
                <a:spcPct val="114000"/>
              </a:lnSpc>
              <a:spcBef>
                <a:spcPts val="0"/>
              </a:spcBef>
              <a:spcAft>
                <a:spcPts val="648"/>
              </a:spcAft>
            </a:pPr>
            <a:r>
              <a:rPr lang="en-AU" sz="1050" b="0" dirty="0">
                <a:solidFill>
                  <a:srgbClr val="000000"/>
                </a:solidFill>
              </a:rPr>
              <a:t>Refers to a building that is capable of being used as a self-contained residence (including kitchen, bathroom, and sanitary facilities). Also known as a house.</a:t>
            </a:r>
          </a:p>
          <a:p>
            <a:pPr algn="l" rtl="0" fontAlgn="base">
              <a:lnSpc>
                <a:spcPct val="114000"/>
              </a:lnSpc>
            </a:pPr>
            <a:r>
              <a:rPr lang="en-AU" sz="1200" dirty="0">
                <a:solidFill>
                  <a:srgbClr val="017D7D"/>
                </a:solidFill>
              </a:rPr>
              <a:t>Easement</a:t>
            </a:r>
            <a:endParaRPr lang="en-AU" sz="1800" b="0" dirty="0">
              <a:solidFill>
                <a:srgbClr val="017D7D"/>
              </a:solidFill>
              <a:latin typeface="Calibri" panose="020F0502020204030204" pitchFamily="34" charset="0"/>
            </a:endParaRPr>
          </a:p>
          <a:p>
            <a:pPr fontAlgn="base">
              <a:lnSpc>
                <a:spcPct val="114000"/>
              </a:lnSpc>
              <a:spcBef>
                <a:spcPts val="0"/>
              </a:spcBef>
              <a:spcAft>
                <a:spcPts val="648"/>
              </a:spcAft>
            </a:pPr>
            <a:r>
              <a:rPr lang="en-AU" sz="1050" b="0" dirty="0">
                <a:solidFill>
                  <a:srgbClr val="000000"/>
                </a:solidFill>
              </a:rPr>
              <a:t>A right attached to a particular piece of land allowing for a specific use of that land. An easement may also mean there are restrictions on the use of that piece of land.  </a:t>
            </a:r>
          </a:p>
          <a:p>
            <a:pPr fontAlgn="base">
              <a:lnSpc>
                <a:spcPct val="114000"/>
              </a:lnSpc>
              <a:spcBef>
                <a:spcPts val="0"/>
              </a:spcBef>
            </a:pPr>
            <a:r>
              <a:rPr lang="en-AU" sz="1050" b="0" dirty="0">
                <a:solidFill>
                  <a:srgbClr val="000000"/>
                </a:solidFill>
              </a:rPr>
              <a:t>For example, a utility company may be allowed use of the land for pipes or power infrastructure, and you may not be able to build on that portion of the land. Easements are recorded on each property’s Certificate of Title. </a:t>
            </a:r>
          </a:p>
          <a:p>
            <a:pPr fontAlgn="base">
              <a:lnSpc>
                <a:spcPct val="114000"/>
              </a:lnSpc>
              <a:spcBef>
                <a:spcPts val="0"/>
              </a:spcBef>
              <a:spcAft>
                <a:spcPts val="648"/>
              </a:spcAft>
            </a:pPr>
            <a:r>
              <a:rPr lang="en-AU" sz="1050" b="0" dirty="0">
                <a:solidFill>
                  <a:srgbClr val="000000"/>
                </a:solidFill>
              </a:rPr>
              <a:t>You can purchase a Certificate of Title using the </a:t>
            </a:r>
            <a:r>
              <a:rPr lang="en-AU" sz="1050" b="0" dirty="0">
                <a:solidFill>
                  <a:schemeClr val="bg2">
                    <a:lumMod val="50000"/>
                  </a:schemeClr>
                </a:solidFill>
                <a:hlinkClick r:id="rId6">
                  <a:extLst>
                    <a:ext uri="{A12FA001-AC4F-418D-AE19-62706E023703}">
                      <ahyp:hlinkClr xmlns:ahyp="http://schemas.microsoft.com/office/drawing/2018/hyperlinkcolor" val="tx"/>
                    </a:ext>
                  </a:extLst>
                </a:hlinkClick>
              </a:rPr>
              <a:t>Landata</a:t>
            </a:r>
            <a:r>
              <a:rPr lang="en-AU" sz="1050" b="0" dirty="0">
                <a:solidFill>
                  <a:srgbClr val="000000"/>
                </a:solidFill>
              </a:rPr>
              <a:t> website.  </a:t>
            </a:r>
            <a:r>
              <a:rPr lang="en-AU" sz="1800" b="0" dirty="0">
                <a:solidFill>
                  <a:srgbClr val="000000"/>
                </a:solidFill>
                <a:latin typeface="Calibri" panose="020F0502020204030204" pitchFamily="34" charset="0"/>
              </a:rPr>
              <a:t> </a:t>
            </a:r>
            <a:endParaRPr lang="en-AU" sz="1100" b="0" dirty="0">
              <a:solidFill>
                <a:srgbClr val="000000"/>
              </a:solidFill>
              <a:latin typeface="Segoe UI" panose="020B0502040204020203" pitchFamily="34" charset="0"/>
            </a:endParaRPr>
          </a:p>
          <a:p>
            <a:pPr algn="l" rtl="0" fontAlgn="base">
              <a:lnSpc>
                <a:spcPct val="114000"/>
              </a:lnSpc>
            </a:pPr>
            <a:r>
              <a:rPr lang="en-AU" sz="1200" dirty="0">
                <a:solidFill>
                  <a:srgbClr val="017D7D"/>
                </a:solidFill>
              </a:rPr>
              <a:t>Effluent Disposal Area</a:t>
            </a:r>
          </a:p>
          <a:p>
            <a:pPr fontAlgn="base">
              <a:lnSpc>
                <a:spcPct val="114000"/>
              </a:lnSpc>
              <a:spcBef>
                <a:spcPts val="0"/>
              </a:spcBef>
              <a:spcAft>
                <a:spcPts val="648"/>
              </a:spcAft>
            </a:pPr>
            <a:r>
              <a:rPr lang="en-AU" sz="1050" b="0" dirty="0">
                <a:solidFill>
                  <a:srgbClr val="000000"/>
                </a:solidFill>
              </a:rPr>
              <a:t>The area dedicated to the treatment and discharge of wastewater. This is normally a septic tank or leach drain.</a:t>
            </a:r>
            <a:endParaRPr lang="en-AU" sz="1100" b="0" dirty="0">
              <a:solidFill>
                <a:srgbClr val="000000"/>
              </a:solidFill>
              <a:latin typeface="Segoe UI" panose="020B0502040204020203" pitchFamily="34" charset="0"/>
            </a:endParaRPr>
          </a:p>
          <a:p>
            <a:pPr algn="l" rtl="0" fontAlgn="base">
              <a:lnSpc>
                <a:spcPct val="114000"/>
              </a:lnSpc>
            </a:pPr>
            <a:r>
              <a:rPr lang="en-AU" sz="1200" dirty="0">
                <a:solidFill>
                  <a:srgbClr val="017D7D"/>
                </a:solidFill>
              </a:rPr>
              <a:t>Elevations (Elevation Plan)</a:t>
            </a:r>
          </a:p>
          <a:p>
            <a:pPr fontAlgn="base">
              <a:lnSpc>
                <a:spcPct val="114000"/>
              </a:lnSpc>
              <a:spcBef>
                <a:spcPts val="0"/>
              </a:spcBef>
              <a:spcAft>
                <a:spcPts val="648"/>
              </a:spcAft>
            </a:pPr>
            <a:r>
              <a:rPr lang="en-AU" sz="1050" b="0" dirty="0">
                <a:solidFill>
                  <a:srgbClr val="000000"/>
                </a:solidFill>
              </a:rPr>
              <a:t>An image that shows the sides, including dimensions, of a building, sign, or structure. Elevation Plans should include dimensions and orientation, with each side labelled as the north, south, east, or west facing side. </a:t>
            </a:r>
          </a:p>
          <a:p>
            <a:pPr algn="l" rtl="0" fontAlgn="base">
              <a:lnSpc>
                <a:spcPct val="114000"/>
              </a:lnSpc>
            </a:pPr>
            <a:r>
              <a:rPr lang="en-AU" sz="1200" dirty="0">
                <a:solidFill>
                  <a:srgbClr val="017D7D"/>
                </a:solidFill>
              </a:rPr>
              <a:t>Endorsed Plans (Approved Plans)</a:t>
            </a:r>
          </a:p>
          <a:p>
            <a:pPr fontAlgn="base">
              <a:lnSpc>
                <a:spcPct val="114000"/>
              </a:lnSpc>
              <a:spcBef>
                <a:spcPts val="648"/>
              </a:spcBef>
              <a:spcAft>
                <a:spcPts val="648"/>
              </a:spcAft>
            </a:pPr>
            <a:r>
              <a:rPr lang="en-AU" sz="1050" b="0" dirty="0">
                <a:solidFill>
                  <a:srgbClr val="000000"/>
                </a:solidFill>
              </a:rPr>
              <a:t>Plans that have been ‘stamped’ or approved by the Responsible Authority (normally Council) and are part of a Planning Permit. Any development must be carried out in accordance with these plans.  </a:t>
            </a:r>
          </a:p>
          <a:p>
            <a:pPr algn="l" rtl="0" fontAlgn="base">
              <a:lnSpc>
                <a:spcPct val="114000"/>
              </a:lnSpc>
            </a:pPr>
            <a:r>
              <a:rPr lang="en-AU" sz="1200" dirty="0">
                <a:solidFill>
                  <a:srgbClr val="017D7D"/>
                </a:solidFill>
              </a:rPr>
              <a:t>Environmental Significance Overlay (ESO) </a:t>
            </a:r>
            <a:br>
              <a:rPr lang="en-AU" sz="1200" dirty="0">
                <a:solidFill>
                  <a:srgbClr val="017D7D"/>
                </a:solidFill>
              </a:rPr>
            </a:br>
            <a:r>
              <a:rPr lang="en-AU" sz="1050" b="0" dirty="0">
                <a:solidFill>
                  <a:srgbClr val="000000"/>
                </a:solidFill>
              </a:rPr>
              <a:t>The ESO triggers the need for a planning permit for certain uses, developments, and subdivision, and requires consideration of ways to minimise the impact of development on the environment.  </a:t>
            </a:r>
            <a:endParaRPr lang="en-AU" sz="1600" b="0" dirty="0">
              <a:solidFill>
                <a:srgbClr val="000000"/>
              </a:solidFill>
              <a:latin typeface="Segoe UI" panose="020B0502040204020203" pitchFamily="34" charset="0"/>
            </a:endParaRPr>
          </a:p>
          <a:p>
            <a:pPr fontAlgn="base">
              <a:lnSpc>
                <a:spcPct val="114000"/>
              </a:lnSpc>
              <a:spcBef>
                <a:spcPts val="0"/>
              </a:spcBef>
              <a:spcAft>
                <a:spcPts val="648"/>
              </a:spcAft>
            </a:pPr>
            <a:endParaRPr lang="en-AU" sz="1050" b="0" dirty="0">
              <a:solidFill>
                <a:srgbClr val="000000"/>
              </a:solidFill>
            </a:endParaRPr>
          </a:p>
        </p:txBody>
      </p:sp>
      <p:sp>
        <p:nvSpPr>
          <p:cNvPr id="3" name="Content Placeholder 2">
            <a:extLst>
              <a:ext uri="{FF2B5EF4-FFF2-40B4-BE49-F238E27FC236}">
                <a16:creationId xmlns:a16="http://schemas.microsoft.com/office/drawing/2014/main" id="{EF204A55-D2E0-E180-5D94-7599DC89CF23}"/>
              </a:ext>
            </a:extLst>
          </p:cNvPr>
          <p:cNvSpPr txBox="1">
            <a:spLocks/>
          </p:cNvSpPr>
          <p:nvPr/>
        </p:nvSpPr>
        <p:spPr>
          <a:xfrm>
            <a:off x="472058" y="9737742"/>
            <a:ext cx="6356918" cy="561250"/>
          </a:xfrm>
          <a:prstGeom prst="rect">
            <a:avLst/>
          </a:prstGeom>
        </p:spPr>
        <p:txBody>
          <a:bodyPr vert="horz" lIns="0" tIns="0" rIns="0" bIns="0" rtlCol="0">
            <a:noAutofit/>
          </a:bodyPr>
          <a:lstStyle>
            <a:lvl1pPr marL="0" indent="0" algn="l" defTabSz="685800" rtl="0" eaLnBrk="1" latinLnBrk="0" hangingPunct="1">
              <a:lnSpc>
                <a:spcPct val="100000"/>
              </a:lnSpc>
              <a:spcBef>
                <a:spcPts val="450"/>
              </a:spcBef>
              <a:buFont typeface="Arial" panose="020B0604020202020204" pitchFamily="34" charset="0"/>
              <a:buNone/>
              <a:defRPr sz="1350" b="1" kern="1200">
                <a:solidFill>
                  <a:schemeClr val="accent6"/>
                </a:solidFill>
                <a:latin typeface="+mn-lt"/>
                <a:ea typeface="+mn-ea"/>
                <a:cs typeface="+mn-cs"/>
              </a:defRPr>
            </a:lvl1pPr>
            <a:lvl2pPr marL="0" indent="0" algn="l" defTabSz="685800" rtl="0" eaLnBrk="1" latinLnBrk="0" hangingPunct="1">
              <a:lnSpc>
                <a:spcPct val="100000"/>
              </a:lnSpc>
              <a:spcBef>
                <a:spcPts val="450"/>
              </a:spcBef>
              <a:buFont typeface="Arial" panose="020B0604020202020204" pitchFamily="34" charset="0"/>
              <a:buNone/>
              <a:defRPr sz="1350" kern="1200">
                <a:solidFill>
                  <a:schemeClr val="accent6"/>
                </a:solidFill>
                <a:latin typeface="+mn-lt"/>
                <a:ea typeface="+mn-ea"/>
                <a:cs typeface="+mn-cs"/>
              </a:defRPr>
            </a:lvl2pPr>
            <a:lvl3pPr marL="135000" indent="-135000" algn="l" defTabSz="685800" rtl="0" eaLnBrk="1" latinLnBrk="0" hangingPunct="1">
              <a:lnSpc>
                <a:spcPct val="100000"/>
              </a:lnSpc>
              <a:spcBef>
                <a:spcPts val="450"/>
              </a:spcBef>
              <a:buClr>
                <a:schemeClr val="accent3"/>
              </a:buClr>
              <a:buFont typeface="Arial" panose="020B0604020202020204" pitchFamily="34" charset="0"/>
              <a:buChar char="•"/>
              <a:defRPr sz="1350" kern="1200">
                <a:solidFill>
                  <a:schemeClr val="accent6"/>
                </a:solidFill>
                <a:latin typeface="+mn-lt"/>
                <a:ea typeface="+mn-ea"/>
                <a:cs typeface="+mn-cs"/>
              </a:defRPr>
            </a:lvl3pPr>
            <a:lvl4pPr marL="270000" indent="-135000" algn="l" defTabSz="685800" rtl="0" eaLnBrk="1" latinLnBrk="0" hangingPunct="1">
              <a:lnSpc>
                <a:spcPct val="100000"/>
              </a:lnSpc>
              <a:spcBef>
                <a:spcPts val="900"/>
              </a:spcBef>
              <a:spcAft>
                <a:spcPts val="900"/>
              </a:spcAft>
              <a:buClr>
                <a:schemeClr val="accent2"/>
              </a:buClr>
              <a:buFont typeface="Arial" panose="020B0604020202020204" pitchFamily="34" charset="0"/>
              <a:buChar char="•"/>
              <a:defRPr sz="1350" b="0" i="0" kern="1200">
                <a:solidFill>
                  <a:schemeClr val="accent6"/>
                </a:solidFill>
                <a:latin typeface="+mn-lt"/>
                <a:ea typeface="+mn-ea"/>
                <a:cs typeface="+mn-cs"/>
              </a:defRPr>
            </a:lvl4pPr>
            <a:lvl5pPr marL="0" indent="0" algn="l" defTabSz="685800" rtl="0" eaLnBrk="1" latinLnBrk="0" hangingPunct="1">
              <a:lnSpc>
                <a:spcPct val="100000"/>
              </a:lnSpc>
              <a:spcBef>
                <a:spcPts val="450"/>
              </a:spcBef>
              <a:buFont typeface="Arial" panose="020B0604020202020204" pitchFamily="34" charset="0"/>
              <a:buNone/>
              <a:defRPr sz="1050" b="1" kern="1200">
                <a:solidFill>
                  <a:schemeClr val="accent6"/>
                </a:solidFill>
                <a:latin typeface="+mn-lt"/>
                <a:ea typeface="+mn-ea"/>
                <a:cs typeface="+mn-cs"/>
              </a:defRPr>
            </a:lvl5pPr>
            <a:lvl6pPr marL="0" indent="0" algn="l" defTabSz="685800" rtl="0" eaLnBrk="1" latinLnBrk="0" hangingPunct="1">
              <a:lnSpc>
                <a:spcPct val="100000"/>
              </a:lnSpc>
              <a:spcBef>
                <a:spcPts val="450"/>
              </a:spcBef>
              <a:buFont typeface="Arial" panose="020B0604020202020204" pitchFamily="34" charset="0"/>
              <a:buNone/>
              <a:defRPr sz="1050" kern="1200">
                <a:solidFill>
                  <a:schemeClr val="tx1"/>
                </a:solidFill>
                <a:latin typeface="+mn-lt"/>
                <a:ea typeface="+mn-ea"/>
                <a:cs typeface="+mn-cs"/>
              </a:defRPr>
            </a:lvl6pPr>
            <a:lvl7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7pPr>
            <a:lvl8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8pPr>
            <a:lvl9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9pPr>
          </a:lstStyle>
          <a:p>
            <a:r>
              <a:rPr lang="en-AU" sz="1079" b="0" i="1" dirty="0"/>
              <a:t>Disclaimer: This glossary is intended to support new permit applicants and should not be used instead of the planning scheme terms at Clause 73 of the </a:t>
            </a:r>
            <a:r>
              <a:rPr lang="en-AU" sz="1079" b="0" i="1" dirty="0">
                <a:highlight>
                  <a:srgbClr val="FFFF00"/>
                </a:highlight>
              </a:rPr>
              <a:t>XXXXX</a:t>
            </a:r>
            <a:r>
              <a:rPr lang="en-AU" sz="1079" b="0" i="1" dirty="0"/>
              <a:t> Planning Scheme. Where there are slight differences in terminology, we recommend deferring to the planning scheme definitions.</a:t>
            </a:r>
          </a:p>
          <a:p>
            <a:endParaRPr lang="en-AU" sz="1079" b="0" dirty="0"/>
          </a:p>
          <a:p>
            <a:endParaRPr lang="en-AU" sz="1295" b="0" dirty="0"/>
          </a:p>
        </p:txBody>
      </p:sp>
      <p:sp>
        <p:nvSpPr>
          <p:cNvPr id="4" name="Slide Number Placeholder 3">
            <a:extLst>
              <a:ext uri="{FF2B5EF4-FFF2-40B4-BE49-F238E27FC236}">
                <a16:creationId xmlns:a16="http://schemas.microsoft.com/office/drawing/2014/main" id="{266AEEAF-260E-01AD-67F6-9774A18E0DAD}"/>
              </a:ext>
              <a:ext uri="{C183D7F6-B498-43B3-948B-1728B52AA6E4}">
                <adec:decorative xmlns:adec="http://schemas.microsoft.com/office/drawing/2017/decorative" val="1"/>
              </a:ext>
            </a:extLst>
          </p:cNvPr>
          <p:cNvSpPr>
            <a:spLocks noGrp="1"/>
          </p:cNvSpPr>
          <p:nvPr>
            <p:ph type="sldNum" sz="quarter" idx="12"/>
          </p:nvPr>
        </p:nvSpPr>
        <p:spPr/>
        <p:txBody>
          <a:bodyPr/>
          <a:lstStyle/>
          <a:p>
            <a:r>
              <a:rPr lang="en-GB"/>
              <a:t>Page </a:t>
            </a:r>
            <a:fld id="{F5AEA0E0-5CC6-4BD0-905C-A0021E419432}" type="slidenum">
              <a:rPr lang="en-GB" smtClean="0"/>
              <a:pPr/>
              <a:t>2</a:t>
            </a:fld>
            <a:endParaRPr lang="en-GB"/>
          </a:p>
        </p:txBody>
      </p:sp>
    </p:spTree>
    <p:extLst>
      <p:ext uri="{BB962C8B-B14F-4D97-AF65-F5344CB8AC3E}">
        <p14:creationId xmlns:p14="http://schemas.microsoft.com/office/powerpoint/2010/main" val="67364542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B6F0D2C-288C-F8BE-1C34-05192D444831}"/>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41232587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8" imgH="328" progId="TCLayout.ActiveDocument.1">
                  <p:embed/>
                </p:oleObj>
              </mc:Choice>
              <mc:Fallback>
                <p:oleObj name="think-cell Slide" r:id="rId3" imgW="328" imgH="328" progId="TCLayout.ActiveDocument.1">
                  <p:embed/>
                  <p:pic>
                    <p:nvPicPr>
                      <p:cNvPr id="7" name="Object 6" hidden="1">
                        <a:extLst>
                          <a:ext uri="{FF2B5EF4-FFF2-40B4-BE49-F238E27FC236}">
                            <a16:creationId xmlns:a16="http://schemas.microsoft.com/office/drawing/2014/main" id="{0B6F0D2C-288C-F8BE-1C34-05192D444831}"/>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775851-1710-1ECE-9244-8DB335407B32}"/>
              </a:ext>
            </a:extLst>
          </p:cNvPr>
          <p:cNvSpPr>
            <a:spLocks noGrp="1"/>
          </p:cNvSpPr>
          <p:nvPr>
            <p:ph type="title"/>
          </p:nvPr>
        </p:nvSpPr>
        <p:spPr>
          <a:xfrm>
            <a:off x="472058" y="599396"/>
            <a:ext cx="4232738" cy="1122500"/>
          </a:xfrm>
        </p:spPr>
        <p:txBody>
          <a:bodyPr vert="horz"/>
          <a:lstStyle/>
          <a:p>
            <a:r>
              <a:rPr lang="en-AU" sz="2590" dirty="0"/>
              <a:t>Glossary of common planning terms p3</a:t>
            </a:r>
          </a:p>
        </p:txBody>
      </p:sp>
      <p:sp>
        <p:nvSpPr>
          <p:cNvPr id="5" name="Content Placeholder 2">
            <a:extLst>
              <a:ext uri="{FF2B5EF4-FFF2-40B4-BE49-F238E27FC236}">
                <a16:creationId xmlns:a16="http://schemas.microsoft.com/office/drawing/2014/main" id="{A1CE4481-A351-EDB4-D370-B5CAB633F6FF}"/>
              </a:ext>
            </a:extLst>
          </p:cNvPr>
          <p:cNvSpPr txBox="1">
            <a:spLocks/>
          </p:cNvSpPr>
          <p:nvPr/>
        </p:nvSpPr>
        <p:spPr>
          <a:xfrm>
            <a:off x="472058" y="2512497"/>
            <a:ext cx="6356918" cy="6760112"/>
          </a:xfrm>
          <a:prstGeom prst="rect">
            <a:avLst/>
          </a:prstGeom>
        </p:spPr>
        <p:txBody>
          <a:bodyPr vert="horz" lIns="0" tIns="0" rIns="0" bIns="0" rtlCol="0">
            <a:noAutofit/>
          </a:bodyPr>
          <a:lstStyle>
            <a:lvl1pPr marL="0" indent="0" algn="l" defTabSz="685800" rtl="0" eaLnBrk="1" latinLnBrk="0" hangingPunct="1">
              <a:lnSpc>
                <a:spcPct val="100000"/>
              </a:lnSpc>
              <a:spcBef>
                <a:spcPts val="450"/>
              </a:spcBef>
              <a:buFont typeface="Arial" panose="020B0604020202020204" pitchFamily="34" charset="0"/>
              <a:buNone/>
              <a:defRPr sz="1350" b="1" kern="1200">
                <a:solidFill>
                  <a:schemeClr val="accent6"/>
                </a:solidFill>
                <a:latin typeface="+mn-lt"/>
                <a:ea typeface="+mn-ea"/>
                <a:cs typeface="+mn-cs"/>
              </a:defRPr>
            </a:lvl1pPr>
            <a:lvl2pPr marL="0" indent="0" algn="l" defTabSz="685800" rtl="0" eaLnBrk="1" latinLnBrk="0" hangingPunct="1">
              <a:lnSpc>
                <a:spcPct val="100000"/>
              </a:lnSpc>
              <a:spcBef>
                <a:spcPts val="450"/>
              </a:spcBef>
              <a:buFont typeface="Arial" panose="020B0604020202020204" pitchFamily="34" charset="0"/>
              <a:buNone/>
              <a:defRPr sz="1350" kern="1200">
                <a:solidFill>
                  <a:schemeClr val="accent6"/>
                </a:solidFill>
                <a:latin typeface="+mn-lt"/>
                <a:ea typeface="+mn-ea"/>
                <a:cs typeface="+mn-cs"/>
              </a:defRPr>
            </a:lvl2pPr>
            <a:lvl3pPr marL="135000" indent="-135000" algn="l" defTabSz="685800" rtl="0" eaLnBrk="1" latinLnBrk="0" hangingPunct="1">
              <a:lnSpc>
                <a:spcPct val="100000"/>
              </a:lnSpc>
              <a:spcBef>
                <a:spcPts val="450"/>
              </a:spcBef>
              <a:buClr>
                <a:schemeClr val="accent3"/>
              </a:buClr>
              <a:buFont typeface="Arial" panose="020B0604020202020204" pitchFamily="34" charset="0"/>
              <a:buChar char="•"/>
              <a:defRPr sz="1350" kern="1200">
                <a:solidFill>
                  <a:schemeClr val="accent6"/>
                </a:solidFill>
                <a:latin typeface="+mn-lt"/>
                <a:ea typeface="+mn-ea"/>
                <a:cs typeface="+mn-cs"/>
              </a:defRPr>
            </a:lvl3pPr>
            <a:lvl4pPr marL="270000" indent="-135000" algn="l" defTabSz="685800" rtl="0" eaLnBrk="1" latinLnBrk="0" hangingPunct="1">
              <a:lnSpc>
                <a:spcPct val="100000"/>
              </a:lnSpc>
              <a:spcBef>
                <a:spcPts val="900"/>
              </a:spcBef>
              <a:spcAft>
                <a:spcPts val="900"/>
              </a:spcAft>
              <a:buClr>
                <a:schemeClr val="accent2"/>
              </a:buClr>
              <a:buFont typeface="Arial" panose="020B0604020202020204" pitchFamily="34" charset="0"/>
              <a:buChar char="•"/>
              <a:defRPr sz="1350" b="0" i="0" kern="1200">
                <a:solidFill>
                  <a:schemeClr val="accent6"/>
                </a:solidFill>
                <a:latin typeface="+mn-lt"/>
                <a:ea typeface="+mn-ea"/>
                <a:cs typeface="+mn-cs"/>
              </a:defRPr>
            </a:lvl4pPr>
            <a:lvl5pPr marL="0" indent="0" algn="l" defTabSz="685800" rtl="0" eaLnBrk="1" latinLnBrk="0" hangingPunct="1">
              <a:lnSpc>
                <a:spcPct val="100000"/>
              </a:lnSpc>
              <a:spcBef>
                <a:spcPts val="450"/>
              </a:spcBef>
              <a:buFont typeface="Arial" panose="020B0604020202020204" pitchFamily="34" charset="0"/>
              <a:buNone/>
              <a:defRPr sz="1050" b="1" kern="1200">
                <a:solidFill>
                  <a:schemeClr val="accent6"/>
                </a:solidFill>
                <a:latin typeface="+mn-lt"/>
                <a:ea typeface="+mn-ea"/>
                <a:cs typeface="+mn-cs"/>
              </a:defRPr>
            </a:lvl5pPr>
            <a:lvl6pPr marL="0" indent="0" algn="l" defTabSz="685800" rtl="0" eaLnBrk="1" latinLnBrk="0" hangingPunct="1">
              <a:lnSpc>
                <a:spcPct val="100000"/>
              </a:lnSpc>
              <a:spcBef>
                <a:spcPts val="450"/>
              </a:spcBef>
              <a:buFont typeface="Arial" panose="020B0604020202020204" pitchFamily="34" charset="0"/>
              <a:buNone/>
              <a:defRPr sz="1050" kern="1200">
                <a:solidFill>
                  <a:schemeClr val="tx1"/>
                </a:solidFill>
                <a:latin typeface="+mn-lt"/>
                <a:ea typeface="+mn-ea"/>
                <a:cs typeface="+mn-cs"/>
              </a:defRPr>
            </a:lvl6pPr>
            <a:lvl7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7pPr>
            <a:lvl8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8pPr>
            <a:lvl9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9pPr>
          </a:lstStyle>
          <a:p>
            <a:pPr algn="l" rtl="0" fontAlgn="base">
              <a:lnSpc>
                <a:spcPct val="114000"/>
              </a:lnSpc>
            </a:pPr>
            <a:r>
              <a:rPr lang="en-AU" sz="1200" dirty="0">
                <a:solidFill>
                  <a:srgbClr val="017D7D"/>
                </a:solidFill>
              </a:rPr>
              <a:t>Exemptions</a:t>
            </a:r>
            <a:endParaRPr lang="en-AU" sz="1800" dirty="0">
              <a:solidFill>
                <a:srgbClr val="017D7D"/>
              </a:solidFill>
              <a:latin typeface="Calibri" panose="020F0502020204030204" pitchFamily="34" charset="0"/>
            </a:endParaRPr>
          </a:p>
          <a:p>
            <a:pPr fontAlgn="base">
              <a:lnSpc>
                <a:spcPct val="114000"/>
              </a:lnSpc>
              <a:spcBef>
                <a:spcPts val="648"/>
              </a:spcBef>
              <a:spcAft>
                <a:spcPts val="648"/>
              </a:spcAft>
            </a:pPr>
            <a:r>
              <a:rPr lang="en-AU" sz="1050" b="0" dirty="0">
                <a:solidFill>
                  <a:srgbClr val="000000"/>
                </a:solidFill>
              </a:rPr>
              <a:t>If particular criteria is met, some proposals may be exempt.  </a:t>
            </a:r>
          </a:p>
          <a:p>
            <a:pPr fontAlgn="base">
              <a:lnSpc>
                <a:spcPct val="114000"/>
              </a:lnSpc>
              <a:spcBef>
                <a:spcPts val="0"/>
              </a:spcBef>
              <a:spcAft>
                <a:spcPts val="648"/>
              </a:spcAft>
            </a:pPr>
            <a:r>
              <a:rPr lang="en-AU" sz="1050" b="0" dirty="0">
                <a:solidFill>
                  <a:srgbClr val="000000"/>
                </a:solidFill>
              </a:rPr>
              <a:t>For example: Siting of a shed close to a waterway or road reserve may trigger the requirement for a Planning Permit.  If the proposed site of the shed can be moved, this might result in exemption from the requirement for a permit.</a:t>
            </a:r>
            <a:endParaRPr lang="en-AU" sz="1600" b="0" dirty="0">
              <a:solidFill>
                <a:srgbClr val="000000"/>
              </a:solidFill>
              <a:latin typeface="Segoe UI" panose="020B0502040204020203" pitchFamily="34" charset="0"/>
            </a:endParaRPr>
          </a:p>
          <a:p>
            <a:pPr algn="l" rtl="0" fontAlgn="base">
              <a:lnSpc>
                <a:spcPct val="114000"/>
              </a:lnSpc>
              <a:spcAft>
                <a:spcPts val="600"/>
              </a:spcAft>
            </a:pPr>
            <a:r>
              <a:rPr lang="en-AU" sz="1200" dirty="0">
                <a:solidFill>
                  <a:srgbClr val="017D7D"/>
                </a:solidFill>
              </a:rPr>
              <a:t>Farming Zone </a:t>
            </a:r>
            <a:br>
              <a:rPr lang="en-AU" sz="1200" dirty="0">
                <a:solidFill>
                  <a:srgbClr val="000000"/>
                </a:solidFill>
              </a:rPr>
            </a:br>
            <a:r>
              <a:rPr lang="en-AU" sz="1050" b="0" dirty="0">
                <a:solidFill>
                  <a:srgbClr val="000000"/>
                </a:solidFill>
              </a:rPr>
              <a:t>A zone intended to be used for agricultural purposes. Aims to ensure ongoing protection of productive farmland and that non-agricultural uses do not detract from that purpose. </a:t>
            </a:r>
          </a:p>
          <a:p>
            <a:pPr algn="l" rtl="0" fontAlgn="base">
              <a:lnSpc>
                <a:spcPct val="114000"/>
              </a:lnSpc>
              <a:spcAft>
                <a:spcPts val="600"/>
              </a:spcAft>
            </a:pPr>
            <a:r>
              <a:rPr lang="en-AU" sz="1200" dirty="0">
                <a:solidFill>
                  <a:srgbClr val="017D7D"/>
                </a:solidFill>
              </a:rPr>
              <a:t>Industrial Zone </a:t>
            </a:r>
            <a:br>
              <a:rPr lang="en-AU" sz="1200" dirty="0">
                <a:solidFill>
                  <a:srgbClr val="000000"/>
                </a:solidFill>
              </a:rPr>
            </a:br>
            <a:r>
              <a:rPr lang="en-AU" sz="1050" b="0" dirty="0">
                <a:solidFill>
                  <a:srgbClr val="000000"/>
                </a:solidFill>
              </a:rPr>
              <a:t>A zone intended to be used for the manufacturing industry and the storage and distribution of goods.</a:t>
            </a:r>
            <a:endParaRPr lang="en-AU" sz="1600" b="0" dirty="0">
              <a:solidFill>
                <a:srgbClr val="000000"/>
              </a:solidFill>
              <a:latin typeface="Segoe UI" panose="020B0502040204020203" pitchFamily="34" charset="0"/>
            </a:endParaRPr>
          </a:p>
          <a:p>
            <a:pPr algn="l" rtl="0" fontAlgn="base">
              <a:lnSpc>
                <a:spcPct val="114000"/>
              </a:lnSpc>
            </a:pPr>
            <a:r>
              <a:rPr lang="en-AU" sz="1200" dirty="0">
                <a:solidFill>
                  <a:srgbClr val="017D7D"/>
                </a:solidFill>
              </a:rPr>
              <a:t>Landscape Plan</a:t>
            </a:r>
          </a:p>
          <a:p>
            <a:pPr fontAlgn="base">
              <a:lnSpc>
                <a:spcPct val="114000"/>
              </a:lnSpc>
              <a:spcBef>
                <a:spcPts val="648"/>
              </a:spcBef>
              <a:spcAft>
                <a:spcPts val="648"/>
              </a:spcAft>
            </a:pPr>
            <a:r>
              <a:rPr lang="en-AU" sz="1050" b="0" dirty="0">
                <a:solidFill>
                  <a:srgbClr val="000000"/>
                </a:solidFill>
              </a:rPr>
              <a:t>A plan drawn to scale showing the proposed site design. As well as the boundaries, structures, paths, and driveways. It should include all current and proposed vegetation (including names), a planting schedule of proposed vegetation, quantities, and sizes at maturity. </a:t>
            </a:r>
            <a:endParaRPr lang="en-AU" sz="1600" b="0" dirty="0">
              <a:solidFill>
                <a:srgbClr val="000000"/>
              </a:solidFill>
              <a:latin typeface="Segoe UI" panose="020B0502040204020203" pitchFamily="34" charset="0"/>
            </a:endParaRPr>
          </a:p>
          <a:p>
            <a:pPr algn="l" rtl="0" fontAlgn="base">
              <a:lnSpc>
                <a:spcPct val="114000"/>
              </a:lnSpc>
            </a:pPr>
            <a:r>
              <a:rPr lang="en-AU" sz="1200" dirty="0">
                <a:solidFill>
                  <a:srgbClr val="017D7D"/>
                </a:solidFill>
              </a:rPr>
              <a:t>Lot (Allotment)</a:t>
            </a:r>
          </a:p>
          <a:p>
            <a:pPr fontAlgn="base">
              <a:lnSpc>
                <a:spcPct val="114000"/>
              </a:lnSpc>
              <a:spcBef>
                <a:spcPts val="648"/>
              </a:spcBef>
              <a:spcAft>
                <a:spcPts val="648"/>
              </a:spcAft>
            </a:pPr>
            <a:r>
              <a:rPr lang="en-AU" sz="1050" b="0" dirty="0">
                <a:solidFill>
                  <a:srgbClr val="000000"/>
                </a:solidFill>
              </a:rPr>
              <a:t>Land that can be sold separately without being subdivided.  </a:t>
            </a:r>
          </a:p>
          <a:p>
            <a:pPr>
              <a:lnSpc>
                <a:spcPct val="114000"/>
              </a:lnSpc>
            </a:pPr>
            <a:r>
              <a:rPr lang="en-AU" sz="1200" dirty="0">
                <a:solidFill>
                  <a:srgbClr val="017D7D"/>
                </a:solidFill>
              </a:rPr>
              <a:t>Native Vegetation</a:t>
            </a:r>
          </a:p>
          <a:p>
            <a:pPr>
              <a:lnSpc>
                <a:spcPct val="114000"/>
              </a:lnSpc>
              <a:spcBef>
                <a:spcPts val="648"/>
              </a:spcBef>
              <a:spcAft>
                <a:spcPts val="648"/>
              </a:spcAft>
            </a:pPr>
            <a:r>
              <a:rPr lang="en-AU" sz="1050" b="0" dirty="0">
                <a:solidFill>
                  <a:srgbClr val="000000"/>
                </a:solidFill>
              </a:rPr>
              <a:t>Includes vegetation indigenous to the region including, although not limited to, trees, shrubs, and grasses</a:t>
            </a:r>
          </a:p>
          <a:p>
            <a:pPr algn="l" rtl="0" fontAlgn="base">
              <a:lnSpc>
                <a:spcPct val="114000"/>
              </a:lnSpc>
            </a:pPr>
            <a:r>
              <a:rPr lang="en-AU" sz="1200" dirty="0">
                <a:solidFill>
                  <a:srgbClr val="017D7D"/>
                </a:solidFill>
              </a:rPr>
              <a:t>Native Vegetation Offset</a:t>
            </a:r>
          </a:p>
          <a:p>
            <a:pPr fontAlgn="base">
              <a:lnSpc>
                <a:spcPct val="114000"/>
              </a:lnSpc>
              <a:spcBef>
                <a:spcPts val="648"/>
              </a:spcBef>
              <a:spcAft>
                <a:spcPts val="648"/>
              </a:spcAft>
            </a:pPr>
            <a:r>
              <a:rPr lang="en-AU" sz="1050" b="0" dirty="0">
                <a:solidFill>
                  <a:srgbClr val="000000"/>
                </a:solidFill>
              </a:rPr>
              <a:t>Aims to balance the impact of removing native vegetation. This offset might include protecting, increasing the amount, or paying to have native vegetation planted elsewhere. </a:t>
            </a:r>
          </a:p>
          <a:p>
            <a:pPr fontAlgn="base">
              <a:lnSpc>
                <a:spcPct val="114000"/>
              </a:lnSpc>
              <a:spcBef>
                <a:spcPts val="648"/>
              </a:spcBef>
              <a:spcAft>
                <a:spcPts val="648"/>
              </a:spcAft>
            </a:pPr>
            <a:r>
              <a:rPr lang="en-AU" sz="1050" b="0" dirty="0">
                <a:solidFill>
                  <a:srgbClr val="000000"/>
                </a:solidFill>
              </a:rPr>
              <a:t>More information on securing an offset can be found on the Department of Transport and Planning website.  </a:t>
            </a:r>
          </a:p>
          <a:p>
            <a:pPr marL="0" marR="0" lvl="0" indent="0" algn="l" defTabSz="995507" rtl="0" eaLnBrk="1" fontAlgn="base" latinLnBrk="0" hangingPunct="1">
              <a:lnSpc>
                <a:spcPct val="114000"/>
              </a:lnSpc>
              <a:spcAft>
                <a:spcPts val="0"/>
              </a:spcAft>
              <a:buClrTx/>
              <a:buSzTx/>
              <a:buFontTx/>
              <a:buNone/>
              <a:tabLst/>
              <a:defRPr/>
            </a:pPr>
            <a:r>
              <a:rPr kumimoji="0" lang="en-AU" sz="1200" i="0" u="none" strike="noStrike" kern="1200" cap="none" spc="0" normalizeH="0" baseline="0" noProof="0" dirty="0">
                <a:ln>
                  <a:noFill/>
                </a:ln>
                <a:solidFill>
                  <a:srgbClr val="017D7D"/>
                </a:solidFill>
                <a:effectLst/>
                <a:uLnTx/>
                <a:uFillTx/>
                <a:latin typeface="Arial" panose="020B0604020202020204"/>
                <a:ea typeface="+mn-ea"/>
                <a:cs typeface="+mn-cs"/>
              </a:rPr>
              <a:t>Overlay </a:t>
            </a:r>
          </a:p>
          <a:p>
            <a:pPr marL="0" marR="0" lvl="0" indent="0" algn="l" defTabSz="995507" rtl="0" eaLnBrk="1" fontAlgn="base" latinLnBrk="0" hangingPunct="1">
              <a:lnSpc>
                <a:spcPct val="114000"/>
              </a:lnSpc>
              <a:spcBef>
                <a:spcPts val="0"/>
              </a:spcBef>
              <a:spcAft>
                <a:spcPts val="0"/>
              </a:spcAft>
              <a:buClrTx/>
              <a:buSzTx/>
              <a:buFontTx/>
              <a:buNone/>
              <a:tabLst/>
              <a:defRPr/>
            </a:pPr>
            <a:r>
              <a:rPr kumimoji="0" lang="en-AU" sz="1050" b="0" i="0" u="none" strike="noStrike" kern="1200" cap="none" spc="0" normalizeH="0" baseline="0" noProof="0" dirty="0">
                <a:ln>
                  <a:noFill/>
                </a:ln>
                <a:solidFill>
                  <a:srgbClr val="000000"/>
                </a:solidFill>
                <a:effectLst/>
                <a:uLnTx/>
                <a:uFillTx/>
                <a:latin typeface="Arial" panose="020B0604020202020204"/>
                <a:ea typeface="+mn-ea"/>
                <a:cs typeface="+mn-cs"/>
              </a:rPr>
              <a:t>An additional control on land. Aimed at controlling developments related to and potentially affected by flooding, bushfire, heritage, or environmental significance. The overlay on land will impact how the Responsible Authority will assess a Planning Permit application and any conditions placed on the permit. </a:t>
            </a:r>
            <a:endParaRPr kumimoji="0" lang="en-AU" sz="16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a:p>
            <a:pPr fontAlgn="base">
              <a:lnSpc>
                <a:spcPct val="114000"/>
              </a:lnSpc>
              <a:spcBef>
                <a:spcPts val="648"/>
              </a:spcBef>
              <a:spcAft>
                <a:spcPts val="648"/>
              </a:spcAft>
            </a:pPr>
            <a:endParaRPr lang="en-AU" sz="1600" b="0" dirty="0">
              <a:solidFill>
                <a:srgbClr val="000000"/>
              </a:solidFill>
              <a:latin typeface="Segoe UI" panose="020B0502040204020203" pitchFamily="34" charset="0"/>
            </a:endParaRPr>
          </a:p>
          <a:p>
            <a:pPr>
              <a:lnSpc>
                <a:spcPct val="114000"/>
              </a:lnSpc>
              <a:spcBef>
                <a:spcPts val="648"/>
              </a:spcBef>
              <a:spcAft>
                <a:spcPts val="648"/>
              </a:spcAft>
            </a:pPr>
            <a:r>
              <a:rPr lang="en-AU" sz="1050" b="0" dirty="0">
                <a:solidFill>
                  <a:srgbClr val="000000"/>
                </a:solidFill>
              </a:rPr>
              <a:t> </a:t>
            </a:r>
          </a:p>
        </p:txBody>
      </p:sp>
      <p:sp>
        <p:nvSpPr>
          <p:cNvPr id="3" name="Content Placeholder 2">
            <a:extLst>
              <a:ext uri="{FF2B5EF4-FFF2-40B4-BE49-F238E27FC236}">
                <a16:creationId xmlns:a16="http://schemas.microsoft.com/office/drawing/2014/main" id="{EF204A55-D2E0-E180-5D94-7599DC89CF23}"/>
              </a:ext>
            </a:extLst>
          </p:cNvPr>
          <p:cNvSpPr txBox="1">
            <a:spLocks/>
          </p:cNvSpPr>
          <p:nvPr/>
        </p:nvSpPr>
        <p:spPr>
          <a:xfrm>
            <a:off x="472058" y="9737742"/>
            <a:ext cx="6356918" cy="561250"/>
          </a:xfrm>
          <a:prstGeom prst="rect">
            <a:avLst/>
          </a:prstGeom>
        </p:spPr>
        <p:txBody>
          <a:bodyPr vert="horz" lIns="0" tIns="0" rIns="0" bIns="0" rtlCol="0">
            <a:noAutofit/>
          </a:bodyPr>
          <a:lstStyle>
            <a:lvl1pPr marL="0" indent="0" algn="l" defTabSz="685800" rtl="0" eaLnBrk="1" latinLnBrk="0" hangingPunct="1">
              <a:lnSpc>
                <a:spcPct val="100000"/>
              </a:lnSpc>
              <a:spcBef>
                <a:spcPts val="450"/>
              </a:spcBef>
              <a:buFont typeface="Arial" panose="020B0604020202020204" pitchFamily="34" charset="0"/>
              <a:buNone/>
              <a:defRPr sz="1350" b="1" kern="1200">
                <a:solidFill>
                  <a:schemeClr val="accent6"/>
                </a:solidFill>
                <a:latin typeface="+mn-lt"/>
                <a:ea typeface="+mn-ea"/>
                <a:cs typeface="+mn-cs"/>
              </a:defRPr>
            </a:lvl1pPr>
            <a:lvl2pPr marL="0" indent="0" algn="l" defTabSz="685800" rtl="0" eaLnBrk="1" latinLnBrk="0" hangingPunct="1">
              <a:lnSpc>
                <a:spcPct val="100000"/>
              </a:lnSpc>
              <a:spcBef>
                <a:spcPts val="450"/>
              </a:spcBef>
              <a:buFont typeface="Arial" panose="020B0604020202020204" pitchFamily="34" charset="0"/>
              <a:buNone/>
              <a:defRPr sz="1350" kern="1200">
                <a:solidFill>
                  <a:schemeClr val="accent6"/>
                </a:solidFill>
                <a:latin typeface="+mn-lt"/>
                <a:ea typeface="+mn-ea"/>
                <a:cs typeface="+mn-cs"/>
              </a:defRPr>
            </a:lvl2pPr>
            <a:lvl3pPr marL="135000" indent="-135000" algn="l" defTabSz="685800" rtl="0" eaLnBrk="1" latinLnBrk="0" hangingPunct="1">
              <a:lnSpc>
                <a:spcPct val="100000"/>
              </a:lnSpc>
              <a:spcBef>
                <a:spcPts val="450"/>
              </a:spcBef>
              <a:buClr>
                <a:schemeClr val="accent3"/>
              </a:buClr>
              <a:buFont typeface="Arial" panose="020B0604020202020204" pitchFamily="34" charset="0"/>
              <a:buChar char="•"/>
              <a:defRPr sz="1350" kern="1200">
                <a:solidFill>
                  <a:schemeClr val="accent6"/>
                </a:solidFill>
                <a:latin typeface="+mn-lt"/>
                <a:ea typeface="+mn-ea"/>
                <a:cs typeface="+mn-cs"/>
              </a:defRPr>
            </a:lvl3pPr>
            <a:lvl4pPr marL="270000" indent="-135000" algn="l" defTabSz="685800" rtl="0" eaLnBrk="1" latinLnBrk="0" hangingPunct="1">
              <a:lnSpc>
                <a:spcPct val="100000"/>
              </a:lnSpc>
              <a:spcBef>
                <a:spcPts val="900"/>
              </a:spcBef>
              <a:spcAft>
                <a:spcPts val="900"/>
              </a:spcAft>
              <a:buClr>
                <a:schemeClr val="accent2"/>
              </a:buClr>
              <a:buFont typeface="Arial" panose="020B0604020202020204" pitchFamily="34" charset="0"/>
              <a:buChar char="•"/>
              <a:defRPr sz="1350" b="0" i="0" kern="1200">
                <a:solidFill>
                  <a:schemeClr val="accent6"/>
                </a:solidFill>
                <a:latin typeface="+mn-lt"/>
                <a:ea typeface="+mn-ea"/>
                <a:cs typeface="+mn-cs"/>
              </a:defRPr>
            </a:lvl4pPr>
            <a:lvl5pPr marL="0" indent="0" algn="l" defTabSz="685800" rtl="0" eaLnBrk="1" latinLnBrk="0" hangingPunct="1">
              <a:lnSpc>
                <a:spcPct val="100000"/>
              </a:lnSpc>
              <a:spcBef>
                <a:spcPts val="450"/>
              </a:spcBef>
              <a:buFont typeface="Arial" panose="020B0604020202020204" pitchFamily="34" charset="0"/>
              <a:buNone/>
              <a:defRPr sz="1050" b="1" kern="1200">
                <a:solidFill>
                  <a:schemeClr val="accent6"/>
                </a:solidFill>
                <a:latin typeface="+mn-lt"/>
                <a:ea typeface="+mn-ea"/>
                <a:cs typeface="+mn-cs"/>
              </a:defRPr>
            </a:lvl5pPr>
            <a:lvl6pPr marL="0" indent="0" algn="l" defTabSz="685800" rtl="0" eaLnBrk="1" latinLnBrk="0" hangingPunct="1">
              <a:lnSpc>
                <a:spcPct val="100000"/>
              </a:lnSpc>
              <a:spcBef>
                <a:spcPts val="450"/>
              </a:spcBef>
              <a:buFont typeface="Arial" panose="020B0604020202020204" pitchFamily="34" charset="0"/>
              <a:buNone/>
              <a:defRPr sz="1050" kern="1200">
                <a:solidFill>
                  <a:schemeClr val="tx1"/>
                </a:solidFill>
                <a:latin typeface="+mn-lt"/>
                <a:ea typeface="+mn-ea"/>
                <a:cs typeface="+mn-cs"/>
              </a:defRPr>
            </a:lvl6pPr>
            <a:lvl7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7pPr>
            <a:lvl8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8pPr>
            <a:lvl9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9pPr>
          </a:lstStyle>
          <a:p>
            <a:r>
              <a:rPr lang="en-AU" sz="1079" b="0" i="1"/>
              <a:t>Disclaimer: This glossary is intended to support new permit applicants and should not be used instead of the planning scheme terms at Clause 73 of the </a:t>
            </a:r>
            <a:r>
              <a:rPr lang="en-AU" sz="1079" b="0" i="1">
                <a:highlight>
                  <a:srgbClr val="FFFF00"/>
                </a:highlight>
              </a:rPr>
              <a:t>XXXXX</a:t>
            </a:r>
            <a:r>
              <a:rPr lang="en-AU" sz="1079" b="0" i="1"/>
              <a:t> Planning Scheme. Where there are slight differences in terminology, we recommend deferring to the planning scheme definitions.</a:t>
            </a:r>
          </a:p>
          <a:p>
            <a:endParaRPr lang="en-AU" sz="1079" b="0"/>
          </a:p>
          <a:p>
            <a:endParaRPr lang="en-AU" sz="1295" b="0"/>
          </a:p>
        </p:txBody>
      </p:sp>
      <p:sp>
        <p:nvSpPr>
          <p:cNvPr id="4" name="Slide Number Placeholder 3">
            <a:extLst>
              <a:ext uri="{FF2B5EF4-FFF2-40B4-BE49-F238E27FC236}">
                <a16:creationId xmlns:a16="http://schemas.microsoft.com/office/drawing/2014/main" id="{266AEEAF-260E-01AD-67F6-9774A18E0DAD}"/>
              </a:ext>
              <a:ext uri="{C183D7F6-B498-43B3-948B-1728B52AA6E4}">
                <adec:decorative xmlns:adec="http://schemas.microsoft.com/office/drawing/2017/decorative" val="1"/>
              </a:ext>
            </a:extLst>
          </p:cNvPr>
          <p:cNvSpPr>
            <a:spLocks noGrp="1"/>
          </p:cNvSpPr>
          <p:nvPr>
            <p:ph type="sldNum" sz="quarter" idx="12"/>
          </p:nvPr>
        </p:nvSpPr>
        <p:spPr/>
        <p:txBody>
          <a:bodyPr/>
          <a:lstStyle/>
          <a:p>
            <a:r>
              <a:rPr lang="en-GB"/>
              <a:t>Page </a:t>
            </a:r>
            <a:fld id="{F5AEA0E0-5CC6-4BD0-905C-A0021E419432}" type="slidenum">
              <a:rPr lang="en-GB" smtClean="0"/>
              <a:pPr/>
              <a:t>3</a:t>
            </a:fld>
            <a:endParaRPr lang="en-GB"/>
          </a:p>
        </p:txBody>
      </p:sp>
    </p:spTree>
    <p:extLst>
      <p:ext uri="{BB962C8B-B14F-4D97-AF65-F5344CB8AC3E}">
        <p14:creationId xmlns:p14="http://schemas.microsoft.com/office/powerpoint/2010/main" val="206247328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383E9CA-E92B-4ADA-8FFF-BEDCDA7D307D}"/>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18927142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8" imgH="328" progId="TCLayout.ActiveDocument.1">
                  <p:embed/>
                </p:oleObj>
              </mc:Choice>
              <mc:Fallback>
                <p:oleObj name="think-cell Slide" r:id="rId3" imgW="328" imgH="328" progId="TCLayout.ActiveDocument.1">
                  <p:embed/>
                  <p:pic>
                    <p:nvPicPr>
                      <p:cNvPr id="7" name="Object 6" hidden="1">
                        <a:extLst>
                          <a:ext uri="{FF2B5EF4-FFF2-40B4-BE49-F238E27FC236}">
                            <a16:creationId xmlns:a16="http://schemas.microsoft.com/office/drawing/2014/main" id="{1383E9CA-E92B-4ADA-8FFF-BEDCDA7D307D}"/>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775851-1710-1ECE-9244-8DB335407B32}"/>
              </a:ext>
            </a:extLst>
          </p:cNvPr>
          <p:cNvSpPr>
            <a:spLocks noGrp="1"/>
          </p:cNvSpPr>
          <p:nvPr>
            <p:ph type="title"/>
          </p:nvPr>
        </p:nvSpPr>
        <p:spPr>
          <a:xfrm>
            <a:off x="472058" y="599396"/>
            <a:ext cx="4234188" cy="1122500"/>
          </a:xfrm>
        </p:spPr>
        <p:txBody>
          <a:bodyPr vert="horz"/>
          <a:lstStyle/>
          <a:p>
            <a:r>
              <a:rPr lang="en-AU" sz="2590" dirty="0"/>
              <a:t>Glossary of common planning terms p4</a:t>
            </a:r>
          </a:p>
        </p:txBody>
      </p:sp>
      <p:sp>
        <p:nvSpPr>
          <p:cNvPr id="5" name="Content Placeholder 2">
            <a:extLst>
              <a:ext uri="{FF2B5EF4-FFF2-40B4-BE49-F238E27FC236}">
                <a16:creationId xmlns:a16="http://schemas.microsoft.com/office/drawing/2014/main" id="{A1CE4481-A351-EDB4-D370-B5CAB633F6FF}"/>
              </a:ext>
            </a:extLst>
          </p:cNvPr>
          <p:cNvSpPr txBox="1">
            <a:spLocks/>
          </p:cNvSpPr>
          <p:nvPr/>
        </p:nvSpPr>
        <p:spPr>
          <a:xfrm>
            <a:off x="472058" y="2512497"/>
            <a:ext cx="6356918" cy="6760112"/>
          </a:xfrm>
          <a:prstGeom prst="rect">
            <a:avLst/>
          </a:prstGeom>
        </p:spPr>
        <p:txBody>
          <a:bodyPr vert="horz" lIns="0" tIns="0" rIns="0" bIns="0" rtlCol="0">
            <a:noAutofit/>
          </a:bodyPr>
          <a:lstStyle>
            <a:lvl1pPr marL="0" indent="0" algn="l" defTabSz="685800" rtl="0" eaLnBrk="1" latinLnBrk="0" hangingPunct="1">
              <a:lnSpc>
                <a:spcPct val="100000"/>
              </a:lnSpc>
              <a:spcBef>
                <a:spcPts val="450"/>
              </a:spcBef>
              <a:buFont typeface="Arial" panose="020B0604020202020204" pitchFamily="34" charset="0"/>
              <a:buNone/>
              <a:defRPr sz="1350" b="1" kern="1200">
                <a:solidFill>
                  <a:schemeClr val="accent6"/>
                </a:solidFill>
                <a:latin typeface="+mn-lt"/>
                <a:ea typeface="+mn-ea"/>
                <a:cs typeface="+mn-cs"/>
              </a:defRPr>
            </a:lvl1pPr>
            <a:lvl2pPr marL="0" indent="0" algn="l" defTabSz="685800" rtl="0" eaLnBrk="1" latinLnBrk="0" hangingPunct="1">
              <a:lnSpc>
                <a:spcPct val="100000"/>
              </a:lnSpc>
              <a:spcBef>
                <a:spcPts val="450"/>
              </a:spcBef>
              <a:buFont typeface="Arial" panose="020B0604020202020204" pitchFamily="34" charset="0"/>
              <a:buNone/>
              <a:defRPr sz="1350" kern="1200">
                <a:solidFill>
                  <a:schemeClr val="accent6"/>
                </a:solidFill>
                <a:latin typeface="+mn-lt"/>
                <a:ea typeface="+mn-ea"/>
                <a:cs typeface="+mn-cs"/>
              </a:defRPr>
            </a:lvl2pPr>
            <a:lvl3pPr marL="135000" indent="-135000" algn="l" defTabSz="685800" rtl="0" eaLnBrk="1" latinLnBrk="0" hangingPunct="1">
              <a:lnSpc>
                <a:spcPct val="100000"/>
              </a:lnSpc>
              <a:spcBef>
                <a:spcPts val="450"/>
              </a:spcBef>
              <a:buClr>
                <a:schemeClr val="accent3"/>
              </a:buClr>
              <a:buFont typeface="Arial" panose="020B0604020202020204" pitchFamily="34" charset="0"/>
              <a:buChar char="•"/>
              <a:defRPr sz="1350" kern="1200">
                <a:solidFill>
                  <a:schemeClr val="accent6"/>
                </a:solidFill>
                <a:latin typeface="+mn-lt"/>
                <a:ea typeface="+mn-ea"/>
                <a:cs typeface="+mn-cs"/>
              </a:defRPr>
            </a:lvl3pPr>
            <a:lvl4pPr marL="270000" indent="-135000" algn="l" defTabSz="685800" rtl="0" eaLnBrk="1" latinLnBrk="0" hangingPunct="1">
              <a:lnSpc>
                <a:spcPct val="100000"/>
              </a:lnSpc>
              <a:spcBef>
                <a:spcPts val="900"/>
              </a:spcBef>
              <a:spcAft>
                <a:spcPts val="900"/>
              </a:spcAft>
              <a:buClr>
                <a:schemeClr val="accent2"/>
              </a:buClr>
              <a:buFont typeface="Arial" panose="020B0604020202020204" pitchFamily="34" charset="0"/>
              <a:buChar char="•"/>
              <a:defRPr sz="1350" b="0" i="0" kern="1200">
                <a:solidFill>
                  <a:schemeClr val="accent6"/>
                </a:solidFill>
                <a:latin typeface="+mn-lt"/>
                <a:ea typeface="+mn-ea"/>
                <a:cs typeface="+mn-cs"/>
              </a:defRPr>
            </a:lvl4pPr>
            <a:lvl5pPr marL="0" indent="0" algn="l" defTabSz="685800" rtl="0" eaLnBrk="1" latinLnBrk="0" hangingPunct="1">
              <a:lnSpc>
                <a:spcPct val="100000"/>
              </a:lnSpc>
              <a:spcBef>
                <a:spcPts val="450"/>
              </a:spcBef>
              <a:buFont typeface="Arial" panose="020B0604020202020204" pitchFamily="34" charset="0"/>
              <a:buNone/>
              <a:defRPr sz="1050" b="1" kern="1200">
                <a:solidFill>
                  <a:schemeClr val="accent6"/>
                </a:solidFill>
                <a:latin typeface="+mn-lt"/>
                <a:ea typeface="+mn-ea"/>
                <a:cs typeface="+mn-cs"/>
              </a:defRPr>
            </a:lvl5pPr>
            <a:lvl6pPr marL="0" indent="0" algn="l" defTabSz="685800" rtl="0" eaLnBrk="1" latinLnBrk="0" hangingPunct="1">
              <a:lnSpc>
                <a:spcPct val="100000"/>
              </a:lnSpc>
              <a:spcBef>
                <a:spcPts val="450"/>
              </a:spcBef>
              <a:buFont typeface="Arial" panose="020B0604020202020204" pitchFamily="34" charset="0"/>
              <a:buNone/>
              <a:defRPr sz="1050" kern="1200">
                <a:solidFill>
                  <a:schemeClr val="tx1"/>
                </a:solidFill>
                <a:latin typeface="+mn-lt"/>
                <a:ea typeface="+mn-ea"/>
                <a:cs typeface="+mn-cs"/>
              </a:defRPr>
            </a:lvl6pPr>
            <a:lvl7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7pPr>
            <a:lvl8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8pPr>
            <a:lvl9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9pPr>
          </a:lstStyle>
          <a:p>
            <a:pPr fontAlgn="base">
              <a:lnSpc>
                <a:spcPct val="114000"/>
              </a:lnSpc>
              <a:spcBef>
                <a:spcPts val="648"/>
              </a:spcBef>
              <a:spcAft>
                <a:spcPts val="648"/>
              </a:spcAft>
            </a:pPr>
            <a:r>
              <a:rPr lang="en-AU" sz="1200" dirty="0">
                <a:solidFill>
                  <a:srgbClr val="017D7D"/>
                </a:solidFill>
              </a:rPr>
              <a:t>Planning Consultant</a:t>
            </a:r>
            <a:br>
              <a:rPr lang="en-AU" sz="1800" dirty="0">
                <a:solidFill>
                  <a:srgbClr val="000000"/>
                </a:solidFill>
                <a:latin typeface="Calibri" panose="020F0502020204030204" pitchFamily="34" charset="0"/>
              </a:rPr>
            </a:br>
            <a:r>
              <a:rPr lang="en-AU" sz="1050" b="0" dirty="0">
                <a:solidFill>
                  <a:srgbClr val="000000"/>
                </a:solidFill>
              </a:rPr>
              <a:t>Planning professionals that can be engaged by applicants to assist with preparing a Planning Permit application.  </a:t>
            </a:r>
          </a:p>
          <a:p>
            <a:pPr algn="l" rtl="0" fontAlgn="base">
              <a:lnSpc>
                <a:spcPct val="114000"/>
              </a:lnSpc>
            </a:pPr>
            <a:r>
              <a:rPr lang="en-AU" sz="1200" dirty="0">
                <a:solidFill>
                  <a:srgbClr val="017D7D"/>
                </a:solidFill>
              </a:rPr>
              <a:t>Planning Permit</a:t>
            </a:r>
          </a:p>
          <a:p>
            <a:pPr fontAlgn="base">
              <a:lnSpc>
                <a:spcPct val="114000"/>
              </a:lnSpc>
              <a:spcBef>
                <a:spcPts val="0"/>
              </a:spcBef>
              <a:spcAft>
                <a:spcPts val="648"/>
              </a:spcAft>
            </a:pPr>
            <a:r>
              <a:rPr lang="en-AU" sz="1050" b="0" dirty="0">
                <a:solidFill>
                  <a:srgbClr val="000000"/>
                </a:solidFill>
              </a:rPr>
              <a:t>A legal document that allows a certain use and/or development of land.</a:t>
            </a:r>
            <a:endParaRPr lang="en-AU" sz="1600" b="0" dirty="0">
              <a:solidFill>
                <a:srgbClr val="000000"/>
              </a:solidFill>
              <a:latin typeface="Segoe UI" panose="020B0502040204020203" pitchFamily="34" charset="0"/>
            </a:endParaRPr>
          </a:p>
          <a:p>
            <a:pPr algn="l" rtl="0" fontAlgn="base">
              <a:lnSpc>
                <a:spcPct val="114000"/>
              </a:lnSpc>
            </a:pPr>
            <a:r>
              <a:rPr lang="en-AU" sz="1200" dirty="0">
                <a:solidFill>
                  <a:srgbClr val="017D7D"/>
                </a:solidFill>
              </a:rPr>
              <a:t>Planning Scheme</a:t>
            </a:r>
          </a:p>
          <a:p>
            <a:pPr fontAlgn="base">
              <a:lnSpc>
                <a:spcPct val="114000"/>
              </a:lnSpc>
              <a:spcBef>
                <a:spcPts val="0"/>
              </a:spcBef>
              <a:spcAft>
                <a:spcPts val="648"/>
              </a:spcAft>
            </a:pPr>
            <a:r>
              <a:rPr lang="en-AU" sz="1050" b="0" dirty="0">
                <a:solidFill>
                  <a:srgbClr val="000000"/>
                </a:solidFill>
              </a:rPr>
              <a:t>Controls land use and development within a local government area. Contains state and local planning policies, zones, overlays, and other provisions that affect how land can be used, developed, and protected.  </a:t>
            </a:r>
          </a:p>
          <a:p>
            <a:pPr fontAlgn="base">
              <a:lnSpc>
                <a:spcPct val="114000"/>
              </a:lnSpc>
              <a:spcBef>
                <a:spcPts val="0"/>
              </a:spcBef>
              <a:spcAft>
                <a:spcPts val="648"/>
              </a:spcAft>
            </a:pPr>
            <a:r>
              <a:rPr lang="en-AU" sz="1050" b="0" dirty="0">
                <a:solidFill>
                  <a:srgbClr val="000000"/>
                </a:solidFill>
              </a:rPr>
              <a:t>For more information relating to planning schemes in general, visit the Department of Transport and Planning website – </a:t>
            </a:r>
            <a:r>
              <a:rPr lang="en-AU" sz="1050" b="0" dirty="0">
                <a:solidFill>
                  <a:schemeClr val="bg2">
                    <a:lumMod val="50000"/>
                  </a:schemeClr>
                </a:solidFill>
                <a:hlinkClick r:id="rId5">
                  <a:extLst>
                    <a:ext uri="{A12FA001-AC4F-418D-AE19-62706E023703}">
                      <ahyp:hlinkClr xmlns:ahyp="http://schemas.microsoft.com/office/drawing/2018/hyperlinkcolor" val="tx"/>
                    </a:ext>
                  </a:extLst>
                </a:hlinkClick>
              </a:rPr>
              <a:t>Schemes and amendments (planning.vic.gov.au)</a:t>
            </a:r>
            <a:r>
              <a:rPr lang="en-AU" sz="1050" b="0" dirty="0">
                <a:solidFill>
                  <a:schemeClr val="bg2">
                    <a:lumMod val="50000"/>
                  </a:schemeClr>
                </a:solidFill>
              </a:rPr>
              <a:t> </a:t>
            </a:r>
          </a:p>
          <a:p>
            <a:pPr algn="l" rtl="0" fontAlgn="base">
              <a:lnSpc>
                <a:spcPct val="114000"/>
              </a:lnSpc>
            </a:pPr>
            <a:r>
              <a:rPr lang="en-AU" sz="1200" dirty="0">
                <a:solidFill>
                  <a:srgbClr val="017D7D"/>
                </a:solidFill>
              </a:rPr>
              <a:t>Potable Water</a:t>
            </a:r>
          </a:p>
          <a:p>
            <a:pPr fontAlgn="base">
              <a:lnSpc>
                <a:spcPct val="114000"/>
              </a:lnSpc>
              <a:spcBef>
                <a:spcPts val="0"/>
              </a:spcBef>
              <a:spcAft>
                <a:spcPts val="648"/>
              </a:spcAft>
            </a:pPr>
            <a:r>
              <a:rPr lang="en-AU" sz="1050" b="0" dirty="0">
                <a:solidFill>
                  <a:srgbClr val="000000"/>
                </a:solidFill>
              </a:rPr>
              <a:t>Water that has been treated to meet Australian guidelines for safe drinking water.  </a:t>
            </a:r>
            <a:endParaRPr lang="en-AU" sz="1100" b="0" dirty="0">
              <a:solidFill>
                <a:srgbClr val="000000"/>
              </a:solidFill>
              <a:latin typeface="Segoe UI" panose="020B0502040204020203" pitchFamily="34" charset="0"/>
            </a:endParaRPr>
          </a:p>
          <a:p>
            <a:pPr algn="l" rtl="0" fontAlgn="base">
              <a:lnSpc>
                <a:spcPct val="114000"/>
              </a:lnSpc>
            </a:pPr>
            <a:r>
              <a:rPr lang="en-AU" sz="1200" dirty="0">
                <a:solidFill>
                  <a:srgbClr val="017D7D"/>
                </a:solidFill>
              </a:rPr>
              <a:t>Road Reserve</a:t>
            </a:r>
          </a:p>
          <a:p>
            <a:pPr fontAlgn="base">
              <a:lnSpc>
                <a:spcPct val="114000"/>
              </a:lnSpc>
              <a:spcBef>
                <a:spcPts val="0"/>
              </a:spcBef>
              <a:spcAft>
                <a:spcPts val="648"/>
              </a:spcAft>
            </a:pPr>
            <a:r>
              <a:rPr lang="en-AU" sz="1050" b="0" dirty="0">
                <a:solidFill>
                  <a:srgbClr val="000000"/>
                </a:solidFill>
              </a:rPr>
              <a:t>The area of land set aside for potential road construction. It might include nature strips, roads and unused land and is generally </a:t>
            </a:r>
            <a:r>
              <a:rPr lang="en-AU" sz="1050" b="0" dirty="0" err="1">
                <a:solidFill>
                  <a:srgbClr val="000000"/>
                </a:solidFill>
              </a:rPr>
              <a:t>fenceline</a:t>
            </a:r>
            <a:r>
              <a:rPr lang="en-AU" sz="1050" b="0" dirty="0">
                <a:solidFill>
                  <a:srgbClr val="000000"/>
                </a:solidFill>
              </a:rPr>
              <a:t> to </a:t>
            </a:r>
            <a:r>
              <a:rPr lang="en-AU" sz="1050" b="0" dirty="0" err="1">
                <a:solidFill>
                  <a:srgbClr val="000000"/>
                </a:solidFill>
              </a:rPr>
              <a:t>fenceline</a:t>
            </a:r>
            <a:r>
              <a:rPr lang="en-AU" sz="1050" b="0" dirty="0">
                <a:solidFill>
                  <a:srgbClr val="000000"/>
                </a:solidFill>
              </a:rPr>
              <a:t>. </a:t>
            </a:r>
          </a:p>
          <a:p>
            <a:pPr algn="l" rtl="0" fontAlgn="base">
              <a:lnSpc>
                <a:spcPct val="114000"/>
              </a:lnSpc>
            </a:pPr>
            <a:r>
              <a:rPr lang="en-AU" sz="1200" dirty="0">
                <a:solidFill>
                  <a:srgbClr val="017D7D"/>
                </a:solidFill>
              </a:rPr>
              <a:t>Referral Authority (Referrals)</a:t>
            </a:r>
          </a:p>
          <a:p>
            <a:pPr fontAlgn="base">
              <a:lnSpc>
                <a:spcPct val="114000"/>
              </a:lnSpc>
              <a:spcBef>
                <a:spcPts val="0"/>
              </a:spcBef>
              <a:spcAft>
                <a:spcPts val="648"/>
              </a:spcAft>
            </a:pPr>
            <a:r>
              <a:rPr lang="en-AU" sz="1050" b="0" dirty="0">
                <a:solidFill>
                  <a:srgbClr val="000000"/>
                </a:solidFill>
              </a:rPr>
              <a:t>An internal department of Council or an external authority who provides specialised comments relating to flooding, traffic, animal welfare, or electricity. For example, the Planning department may seek specialised advice from the engineering department of Council, from the Department of Transport, or the CFA.</a:t>
            </a:r>
            <a:endParaRPr lang="en-AU" sz="1600" b="0" dirty="0">
              <a:solidFill>
                <a:srgbClr val="000000"/>
              </a:solidFill>
              <a:latin typeface="Segoe UI" panose="020B0502040204020203" pitchFamily="34" charset="0"/>
            </a:endParaRPr>
          </a:p>
          <a:p>
            <a:pPr algn="l" rtl="0" fontAlgn="base">
              <a:lnSpc>
                <a:spcPct val="114000"/>
              </a:lnSpc>
            </a:pPr>
            <a:r>
              <a:rPr lang="en-AU" sz="1200" dirty="0">
                <a:solidFill>
                  <a:srgbClr val="017D7D"/>
                </a:solidFill>
              </a:rPr>
              <a:t>Responsible Authority</a:t>
            </a:r>
          </a:p>
          <a:p>
            <a:pPr fontAlgn="base">
              <a:lnSpc>
                <a:spcPct val="114000"/>
              </a:lnSpc>
              <a:spcBef>
                <a:spcPts val="0"/>
              </a:spcBef>
              <a:spcAft>
                <a:spcPts val="648"/>
              </a:spcAft>
            </a:pPr>
            <a:r>
              <a:rPr lang="en-AU" sz="1050" b="0" dirty="0">
                <a:solidFill>
                  <a:srgbClr val="000000"/>
                </a:solidFill>
              </a:rPr>
              <a:t>The decision-maker on Planning Permit applications, normally a Council.</a:t>
            </a:r>
            <a:endParaRPr lang="en-AU" sz="1600" b="0" dirty="0">
              <a:solidFill>
                <a:srgbClr val="000000"/>
              </a:solidFill>
              <a:latin typeface="Segoe UI" panose="020B0502040204020203" pitchFamily="34" charset="0"/>
            </a:endParaRPr>
          </a:p>
          <a:p>
            <a:pPr algn="l" rtl="0" fontAlgn="base">
              <a:lnSpc>
                <a:spcPct val="114000"/>
              </a:lnSpc>
            </a:pPr>
            <a:r>
              <a:rPr lang="en-AU" sz="1200" dirty="0">
                <a:solidFill>
                  <a:srgbClr val="017D7D"/>
                </a:solidFill>
              </a:rPr>
              <a:t>Request for Further Information (RFI)</a:t>
            </a:r>
          </a:p>
          <a:p>
            <a:pPr fontAlgn="base">
              <a:lnSpc>
                <a:spcPct val="114000"/>
              </a:lnSpc>
              <a:spcBef>
                <a:spcPts val="0"/>
              </a:spcBef>
              <a:spcAft>
                <a:spcPts val="648"/>
              </a:spcAft>
            </a:pPr>
            <a:r>
              <a:rPr lang="en-AU" sz="1050" b="0" dirty="0">
                <a:solidFill>
                  <a:srgbClr val="000000"/>
                </a:solidFill>
              </a:rPr>
              <a:t>A Responsible Authority seeking more information from an applicant before they can make their assessment to grant a Planning Permit. Common requests include a copy of an up-to-date Title (3 months old or less), fully completed application including development cost, or a more detailed site plan.  </a:t>
            </a:r>
          </a:p>
          <a:p>
            <a:pPr marL="0" marR="0" lvl="0" indent="0" algn="l" defTabSz="995507" rtl="0" eaLnBrk="1" fontAlgn="base" latinLnBrk="0" hangingPunct="1">
              <a:lnSpc>
                <a:spcPct val="114000"/>
              </a:lnSpc>
              <a:spcAft>
                <a:spcPts val="0"/>
              </a:spcAft>
              <a:buClrTx/>
              <a:buSzTx/>
              <a:buFontTx/>
              <a:buNone/>
              <a:tabLst/>
              <a:defRPr/>
            </a:pPr>
            <a:r>
              <a:rPr kumimoji="0" lang="en-AU" sz="1200" i="0" u="none" strike="noStrike" kern="1200" cap="none" spc="0" normalizeH="0" baseline="0" noProof="0" dirty="0">
                <a:ln>
                  <a:noFill/>
                </a:ln>
                <a:solidFill>
                  <a:srgbClr val="017D7D"/>
                </a:solidFill>
                <a:effectLst/>
                <a:uLnTx/>
                <a:uFillTx/>
                <a:latin typeface="Arial" panose="020B0604020202020204"/>
                <a:ea typeface="+mn-ea"/>
                <a:cs typeface="+mn-cs"/>
              </a:rPr>
              <a:t>Reticulated Water Supply</a:t>
            </a:r>
          </a:p>
          <a:p>
            <a:pPr marL="0" marR="0" lvl="0" indent="0" algn="l" defTabSz="995507" rtl="0" eaLnBrk="1" fontAlgn="base" latinLnBrk="0" hangingPunct="1">
              <a:lnSpc>
                <a:spcPct val="114000"/>
              </a:lnSpc>
              <a:spcBef>
                <a:spcPts val="0"/>
              </a:spcBef>
              <a:spcAft>
                <a:spcPts val="648"/>
              </a:spcAft>
              <a:buClrTx/>
              <a:buSzTx/>
              <a:buFontTx/>
              <a:buNone/>
              <a:tabLst/>
              <a:defRPr/>
            </a:pPr>
            <a:r>
              <a:rPr kumimoji="0" lang="en-AU" sz="1050" b="0" i="0" u="none" strike="noStrike" kern="1200" cap="none" spc="0" normalizeH="0" baseline="0" noProof="0" dirty="0">
                <a:ln>
                  <a:noFill/>
                </a:ln>
                <a:solidFill>
                  <a:srgbClr val="000000"/>
                </a:solidFill>
                <a:effectLst/>
                <a:uLnTx/>
                <a:uFillTx/>
                <a:latin typeface="Arial" panose="020B0604020202020204"/>
                <a:ea typeface="+mn-ea"/>
                <a:cs typeface="+mn-cs"/>
              </a:rPr>
              <a:t>Piped water. </a:t>
            </a:r>
            <a:endParaRPr kumimoji="0" lang="en-AU" sz="16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a:p>
            <a:pPr fontAlgn="base">
              <a:lnSpc>
                <a:spcPct val="114000"/>
              </a:lnSpc>
              <a:spcBef>
                <a:spcPts val="0"/>
              </a:spcBef>
              <a:spcAft>
                <a:spcPts val="648"/>
              </a:spcAft>
            </a:pPr>
            <a:endParaRPr lang="en-AU" sz="1600" b="0" dirty="0">
              <a:solidFill>
                <a:srgbClr val="000000"/>
              </a:solidFill>
              <a:latin typeface="Segoe UI" panose="020B0502040204020203" pitchFamily="34" charset="0"/>
            </a:endParaRPr>
          </a:p>
          <a:p>
            <a:pPr fontAlgn="base">
              <a:lnSpc>
                <a:spcPct val="114000"/>
              </a:lnSpc>
              <a:spcBef>
                <a:spcPts val="648"/>
              </a:spcBef>
              <a:spcAft>
                <a:spcPts val="648"/>
              </a:spcAft>
            </a:pPr>
            <a:endParaRPr lang="en-AU" sz="1050" b="0" dirty="0">
              <a:solidFill>
                <a:srgbClr val="000000"/>
              </a:solidFill>
            </a:endParaRPr>
          </a:p>
          <a:p>
            <a:pPr fontAlgn="base">
              <a:lnSpc>
                <a:spcPct val="114000"/>
              </a:lnSpc>
              <a:spcBef>
                <a:spcPts val="648"/>
              </a:spcBef>
              <a:spcAft>
                <a:spcPts val="648"/>
              </a:spcAft>
            </a:pPr>
            <a:endParaRPr lang="en-AU" sz="1050" b="0" dirty="0">
              <a:solidFill>
                <a:srgbClr val="000000"/>
              </a:solidFill>
            </a:endParaRPr>
          </a:p>
          <a:p>
            <a:pPr algn="l" rtl="0" fontAlgn="base">
              <a:lnSpc>
                <a:spcPct val="114000"/>
              </a:lnSpc>
            </a:pPr>
            <a:endParaRPr lang="en-AU" sz="1050" b="0" dirty="0">
              <a:solidFill>
                <a:schemeClr val="bg2">
                  <a:lumMod val="50000"/>
                </a:schemeClr>
              </a:solidFill>
            </a:endParaRPr>
          </a:p>
        </p:txBody>
      </p:sp>
      <p:sp>
        <p:nvSpPr>
          <p:cNvPr id="3" name="Content Placeholder 2">
            <a:extLst>
              <a:ext uri="{FF2B5EF4-FFF2-40B4-BE49-F238E27FC236}">
                <a16:creationId xmlns:a16="http://schemas.microsoft.com/office/drawing/2014/main" id="{EF204A55-D2E0-E180-5D94-7599DC89CF23}"/>
              </a:ext>
            </a:extLst>
          </p:cNvPr>
          <p:cNvSpPr txBox="1">
            <a:spLocks/>
          </p:cNvSpPr>
          <p:nvPr/>
        </p:nvSpPr>
        <p:spPr>
          <a:xfrm>
            <a:off x="472058" y="9737742"/>
            <a:ext cx="6356918" cy="561250"/>
          </a:xfrm>
          <a:prstGeom prst="rect">
            <a:avLst/>
          </a:prstGeom>
        </p:spPr>
        <p:txBody>
          <a:bodyPr vert="horz" lIns="0" tIns="0" rIns="0" bIns="0" rtlCol="0">
            <a:noAutofit/>
          </a:bodyPr>
          <a:lstStyle>
            <a:lvl1pPr marL="0" indent="0" algn="l" defTabSz="685800" rtl="0" eaLnBrk="1" latinLnBrk="0" hangingPunct="1">
              <a:lnSpc>
                <a:spcPct val="100000"/>
              </a:lnSpc>
              <a:spcBef>
                <a:spcPts val="450"/>
              </a:spcBef>
              <a:buFont typeface="Arial" panose="020B0604020202020204" pitchFamily="34" charset="0"/>
              <a:buNone/>
              <a:defRPr sz="1350" b="1" kern="1200">
                <a:solidFill>
                  <a:schemeClr val="accent6"/>
                </a:solidFill>
                <a:latin typeface="+mn-lt"/>
                <a:ea typeface="+mn-ea"/>
                <a:cs typeface="+mn-cs"/>
              </a:defRPr>
            </a:lvl1pPr>
            <a:lvl2pPr marL="0" indent="0" algn="l" defTabSz="685800" rtl="0" eaLnBrk="1" latinLnBrk="0" hangingPunct="1">
              <a:lnSpc>
                <a:spcPct val="100000"/>
              </a:lnSpc>
              <a:spcBef>
                <a:spcPts val="450"/>
              </a:spcBef>
              <a:buFont typeface="Arial" panose="020B0604020202020204" pitchFamily="34" charset="0"/>
              <a:buNone/>
              <a:defRPr sz="1350" kern="1200">
                <a:solidFill>
                  <a:schemeClr val="accent6"/>
                </a:solidFill>
                <a:latin typeface="+mn-lt"/>
                <a:ea typeface="+mn-ea"/>
                <a:cs typeface="+mn-cs"/>
              </a:defRPr>
            </a:lvl2pPr>
            <a:lvl3pPr marL="135000" indent="-135000" algn="l" defTabSz="685800" rtl="0" eaLnBrk="1" latinLnBrk="0" hangingPunct="1">
              <a:lnSpc>
                <a:spcPct val="100000"/>
              </a:lnSpc>
              <a:spcBef>
                <a:spcPts val="450"/>
              </a:spcBef>
              <a:buClr>
                <a:schemeClr val="accent3"/>
              </a:buClr>
              <a:buFont typeface="Arial" panose="020B0604020202020204" pitchFamily="34" charset="0"/>
              <a:buChar char="•"/>
              <a:defRPr sz="1350" kern="1200">
                <a:solidFill>
                  <a:schemeClr val="accent6"/>
                </a:solidFill>
                <a:latin typeface="+mn-lt"/>
                <a:ea typeface="+mn-ea"/>
                <a:cs typeface="+mn-cs"/>
              </a:defRPr>
            </a:lvl3pPr>
            <a:lvl4pPr marL="270000" indent="-135000" algn="l" defTabSz="685800" rtl="0" eaLnBrk="1" latinLnBrk="0" hangingPunct="1">
              <a:lnSpc>
                <a:spcPct val="100000"/>
              </a:lnSpc>
              <a:spcBef>
                <a:spcPts val="900"/>
              </a:spcBef>
              <a:spcAft>
                <a:spcPts val="900"/>
              </a:spcAft>
              <a:buClr>
                <a:schemeClr val="accent2"/>
              </a:buClr>
              <a:buFont typeface="Arial" panose="020B0604020202020204" pitchFamily="34" charset="0"/>
              <a:buChar char="•"/>
              <a:defRPr sz="1350" b="0" i="0" kern="1200">
                <a:solidFill>
                  <a:schemeClr val="accent6"/>
                </a:solidFill>
                <a:latin typeface="+mn-lt"/>
                <a:ea typeface="+mn-ea"/>
                <a:cs typeface="+mn-cs"/>
              </a:defRPr>
            </a:lvl4pPr>
            <a:lvl5pPr marL="0" indent="0" algn="l" defTabSz="685800" rtl="0" eaLnBrk="1" latinLnBrk="0" hangingPunct="1">
              <a:lnSpc>
                <a:spcPct val="100000"/>
              </a:lnSpc>
              <a:spcBef>
                <a:spcPts val="450"/>
              </a:spcBef>
              <a:buFont typeface="Arial" panose="020B0604020202020204" pitchFamily="34" charset="0"/>
              <a:buNone/>
              <a:defRPr sz="1050" b="1" kern="1200">
                <a:solidFill>
                  <a:schemeClr val="accent6"/>
                </a:solidFill>
                <a:latin typeface="+mn-lt"/>
                <a:ea typeface="+mn-ea"/>
                <a:cs typeface="+mn-cs"/>
              </a:defRPr>
            </a:lvl5pPr>
            <a:lvl6pPr marL="0" indent="0" algn="l" defTabSz="685800" rtl="0" eaLnBrk="1" latinLnBrk="0" hangingPunct="1">
              <a:lnSpc>
                <a:spcPct val="100000"/>
              </a:lnSpc>
              <a:spcBef>
                <a:spcPts val="450"/>
              </a:spcBef>
              <a:buFont typeface="Arial" panose="020B0604020202020204" pitchFamily="34" charset="0"/>
              <a:buNone/>
              <a:defRPr sz="1050" kern="1200">
                <a:solidFill>
                  <a:schemeClr val="tx1"/>
                </a:solidFill>
                <a:latin typeface="+mn-lt"/>
                <a:ea typeface="+mn-ea"/>
                <a:cs typeface="+mn-cs"/>
              </a:defRPr>
            </a:lvl6pPr>
            <a:lvl7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7pPr>
            <a:lvl8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8pPr>
            <a:lvl9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9pPr>
          </a:lstStyle>
          <a:p>
            <a:r>
              <a:rPr lang="en-AU" sz="1079" b="0" i="1"/>
              <a:t>Disclaimer: This glossary is intended to support new permit applicants and should not be used instead of the planning scheme terms at Clause 73 of the </a:t>
            </a:r>
            <a:r>
              <a:rPr lang="en-AU" sz="1079" b="0" i="1">
                <a:highlight>
                  <a:srgbClr val="FFFF00"/>
                </a:highlight>
              </a:rPr>
              <a:t>XXXXX</a:t>
            </a:r>
            <a:r>
              <a:rPr lang="en-AU" sz="1079" b="0" i="1"/>
              <a:t> Planning Scheme. Where there are slight differences in terminology, we recommend deferring to the planning scheme definitions.</a:t>
            </a:r>
          </a:p>
          <a:p>
            <a:endParaRPr lang="en-AU" sz="1079" b="0"/>
          </a:p>
          <a:p>
            <a:endParaRPr lang="en-AU" sz="1295" b="0"/>
          </a:p>
        </p:txBody>
      </p:sp>
      <p:sp>
        <p:nvSpPr>
          <p:cNvPr id="4" name="Slide Number Placeholder 3">
            <a:extLst>
              <a:ext uri="{FF2B5EF4-FFF2-40B4-BE49-F238E27FC236}">
                <a16:creationId xmlns:a16="http://schemas.microsoft.com/office/drawing/2014/main" id="{266AEEAF-260E-01AD-67F6-9774A18E0DAD}"/>
              </a:ext>
              <a:ext uri="{C183D7F6-B498-43B3-948B-1728B52AA6E4}">
                <adec:decorative xmlns:adec="http://schemas.microsoft.com/office/drawing/2017/decorative" val="1"/>
              </a:ext>
            </a:extLst>
          </p:cNvPr>
          <p:cNvSpPr>
            <a:spLocks noGrp="1"/>
          </p:cNvSpPr>
          <p:nvPr>
            <p:ph type="sldNum" sz="quarter" idx="12"/>
          </p:nvPr>
        </p:nvSpPr>
        <p:spPr/>
        <p:txBody>
          <a:bodyPr/>
          <a:lstStyle/>
          <a:p>
            <a:r>
              <a:rPr lang="en-GB"/>
              <a:t>Page </a:t>
            </a:r>
            <a:fld id="{F5AEA0E0-5CC6-4BD0-905C-A0021E419432}" type="slidenum">
              <a:rPr lang="en-GB" smtClean="0"/>
              <a:pPr/>
              <a:t>4</a:t>
            </a:fld>
            <a:endParaRPr lang="en-GB"/>
          </a:p>
        </p:txBody>
      </p:sp>
    </p:spTree>
    <p:extLst>
      <p:ext uri="{BB962C8B-B14F-4D97-AF65-F5344CB8AC3E}">
        <p14:creationId xmlns:p14="http://schemas.microsoft.com/office/powerpoint/2010/main" val="67972405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328B557-A9B5-A5B2-92E9-BA16465CA7F0}"/>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37398122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8" imgH="328" progId="TCLayout.ActiveDocument.1">
                  <p:embed/>
                </p:oleObj>
              </mc:Choice>
              <mc:Fallback>
                <p:oleObj name="think-cell Slide" r:id="rId3" imgW="328" imgH="328" progId="TCLayout.ActiveDocument.1">
                  <p:embed/>
                  <p:pic>
                    <p:nvPicPr>
                      <p:cNvPr id="7" name="Object 6" hidden="1">
                        <a:extLst>
                          <a:ext uri="{FF2B5EF4-FFF2-40B4-BE49-F238E27FC236}">
                            <a16:creationId xmlns:a16="http://schemas.microsoft.com/office/drawing/2014/main" id="{E328B557-A9B5-A5B2-92E9-BA16465CA7F0}"/>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775851-1710-1ECE-9244-8DB335407B32}"/>
              </a:ext>
            </a:extLst>
          </p:cNvPr>
          <p:cNvSpPr>
            <a:spLocks noGrp="1"/>
          </p:cNvSpPr>
          <p:nvPr>
            <p:ph type="title"/>
          </p:nvPr>
        </p:nvSpPr>
        <p:spPr>
          <a:xfrm>
            <a:off x="472058" y="599396"/>
            <a:ext cx="3851416" cy="1122500"/>
          </a:xfrm>
        </p:spPr>
        <p:txBody>
          <a:bodyPr vert="horz"/>
          <a:lstStyle/>
          <a:p>
            <a:r>
              <a:rPr lang="en-AU" sz="2590" dirty="0"/>
              <a:t>Glossary of common planning terms p5</a:t>
            </a:r>
          </a:p>
        </p:txBody>
      </p:sp>
      <p:sp>
        <p:nvSpPr>
          <p:cNvPr id="5" name="Content Placeholder 2">
            <a:extLst>
              <a:ext uri="{FF2B5EF4-FFF2-40B4-BE49-F238E27FC236}">
                <a16:creationId xmlns:a16="http://schemas.microsoft.com/office/drawing/2014/main" id="{A1CE4481-A351-EDB4-D370-B5CAB633F6FF}"/>
              </a:ext>
            </a:extLst>
          </p:cNvPr>
          <p:cNvSpPr txBox="1">
            <a:spLocks/>
          </p:cNvSpPr>
          <p:nvPr/>
        </p:nvSpPr>
        <p:spPr>
          <a:xfrm>
            <a:off x="472058" y="2512497"/>
            <a:ext cx="6356918" cy="6760112"/>
          </a:xfrm>
          <a:prstGeom prst="rect">
            <a:avLst/>
          </a:prstGeom>
        </p:spPr>
        <p:txBody>
          <a:bodyPr vert="horz" lIns="0" tIns="0" rIns="0" bIns="0" rtlCol="0">
            <a:noAutofit/>
          </a:bodyPr>
          <a:lstStyle>
            <a:lvl1pPr marL="0" indent="0" algn="l" defTabSz="685800" rtl="0" eaLnBrk="1" latinLnBrk="0" hangingPunct="1">
              <a:lnSpc>
                <a:spcPct val="100000"/>
              </a:lnSpc>
              <a:spcBef>
                <a:spcPts val="450"/>
              </a:spcBef>
              <a:buFont typeface="Arial" panose="020B0604020202020204" pitchFamily="34" charset="0"/>
              <a:buNone/>
              <a:defRPr sz="1350" b="1" kern="1200">
                <a:solidFill>
                  <a:schemeClr val="accent6"/>
                </a:solidFill>
                <a:latin typeface="+mn-lt"/>
                <a:ea typeface="+mn-ea"/>
                <a:cs typeface="+mn-cs"/>
              </a:defRPr>
            </a:lvl1pPr>
            <a:lvl2pPr marL="0" indent="0" algn="l" defTabSz="685800" rtl="0" eaLnBrk="1" latinLnBrk="0" hangingPunct="1">
              <a:lnSpc>
                <a:spcPct val="100000"/>
              </a:lnSpc>
              <a:spcBef>
                <a:spcPts val="450"/>
              </a:spcBef>
              <a:buFont typeface="Arial" panose="020B0604020202020204" pitchFamily="34" charset="0"/>
              <a:buNone/>
              <a:defRPr sz="1350" kern="1200">
                <a:solidFill>
                  <a:schemeClr val="accent6"/>
                </a:solidFill>
                <a:latin typeface="+mn-lt"/>
                <a:ea typeface="+mn-ea"/>
                <a:cs typeface="+mn-cs"/>
              </a:defRPr>
            </a:lvl2pPr>
            <a:lvl3pPr marL="135000" indent="-135000" algn="l" defTabSz="685800" rtl="0" eaLnBrk="1" latinLnBrk="0" hangingPunct="1">
              <a:lnSpc>
                <a:spcPct val="100000"/>
              </a:lnSpc>
              <a:spcBef>
                <a:spcPts val="450"/>
              </a:spcBef>
              <a:buClr>
                <a:schemeClr val="accent3"/>
              </a:buClr>
              <a:buFont typeface="Arial" panose="020B0604020202020204" pitchFamily="34" charset="0"/>
              <a:buChar char="•"/>
              <a:defRPr sz="1350" kern="1200">
                <a:solidFill>
                  <a:schemeClr val="accent6"/>
                </a:solidFill>
                <a:latin typeface="+mn-lt"/>
                <a:ea typeface="+mn-ea"/>
                <a:cs typeface="+mn-cs"/>
              </a:defRPr>
            </a:lvl3pPr>
            <a:lvl4pPr marL="270000" indent="-135000" algn="l" defTabSz="685800" rtl="0" eaLnBrk="1" latinLnBrk="0" hangingPunct="1">
              <a:lnSpc>
                <a:spcPct val="100000"/>
              </a:lnSpc>
              <a:spcBef>
                <a:spcPts val="900"/>
              </a:spcBef>
              <a:spcAft>
                <a:spcPts val="900"/>
              </a:spcAft>
              <a:buClr>
                <a:schemeClr val="accent2"/>
              </a:buClr>
              <a:buFont typeface="Arial" panose="020B0604020202020204" pitchFamily="34" charset="0"/>
              <a:buChar char="•"/>
              <a:defRPr sz="1350" b="0" i="0" kern="1200">
                <a:solidFill>
                  <a:schemeClr val="accent6"/>
                </a:solidFill>
                <a:latin typeface="+mn-lt"/>
                <a:ea typeface="+mn-ea"/>
                <a:cs typeface="+mn-cs"/>
              </a:defRPr>
            </a:lvl4pPr>
            <a:lvl5pPr marL="0" indent="0" algn="l" defTabSz="685800" rtl="0" eaLnBrk="1" latinLnBrk="0" hangingPunct="1">
              <a:lnSpc>
                <a:spcPct val="100000"/>
              </a:lnSpc>
              <a:spcBef>
                <a:spcPts val="450"/>
              </a:spcBef>
              <a:buFont typeface="Arial" panose="020B0604020202020204" pitchFamily="34" charset="0"/>
              <a:buNone/>
              <a:defRPr sz="1050" b="1" kern="1200">
                <a:solidFill>
                  <a:schemeClr val="accent6"/>
                </a:solidFill>
                <a:latin typeface="+mn-lt"/>
                <a:ea typeface="+mn-ea"/>
                <a:cs typeface="+mn-cs"/>
              </a:defRPr>
            </a:lvl5pPr>
            <a:lvl6pPr marL="0" indent="0" algn="l" defTabSz="685800" rtl="0" eaLnBrk="1" latinLnBrk="0" hangingPunct="1">
              <a:lnSpc>
                <a:spcPct val="100000"/>
              </a:lnSpc>
              <a:spcBef>
                <a:spcPts val="450"/>
              </a:spcBef>
              <a:buFont typeface="Arial" panose="020B0604020202020204" pitchFamily="34" charset="0"/>
              <a:buNone/>
              <a:defRPr sz="1050" kern="1200">
                <a:solidFill>
                  <a:schemeClr val="tx1"/>
                </a:solidFill>
                <a:latin typeface="+mn-lt"/>
                <a:ea typeface="+mn-ea"/>
                <a:cs typeface="+mn-cs"/>
              </a:defRPr>
            </a:lvl6pPr>
            <a:lvl7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7pPr>
            <a:lvl8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8pPr>
            <a:lvl9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9pPr>
          </a:lstStyle>
          <a:p>
            <a:pPr algn="l" rtl="0" fontAlgn="base">
              <a:lnSpc>
                <a:spcPct val="114000"/>
              </a:lnSpc>
            </a:pPr>
            <a:r>
              <a:rPr lang="en-AU" sz="1200" dirty="0">
                <a:solidFill>
                  <a:srgbClr val="017D7D"/>
                </a:solidFill>
              </a:rPr>
              <a:t>Rural Living Zone </a:t>
            </a:r>
          </a:p>
          <a:p>
            <a:pPr algn="l" rtl="0" fontAlgn="base">
              <a:lnSpc>
                <a:spcPct val="114000"/>
              </a:lnSpc>
              <a:spcBef>
                <a:spcPts val="0"/>
              </a:spcBef>
            </a:pPr>
            <a:r>
              <a:rPr lang="en-AU" sz="1050" b="0" dirty="0">
                <a:solidFill>
                  <a:srgbClr val="000000"/>
                </a:solidFill>
              </a:rPr>
              <a:t>A zone intended to provide residential use in a rural environment and for agricultural uses, which do not adversely affect the amenity of surrounding land.</a:t>
            </a:r>
            <a:endParaRPr lang="en-AU" sz="1600" b="0" dirty="0">
              <a:solidFill>
                <a:srgbClr val="000000"/>
              </a:solidFill>
              <a:latin typeface="Segoe UI" panose="020B0502040204020203" pitchFamily="34" charset="0"/>
            </a:endParaRPr>
          </a:p>
          <a:p>
            <a:pPr algn="l" rtl="0" fontAlgn="base">
              <a:lnSpc>
                <a:spcPct val="114000"/>
              </a:lnSpc>
            </a:pPr>
            <a:r>
              <a:rPr lang="en-AU" sz="1200" dirty="0">
                <a:solidFill>
                  <a:srgbClr val="017D7D"/>
                </a:solidFill>
              </a:rPr>
              <a:t>Secondary Consent</a:t>
            </a:r>
          </a:p>
          <a:p>
            <a:pPr fontAlgn="base">
              <a:lnSpc>
                <a:spcPct val="114000"/>
              </a:lnSpc>
              <a:spcBef>
                <a:spcPts val="0"/>
              </a:spcBef>
              <a:spcAft>
                <a:spcPts val="648"/>
              </a:spcAft>
            </a:pPr>
            <a:r>
              <a:rPr lang="en-AU" sz="1050" b="0" dirty="0">
                <a:solidFill>
                  <a:srgbClr val="000000"/>
                </a:solidFill>
              </a:rPr>
              <a:t>Permission from the Responsible Authority allowing for minor changes to the endorsed plans to be made, after a Permit has been granted. Secondary consent requests cannot change the wording or conditions of the Permit. An example of changes sought under secondary consent might include amendments to the landscaping or a change to the colour of an external wall. </a:t>
            </a:r>
            <a:endParaRPr lang="en-AU" sz="1600" b="0" dirty="0">
              <a:solidFill>
                <a:srgbClr val="000000"/>
              </a:solidFill>
              <a:latin typeface="Segoe UI" panose="020B0502040204020203" pitchFamily="34" charset="0"/>
            </a:endParaRPr>
          </a:p>
          <a:p>
            <a:pPr algn="l" rtl="0" fontAlgn="base">
              <a:lnSpc>
                <a:spcPct val="114000"/>
              </a:lnSpc>
            </a:pPr>
            <a:r>
              <a:rPr lang="en-AU" sz="1200" dirty="0">
                <a:solidFill>
                  <a:srgbClr val="017D7D"/>
                </a:solidFill>
              </a:rPr>
              <a:t>Section 173 Agreement</a:t>
            </a:r>
          </a:p>
          <a:p>
            <a:pPr fontAlgn="base">
              <a:lnSpc>
                <a:spcPct val="114000"/>
              </a:lnSpc>
              <a:spcBef>
                <a:spcPts val="0"/>
              </a:spcBef>
              <a:spcAft>
                <a:spcPts val="648"/>
              </a:spcAft>
            </a:pPr>
            <a:r>
              <a:rPr lang="en-AU" sz="1050" b="0" dirty="0">
                <a:solidFill>
                  <a:srgbClr val="000000"/>
                </a:solidFill>
              </a:rPr>
              <a:t>A legal contract between Council and another party that determines what can or cannot be done on any piece of land. A Section 173 Agreement can be recorded on the Title of the land and applied to future owners and occupiers of the land.</a:t>
            </a:r>
          </a:p>
          <a:p>
            <a:pPr algn="l" rtl="0" fontAlgn="base">
              <a:lnSpc>
                <a:spcPct val="114000"/>
              </a:lnSpc>
            </a:pPr>
            <a:r>
              <a:rPr lang="en-AU" sz="1200" dirty="0">
                <a:solidFill>
                  <a:srgbClr val="017D7D"/>
                </a:solidFill>
              </a:rPr>
              <a:t>Setbacks</a:t>
            </a:r>
          </a:p>
          <a:p>
            <a:pPr fontAlgn="base">
              <a:lnSpc>
                <a:spcPct val="114000"/>
              </a:lnSpc>
              <a:spcBef>
                <a:spcPts val="0"/>
              </a:spcBef>
              <a:spcAft>
                <a:spcPts val="648"/>
              </a:spcAft>
            </a:pPr>
            <a:r>
              <a:rPr lang="en-AU" sz="1050" b="0" dirty="0">
                <a:solidFill>
                  <a:srgbClr val="000000"/>
                </a:solidFill>
              </a:rPr>
              <a:t>The horizontal distance from a boundary or building.</a:t>
            </a:r>
          </a:p>
          <a:p>
            <a:pPr marL="0" marR="0" lvl="0" indent="0" algn="l" defTabSz="995507" rtl="0" eaLnBrk="1" fontAlgn="base" latinLnBrk="0" hangingPunct="1">
              <a:lnSpc>
                <a:spcPct val="114000"/>
              </a:lnSpc>
              <a:spcAft>
                <a:spcPts val="0"/>
              </a:spcAft>
              <a:buClrTx/>
              <a:buSzTx/>
              <a:buFontTx/>
              <a:buNone/>
              <a:tabLst/>
              <a:defRPr/>
            </a:pPr>
            <a:r>
              <a:rPr kumimoji="0" lang="en-AU" sz="1200" i="0" u="none" strike="noStrike" kern="1200" cap="none" spc="0" normalizeH="0" baseline="0" noProof="0" dirty="0">
                <a:ln>
                  <a:noFill/>
                </a:ln>
                <a:solidFill>
                  <a:srgbClr val="017D7D"/>
                </a:solidFill>
                <a:effectLst/>
                <a:uLnTx/>
                <a:uFillTx/>
                <a:latin typeface="Arial" panose="020B0604020202020204"/>
                <a:ea typeface="+mn-ea"/>
                <a:cs typeface="+mn-cs"/>
              </a:rPr>
              <a:t>Site Plan</a:t>
            </a:r>
          </a:p>
          <a:p>
            <a:pPr marL="0" marR="0" lvl="0" indent="0" algn="l" defTabSz="995507" rtl="0" eaLnBrk="1" fontAlgn="base" latinLnBrk="0" hangingPunct="1">
              <a:lnSpc>
                <a:spcPct val="114000"/>
              </a:lnSpc>
              <a:spcBef>
                <a:spcPts val="0"/>
              </a:spcBef>
              <a:spcAft>
                <a:spcPts val="648"/>
              </a:spcAft>
              <a:buClrTx/>
              <a:buSzTx/>
              <a:buFontTx/>
              <a:buNone/>
              <a:tabLst/>
              <a:defRPr/>
            </a:pPr>
            <a:r>
              <a:rPr kumimoji="0" lang="en-AU" sz="1050" b="0" i="0" u="none" strike="noStrike" kern="1200" cap="none" spc="0" normalizeH="0" baseline="0" noProof="0" dirty="0">
                <a:ln>
                  <a:noFill/>
                </a:ln>
                <a:solidFill>
                  <a:srgbClr val="000000"/>
                </a:solidFill>
                <a:effectLst/>
                <a:uLnTx/>
                <a:uFillTx/>
                <a:latin typeface="Arial" panose="020B0604020202020204"/>
                <a:ea typeface="+mn-ea"/>
                <a:cs typeface="+mn-cs"/>
              </a:rPr>
              <a:t>A birds-eye view of the site. A site plan may include details of existing and proposed property boundaries, buildings, vegetation, driveways and roads. Site plans should also include dimensions and orientations and may include annotations. Insufficient site plans are one of the most common reasons Responsible Authorities request further information, therefore ensuring they are detailed is important.</a:t>
            </a:r>
            <a:endParaRPr kumimoji="0" lang="en-AU" sz="16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a:p>
            <a:pPr marL="0" marR="0" lvl="0" indent="0" algn="l" defTabSz="995507" rtl="0" eaLnBrk="1" fontAlgn="base" latinLnBrk="0" hangingPunct="1">
              <a:lnSpc>
                <a:spcPct val="114000"/>
              </a:lnSpc>
              <a:spcAft>
                <a:spcPts val="0"/>
              </a:spcAft>
              <a:buClrTx/>
              <a:buSzTx/>
              <a:buFontTx/>
              <a:buNone/>
              <a:tabLst/>
              <a:defRPr/>
            </a:pPr>
            <a:r>
              <a:rPr kumimoji="0" lang="en-AU" sz="1200" i="0" u="none" strike="noStrike" kern="1200" cap="none" spc="0" normalizeH="0" baseline="0" noProof="0" dirty="0">
                <a:ln>
                  <a:noFill/>
                </a:ln>
                <a:solidFill>
                  <a:srgbClr val="017D7D"/>
                </a:solidFill>
                <a:effectLst/>
                <a:uLnTx/>
                <a:uFillTx/>
                <a:latin typeface="Arial" panose="020B0604020202020204"/>
                <a:ea typeface="+mn-ea"/>
                <a:cs typeface="+mn-cs"/>
              </a:rPr>
              <a:t>Subdivision</a:t>
            </a:r>
          </a:p>
          <a:p>
            <a:pPr marL="0" marR="0" lvl="0" indent="0" algn="l" defTabSz="995507" rtl="0" eaLnBrk="1" fontAlgn="base" latinLnBrk="0" hangingPunct="1">
              <a:lnSpc>
                <a:spcPct val="114000"/>
              </a:lnSpc>
              <a:spcBef>
                <a:spcPts val="0"/>
              </a:spcBef>
              <a:spcAft>
                <a:spcPts val="648"/>
              </a:spcAft>
              <a:buClrTx/>
              <a:buSzTx/>
              <a:buFontTx/>
              <a:buNone/>
              <a:tabLst/>
              <a:defRPr/>
            </a:pPr>
            <a:r>
              <a:rPr kumimoji="0" lang="en-AU" sz="1050" b="0" i="0" u="none" strike="noStrike" kern="1200" cap="none" spc="0" normalizeH="0" baseline="0" noProof="0" dirty="0">
                <a:ln>
                  <a:noFill/>
                </a:ln>
                <a:solidFill>
                  <a:srgbClr val="000000"/>
                </a:solidFill>
                <a:effectLst/>
                <a:uLnTx/>
                <a:uFillTx/>
                <a:latin typeface="Arial" panose="020B0604020202020204"/>
                <a:ea typeface="+mn-ea"/>
                <a:cs typeface="+mn-cs"/>
              </a:rPr>
              <a:t>The process of dividing a property into smaller lots that can be sold separately or, the realignment or altering of title boundaries.</a:t>
            </a:r>
            <a:endParaRPr kumimoji="0" lang="en-AU" sz="16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a:p>
            <a:pPr marL="0" marR="0" lvl="0" indent="0" algn="l" defTabSz="995507" rtl="0" eaLnBrk="1" fontAlgn="base" latinLnBrk="0" hangingPunct="1">
              <a:lnSpc>
                <a:spcPct val="114000"/>
              </a:lnSpc>
              <a:spcAft>
                <a:spcPts val="0"/>
              </a:spcAft>
              <a:buClrTx/>
              <a:buSzTx/>
              <a:buFontTx/>
              <a:buNone/>
              <a:tabLst/>
              <a:defRPr/>
            </a:pPr>
            <a:r>
              <a:rPr kumimoji="0" lang="en-AU" sz="1200" i="0" u="none" strike="noStrike" kern="1200" cap="none" spc="0" normalizeH="0" baseline="0" noProof="0" dirty="0">
                <a:ln>
                  <a:noFill/>
                </a:ln>
                <a:solidFill>
                  <a:srgbClr val="017D7D"/>
                </a:solidFill>
                <a:effectLst/>
                <a:uLnTx/>
                <a:uFillTx/>
                <a:latin typeface="Arial" panose="020B0604020202020204"/>
                <a:ea typeface="+mn-ea"/>
                <a:cs typeface="+mn-cs"/>
              </a:rPr>
              <a:t>Title</a:t>
            </a:r>
          </a:p>
          <a:p>
            <a:pPr marL="0" marR="0" lvl="0" indent="0" algn="l" defTabSz="995507" rtl="0" eaLnBrk="1" fontAlgn="base" latinLnBrk="0" hangingPunct="1">
              <a:lnSpc>
                <a:spcPct val="114000"/>
              </a:lnSpc>
              <a:spcBef>
                <a:spcPts val="0"/>
              </a:spcBef>
              <a:spcAft>
                <a:spcPts val="648"/>
              </a:spcAft>
              <a:buClrTx/>
              <a:buSzTx/>
              <a:buFontTx/>
              <a:buNone/>
              <a:tabLst/>
              <a:defRPr/>
            </a:pPr>
            <a:r>
              <a:rPr kumimoji="0" lang="en-AU" sz="1050" b="0" i="0" u="none" strike="noStrike" kern="1200" cap="none" spc="0" normalizeH="0" baseline="0" noProof="0" dirty="0">
                <a:ln>
                  <a:noFill/>
                </a:ln>
                <a:solidFill>
                  <a:srgbClr val="000000"/>
                </a:solidFill>
                <a:effectLst/>
                <a:uLnTx/>
                <a:uFillTx/>
                <a:latin typeface="Arial" panose="020B0604020202020204"/>
                <a:ea typeface="+mn-ea"/>
                <a:cs typeface="+mn-cs"/>
              </a:rPr>
              <a:t>An official record of who owns a piece of land. Can also include information relating to mortgages, covenants, caveats and easements affecting the land.  </a:t>
            </a:r>
          </a:p>
          <a:p>
            <a:pPr marL="0" marR="0" lvl="0" indent="0" algn="l" defTabSz="995507" rtl="0" eaLnBrk="1" fontAlgn="base" latinLnBrk="0" hangingPunct="1">
              <a:lnSpc>
                <a:spcPct val="114000"/>
              </a:lnSpc>
              <a:spcBef>
                <a:spcPts val="0"/>
              </a:spcBef>
              <a:spcAft>
                <a:spcPts val="648"/>
              </a:spcAft>
              <a:buClrTx/>
              <a:buSzTx/>
              <a:buFontTx/>
              <a:buNone/>
              <a:tabLst/>
              <a:defRPr/>
            </a:pPr>
            <a:r>
              <a:rPr kumimoji="0" lang="en-AU" sz="1050" b="0" i="0" u="none" strike="noStrike" kern="1200" cap="none" spc="0" normalizeH="0" baseline="0" noProof="0" dirty="0">
                <a:ln>
                  <a:noFill/>
                </a:ln>
                <a:solidFill>
                  <a:srgbClr val="000000"/>
                </a:solidFill>
                <a:effectLst/>
                <a:uLnTx/>
                <a:uFillTx/>
                <a:latin typeface="Arial" panose="020B0604020202020204"/>
                <a:ea typeface="+mn-ea"/>
                <a:cs typeface="+mn-cs"/>
              </a:rPr>
              <a:t>You can purchase a Copy of Title from the </a:t>
            </a:r>
            <a:r>
              <a:rPr kumimoji="0" lang="en-AU" sz="1050" b="0" i="0" u="none" strike="noStrike" kern="1200" cap="none" spc="0" normalizeH="0" baseline="0" noProof="0" dirty="0">
                <a:ln>
                  <a:noFill/>
                </a:ln>
                <a:solidFill>
                  <a:srgbClr val="E1EEF9">
                    <a:lumMod val="50000"/>
                  </a:srgbClr>
                </a:solidFill>
                <a:effectLst/>
                <a:uLnTx/>
                <a:uFillTx/>
                <a:latin typeface="Arial" panose="020B0604020202020204"/>
                <a:ea typeface="+mn-ea"/>
                <a:cs typeface="+mn-cs"/>
                <a:hlinkClick r:id="rId5">
                  <a:extLst>
                    <a:ext uri="{A12FA001-AC4F-418D-AE19-62706E023703}">
                      <ahyp:hlinkClr xmlns:ahyp="http://schemas.microsoft.com/office/drawing/2018/hyperlinkcolor" val="tx"/>
                    </a:ext>
                  </a:extLst>
                </a:hlinkClick>
              </a:rPr>
              <a:t>Landata</a:t>
            </a:r>
            <a:r>
              <a:rPr kumimoji="0" lang="en-AU" sz="1050" b="0" i="0" u="none" strike="noStrike" kern="1200" cap="none" spc="0" normalizeH="0" baseline="0" noProof="0" dirty="0">
                <a:ln>
                  <a:noFill/>
                </a:ln>
                <a:solidFill>
                  <a:srgbClr val="000000"/>
                </a:solidFill>
                <a:effectLst/>
                <a:uLnTx/>
                <a:uFillTx/>
                <a:latin typeface="Arial" panose="020B0604020202020204"/>
                <a:ea typeface="+mn-ea"/>
                <a:cs typeface="+mn-cs"/>
              </a:rPr>
              <a:t> website.</a:t>
            </a:r>
          </a:p>
          <a:p>
            <a:pPr fontAlgn="base">
              <a:lnSpc>
                <a:spcPct val="114000"/>
              </a:lnSpc>
              <a:spcBef>
                <a:spcPts val="0"/>
              </a:spcBef>
              <a:spcAft>
                <a:spcPts val="648"/>
              </a:spcAft>
            </a:pPr>
            <a:endParaRPr lang="en-AU" sz="1600" b="0" dirty="0">
              <a:solidFill>
                <a:srgbClr val="000000"/>
              </a:solidFill>
              <a:latin typeface="Segoe UI" panose="020B0502040204020203" pitchFamily="34" charset="0"/>
            </a:endParaRPr>
          </a:p>
          <a:p>
            <a:pPr algn="l" rtl="0" fontAlgn="base">
              <a:lnSpc>
                <a:spcPct val="114000"/>
              </a:lnSpc>
            </a:pPr>
            <a:endParaRPr lang="en-AU" sz="1050" b="0" dirty="0">
              <a:solidFill>
                <a:schemeClr val="bg2">
                  <a:lumMod val="50000"/>
                </a:schemeClr>
              </a:solidFill>
            </a:endParaRPr>
          </a:p>
        </p:txBody>
      </p:sp>
      <p:sp>
        <p:nvSpPr>
          <p:cNvPr id="3" name="Content Placeholder 2">
            <a:extLst>
              <a:ext uri="{FF2B5EF4-FFF2-40B4-BE49-F238E27FC236}">
                <a16:creationId xmlns:a16="http://schemas.microsoft.com/office/drawing/2014/main" id="{EF204A55-D2E0-E180-5D94-7599DC89CF23}"/>
              </a:ext>
            </a:extLst>
          </p:cNvPr>
          <p:cNvSpPr txBox="1">
            <a:spLocks/>
          </p:cNvSpPr>
          <p:nvPr/>
        </p:nvSpPr>
        <p:spPr>
          <a:xfrm>
            <a:off x="472058" y="9737742"/>
            <a:ext cx="6356918" cy="561250"/>
          </a:xfrm>
          <a:prstGeom prst="rect">
            <a:avLst/>
          </a:prstGeom>
        </p:spPr>
        <p:txBody>
          <a:bodyPr vert="horz" lIns="0" tIns="0" rIns="0" bIns="0" rtlCol="0">
            <a:noAutofit/>
          </a:bodyPr>
          <a:lstStyle>
            <a:lvl1pPr marL="0" indent="0" algn="l" defTabSz="685800" rtl="0" eaLnBrk="1" latinLnBrk="0" hangingPunct="1">
              <a:lnSpc>
                <a:spcPct val="100000"/>
              </a:lnSpc>
              <a:spcBef>
                <a:spcPts val="450"/>
              </a:spcBef>
              <a:buFont typeface="Arial" panose="020B0604020202020204" pitchFamily="34" charset="0"/>
              <a:buNone/>
              <a:defRPr sz="1350" b="1" kern="1200">
                <a:solidFill>
                  <a:schemeClr val="accent6"/>
                </a:solidFill>
                <a:latin typeface="+mn-lt"/>
                <a:ea typeface="+mn-ea"/>
                <a:cs typeface="+mn-cs"/>
              </a:defRPr>
            </a:lvl1pPr>
            <a:lvl2pPr marL="0" indent="0" algn="l" defTabSz="685800" rtl="0" eaLnBrk="1" latinLnBrk="0" hangingPunct="1">
              <a:lnSpc>
                <a:spcPct val="100000"/>
              </a:lnSpc>
              <a:spcBef>
                <a:spcPts val="450"/>
              </a:spcBef>
              <a:buFont typeface="Arial" panose="020B0604020202020204" pitchFamily="34" charset="0"/>
              <a:buNone/>
              <a:defRPr sz="1350" kern="1200">
                <a:solidFill>
                  <a:schemeClr val="accent6"/>
                </a:solidFill>
                <a:latin typeface="+mn-lt"/>
                <a:ea typeface="+mn-ea"/>
                <a:cs typeface="+mn-cs"/>
              </a:defRPr>
            </a:lvl2pPr>
            <a:lvl3pPr marL="135000" indent="-135000" algn="l" defTabSz="685800" rtl="0" eaLnBrk="1" latinLnBrk="0" hangingPunct="1">
              <a:lnSpc>
                <a:spcPct val="100000"/>
              </a:lnSpc>
              <a:spcBef>
                <a:spcPts val="450"/>
              </a:spcBef>
              <a:buClr>
                <a:schemeClr val="accent3"/>
              </a:buClr>
              <a:buFont typeface="Arial" panose="020B0604020202020204" pitchFamily="34" charset="0"/>
              <a:buChar char="•"/>
              <a:defRPr sz="1350" kern="1200">
                <a:solidFill>
                  <a:schemeClr val="accent6"/>
                </a:solidFill>
                <a:latin typeface="+mn-lt"/>
                <a:ea typeface="+mn-ea"/>
                <a:cs typeface="+mn-cs"/>
              </a:defRPr>
            </a:lvl3pPr>
            <a:lvl4pPr marL="270000" indent="-135000" algn="l" defTabSz="685800" rtl="0" eaLnBrk="1" latinLnBrk="0" hangingPunct="1">
              <a:lnSpc>
                <a:spcPct val="100000"/>
              </a:lnSpc>
              <a:spcBef>
                <a:spcPts val="900"/>
              </a:spcBef>
              <a:spcAft>
                <a:spcPts val="900"/>
              </a:spcAft>
              <a:buClr>
                <a:schemeClr val="accent2"/>
              </a:buClr>
              <a:buFont typeface="Arial" panose="020B0604020202020204" pitchFamily="34" charset="0"/>
              <a:buChar char="•"/>
              <a:defRPr sz="1350" b="0" i="0" kern="1200">
                <a:solidFill>
                  <a:schemeClr val="accent6"/>
                </a:solidFill>
                <a:latin typeface="+mn-lt"/>
                <a:ea typeface="+mn-ea"/>
                <a:cs typeface="+mn-cs"/>
              </a:defRPr>
            </a:lvl4pPr>
            <a:lvl5pPr marL="0" indent="0" algn="l" defTabSz="685800" rtl="0" eaLnBrk="1" latinLnBrk="0" hangingPunct="1">
              <a:lnSpc>
                <a:spcPct val="100000"/>
              </a:lnSpc>
              <a:spcBef>
                <a:spcPts val="450"/>
              </a:spcBef>
              <a:buFont typeface="Arial" panose="020B0604020202020204" pitchFamily="34" charset="0"/>
              <a:buNone/>
              <a:defRPr sz="1050" b="1" kern="1200">
                <a:solidFill>
                  <a:schemeClr val="accent6"/>
                </a:solidFill>
                <a:latin typeface="+mn-lt"/>
                <a:ea typeface="+mn-ea"/>
                <a:cs typeface="+mn-cs"/>
              </a:defRPr>
            </a:lvl5pPr>
            <a:lvl6pPr marL="0" indent="0" algn="l" defTabSz="685800" rtl="0" eaLnBrk="1" latinLnBrk="0" hangingPunct="1">
              <a:lnSpc>
                <a:spcPct val="100000"/>
              </a:lnSpc>
              <a:spcBef>
                <a:spcPts val="450"/>
              </a:spcBef>
              <a:buFont typeface="Arial" panose="020B0604020202020204" pitchFamily="34" charset="0"/>
              <a:buNone/>
              <a:defRPr sz="1050" kern="1200">
                <a:solidFill>
                  <a:schemeClr val="tx1"/>
                </a:solidFill>
                <a:latin typeface="+mn-lt"/>
                <a:ea typeface="+mn-ea"/>
                <a:cs typeface="+mn-cs"/>
              </a:defRPr>
            </a:lvl6pPr>
            <a:lvl7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7pPr>
            <a:lvl8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8pPr>
            <a:lvl9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9pPr>
          </a:lstStyle>
          <a:p>
            <a:r>
              <a:rPr lang="en-AU" sz="1079" b="0" i="1"/>
              <a:t>Disclaimer: This glossary is intended to support new permit applicants and should not be used instead of the planning scheme terms at Clause 73 of the </a:t>
            </a:r>
            <a:r>
              <a:rPr lang="en-AU" sz="1079" b="0" i="1">
                <a:highlight>
                  <a:srgbClr val="FFFF00"/>
                </a:highlight>
              </a:rPr>
              <a:t>XXXXX</a:t>
            </a:r>
            <a:r>
              <a:rPr lang="en-AU" sz="1079" b="0" i="1"/>
              <a:t> Planning Scheme. Where there are slight differences in terminology, we recommend deferring to the planning scheme definitions.</a:t>
            </a:r>
          </a:p>
          <a:p>
            <a:endParaRPr lang="en-AU" sz="1079" b="0"/>
          </a:p>
          <a:p>
            <a:endParaRPr lang="en-AU" sz="1295" b="0"/>
          </a:p>
        </p:txBody>
      </p:sp>
      <p:sp>
        <p:nvSpPr>
          <p:cNvPr id="4" name="Slide Number Placeholder 3">
            <a:extLst>
              <a:ext uri="{FF2B5EF4-FFF2-40B4-BE49-F238E27FC236}">
                <a16:creationId xmlns:a16="http://schemas.microsoft.com/office/drawing/2014/main" id="{266AEEAF-260E-01AD-67F6-9774A18E0DAD}"/>
              </a:ext>
              <a:ext uri="{C183D7F6-B498-43B3-948B-1728B52AA6E4}">
                <adec:decorative xmlns:adec="http://schemas.microsoft.com/office/drawing/2017/decorative" val="1"/>
              </a:ext>
            </a:extLst>
          </p:cNvPr>
          <p:cNvSpPr>
            <a:spLocks noGrp="1"/>
          </p:cNvSpPr>
          <p:nvPr>
            <p:ph type="sldNum" sz="quarter" idx="12"/>
          </p:nvPr>
        </p:nvSpPr>
        <p:spPr/>
        <p:txBody>
          <a:bodyPr/>
          <a:lstStyle/>
          <a:p>
            <a:r>
              <a:rPr lang="en-GB"/>
              <a:t>Page </a:t>
            </a:r>
            <a:fld id="{F5AEA0E0-5CC6-4BD0-905C-A0021E419432}" type="slidenum">
              <a:rPr lang="en-GB" smtClean="0"/>
              <a:pPr/>
              <a:t>5</a:t>
            </a:fld>
            <a:endParaRPr lang="en-GB"/>
          </a:p>
        </p:txBody>
      </p:sp>
    </p:spTree>
    <p:extLst>
      <p:ext uri="{BB962C8B-B14F-4D97-AF65-F5344CB8AC3E}">
        <p14:creationId xmlns:p14="http://schemas.microsoft.com/office/powerpoint/2010/main" val="320636784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4181988-8DBE-AE95-CF5D-104E05127A32}"/>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23909781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8" imgH="328" progId="TCLayout.ActiveDocument.1">
                  <p:embed/>
                </p:oleObj>
              </mc:Choice>
              <mc:Fallback>
                <p:oleObj name="think-cell Slide" r:id="rId3" imgW="328" imgH="328" progId="TCLayout.ActiveDocument.1">
                  <p:embed/>
                  <p:pic>
                    <p:nvPicPr>
                      <p:cNvPr id="7" name="Object 6" hidden="1">
                        <a:extLst>
                          <a:ext uri="{FF2B5EF4-FFF2-40B4-BE49-F238E27FC236}">
                            <a16:creationId xmlns:a16="http://schemas.microsoft.com/office/drawing/2014/main" id="{64181988-8DBE-AE95-CF5D-104E05127A32}"/>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775851-1710-1ECE-9244-8DB335407B32}"/>
              </a:ext>
            </a:extLst>
          </p:cNvPr>
          <p:cNvSpPr>
            <a:spLocks noGrp="1"/>
          </p:cNvSpPr>
          <p:nvPr>
            <p:ph type="title"/>
          </p:nvPr>
        </p:nvSpPr>
        <p:spPr>
          <a:xfrm>
            <a:off x="472058" y="599396"/>
            <a:ext cx="3574970" cy="1122500"/>
          </a:xfrm>
        </p:spPr>
        <p:txBody>
          <a:bodyPr vert="horz"/>
          <a:lstStyle/>
          <a:p>
            <a:r>
              <a:rPr lang="en-AU" sz="2590" dirty="0"/>
              <a:t>Glossary of common planning terms p6</a:t>
            </a:r>
          </a:p>
        </p:txBody>
      </p:sp>
      <p:sp>
        <p:nvSpPr>
          <p:cNvPr id="5" name="Content Placeholder 2">
            <a:extLst>
              <a:ext uri="{FF2B5EF4-FFF2-40B4-BE49-F238E27FC236}">
                <a16:creationId xmlns:a16="http://schemas.microsoft.com/office/drawing/2014/main" id="{A1CE4481-A351-EDB4-D370-B5CAB633F6FF}"/>
              </a:ext>
            </a:extLst>
          </p:cNvPr>
          <p:cNvSpPr txBox="1">
            <a:spLocks/>
          </p:cNvSpPr>
          <p:nvPr/>
        </p:nvSpPr>
        <p:spPr>
          <a:xfrm>
            <a:off x="472058" y="2512497"/>
            <a:ext cx="6356918" cy="6760112"/>
          </a:xfrm>
          <a:prstGeom prst="rect">
            <a:avLst/>
          </a:prstGeom>
        </p:spPr>
        <p:txBody>
          <a:bodyPr vert="horz" lIns="0" tIns="0" rIns="0" bIns="0" rtlCol="0">
            <a:noAutofit/>
          </a:bodyPr>
          <a:lstStyle>
            <a:lvl1pPr marL="0" indent="0" algn="l" defTabSz="685800" rtl="0" eaLnBrk="1" latinLnBrk="0" hangingPunct="1">
              <a:lnSpc>
                <a:spcPct val="100000"/>
              </a:lnSpc>
              <a:spcBef>
                <a:spcPts val="450"/>
              </a:spcBef>
              <a:buFont typeface="Arial" panose="020B0604020202020204" pitchFamily="34" charset="0"/>
              <a:buNone/>
              <a:defRPr sz="1350" b="1" kern="1200">
                <a:solidFill>
                  <a:schemeClr val="accent6"/>
                </a:solidFill>
                <a:latin typeface="+mn-lt"/>
                <a:ea typeface="+mn-ea"/>
                <a:cs typeface="+mn-cs"/>
              </a:defRPr>
            </a:lvl1pPr>
            <a:lvl2pPr marL="0" indent="0" algn="l" defTabSz="685800" rtl="0" eaLnBrk="1" latinLnBrk="0" hangingPunct="1">
              <a:lnSpc>
                <a:spcPct val="100000"/>
              </a:lnSpc>
              <a:spcBef>
                <a:spcPts val="450"/>
              </a:spcBef>
              <a:buFont typeface="Arial" panose="020B0604020202020204" pitchFamily="34" charset="0"/>
              <a:buNone/>
              <a:defRPr sz="1350" kern="1200">
                <a:solidFill>
                  <a:schemeClr val="accent6"/>
                </a:solidFill>
                <a:latin typeface="+mn-lt"/>
                <a:ea typeface="+mn-ea"/>
                <a:cs typeface="+mn-cs"/>
              </a:defRPr>
            </a:lvl2pPr>
            <a:lvl3pPr marL="135000" indent="-135000" algn="l" defTabSz="685800" rtl="0" eaLnBrk="1" latinLnBrk="0" hangingPunct="1">
              <a:lnSpc>
                <a:spcPct val="100000"/>
              </a:lnSpc>
              <a:spcBef>
                <a:spcPts val="450"/>
              </a:spcBef>
              <a:buClr>
                <a:schemeClr val="accent3"/>
              </a:buClr>
              <a:buFont typeface="Arial" panose="020B0604020202020204" pitchFamily="34" charset="0"/>
              <a:buChar char="•"/>
              <a:defRPr sz="1350" kern="1200">
                <a:solidFill>
                  <a:schemeClr val="accent6"/>
                </a:solidFill>
                <a:latin typeface="+mn-lt"/>
                <a:ea typeface="+mn-ea"/>
                <a:cs typeface="+mn-cs"/>
              </a:defRPr>
            </a:lvl3pPr>
            <a:lvl4pPr marL="270000" indent="-135000" algn="l" defTabSz="685800" rtl="0" eaLnBrk="1" latinLnBrk="0" hangingPunct="1">
              <a:lnSpc>
                <a:spcPct val="100000"/>
              </a:lnSpc>
              <a:spcBef>
                <a:spcPts val="900"/>
              </a:spcBef>
              <a:spcAft>
                <a:spcPts val="900"/>
              </a:spcAft>
              <a:buClr>
                <a:schemeClr val="accent2"/>
              </a:buClr>
              <a:buFont typeface="Arial" panose="020B0604020202020204" pitchFamily="34" charset="0"/>
              <a:buChar char="•"/>
              <a:defRPr sz="1350" b="0" i="0" kern="1200">
                <a:solidFill>
                  <a:schemeClr val="accent6"/>
                </a:solidFill>
                <a:latin typeface="+mn-lt"/>
                <a:ea typeface="+mn-ea"/>
                <a:cs typeface="+mn-cs"/>
              </a:defRPr>
            </a:lvl4pPr>
            <a:lvl5pPr marL="0" indent="0" algn="l" defTabSz="685800" rtl="0" eaLnBrk="1" latinLnBrk="0" hangingPunct="1">
              <a:lnSpc>
                <a:spcPct val="100000"/>
              </a:lnSpc>
              <a:spcBef>
                <a:spcPts val="450"/>
              </a:spcBef>
              <a:buFont typeface="Arial" panose="020B0604020202020204" pitchFamily="34" charset="0"/>
              <a:buNone/>
              <a:defRPr sz="1050" b="1" kern="1200">
                <a:solidFill>
                  <a:schemeClr val="accent6"/>
                </a:solidFill>
                <a:latin typeface="+mn-lt"/>
                <a:ea typeface="+mn-ea"/>
                <a:cs typeface="+mn-cs"/>
              </a:defRPr>
            </a:lvl5pPr>
            <a:lvl6pPr marL="0" indent="0" algn="l" defTabSz="685800" rtl="0" eaLnBrk="1" latinLnBrk="0" hangingPunct="1">
              <a:lnSpc>
                <a:spcPct val="100000"/>
              </a:lnSpc>
              <a:spcBef>
                <a:spcPts val="450"/>
              </a:spcBef>
              <a:buFont typeface="Arial" panose="020B0604020202020204" pitchFamily="34" charset="0"/>
              <a:buNone/>
              <a:defRPr sz="1050" kern="1200">
                <a:solidFill>
                  <a:schemeClr val="tx1"/>
                </a:solidFill>
                <a:latin typeface="+mn-lt"/>
                <a:ea typeface="+mn-ea"/>
                <a:cs typeface="+mn-cs"/>
              </a:defRPr>
            </a:lvl6pPr>
            <a:lvl7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7pPr>
            <a:lvl8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8pPr>
            <a:lvl9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9pPr>
          </a:lstStyle>
          <a:p>
            <a:pPr fontAlgn="base">
              <a:lnSpc>
                <a:spcPct val="114000"/>
              </a:lnSpc>
              <a:spcBef>
                <a:spcPts val="648"/>
              </a:spcBef>
              <a:spcAft>
                <a:spcPts val="648"/>
              </a:spcAft>
            </a:pPr>
            <a:r>
              <a:rPr lang="en-AU" sz="1200" dirty="0">
                <a:solidFill>
                  <a:srgbClr val="017D7D"/>
                </a:solidFill>
              </a:rPr>
              <a:t>Title Search (Search Statement)</a:t>
            </a:r>
          </a:p>
          <a:p>
            <a:pPr fontAlgn="base">
              <a:lnSpc>
                <a:spcPct val="114000"/>
              </a:lnSpc>
              <a:spcBef>
                <a:spcPts val="0"/>
              </a:spcBef>
              <a:spcAft>
                <a:spcPts val="648"/>
              </a:spcAft>
            </a:pPr>
            <a:r>
              <a:rPr lang="en-AU" sz="1050" b="0" dirty="0">
                <a:solidFill>
                  <a:srgbClr val="000000"/>
                </a:solidFill>
              </a:rPr>
              <a:t>Shows the information held by the Victorian Register of Land at the time the search is conducted.  Includes the registered proprietors’ names and addresses, mortgage details and information about other encumbrances affecting the land. </a:t>
            </a:r>
          </a:p>
          <a:p>
            <a:pPr fontAlgn="base">
              <a:lnSpc>
                <a:spcPct val="114000"/>
              </a:lnSpc>
              <a:spcBef>
                <a:spcPts val="0"/>
              </a:spcBef>
              <a:spcAft>
                <a:spcPts val="648"/>
              </a:spcAft>
            </a:pPr>
            <a:r>
              <a:rPr lang="en-AU" sz="1050" b="0" dirty="0">
                <a:solidFill>
                  <a:srgbClr val="000000"/>
                </a:solidFill>
              </a:rPr>
              <a:t>You can purchase a Title Search from the </a:t>
            </a:r>
            <a:r>
              <a:rPr lang="en-AU" sz="1050" b="0" dirty="0">
                <a:solidFill>
                  <a:schemeClr val="bg2">
                    <a:lumMod val="50000"/>
                  </a:schemeClr>
                </a:solidFill>
                <a:hlinkClick r:id="rId5">
                  <a:extLst>
                    <a:ext uri="{A12FA001-AC4F-418D-AE19-62706E023703}">
                      <ahyp:hlinkClr xmlns:ahyp="http://schemas.microsoft.com/office/drawing/2018/hyperlinkcolor" val="tx"/>
                    </a:ext>
                  </a:extLst>
                </a:hlinkClick>
              </a:rPr>
              <a:t>Landata</a:t>
            </a:r>
            <a:r>
              <a:rPr lang="en-AU" sz="1050" b="0" dirty="0">
                <a:solidFill>
                  <a:srgbClr val="000000"/>
                </a:solidFill>
              </a:rPr>
              <a:t> website.</a:t>
            </a:r>
            <a:endParaRPr lang="en-AU" sz="1600" b="0" dirty="0">
              <a:solidFill>
                <a:srgbClr val="000000"/>
              </a:solidFill>
              <a:latin typeface="Segoe UI" panose="020B0502040204020203" pitchFamily="34" charset="0"/>
            </a:endParaRPr>
          </a:p>
          <a:p>
            <a:pPr algn="l" rtl="0" fontAlgn="base">
              <a:lnSpc>
                <a:spcPct val="114000"/>
              </a:lnSpc>
            </a:pPr>
            <a:r>
              <a:rPr lang="en-AU" sz="1200" dirty="0">
                <a:solidFill>
                  <a:srgbClr val="017D7D"/>
                </a:solidFill>
              </a:rPr>
              <a:t>Township Zone </a:t>
            </a:r>
          </a:p>
          <a:p>
            <a:pPr algn="l" rtl="0" fontAlgn="base">
              <a:lnSpc>
                <a:spcPct val="114000"/>
              </a:lnSpc>
              <a:spcBef>
                <a:spcPts val="0"/>
              </a:spcBef>
              <a:spcAft>
                <a:spcPts val="600"/>
              </a:spcAft>
            </a:pPr>
            <a:r>
              <a:rPr lang="en-AU" sz="1050" b="0" dirty="0">
                <a:solidFill>
                  <a:srgbClr val="000000"/>
                </a:solidFill>
              </a:rPr>
              <a:t>A zone intended to be used for residential development, and a range of commercial, industrial and other uses in small towns.</a:t>
            </a:r>
            <a:endParaRPr lang="en-AU" sz="1600" b="0" dirty="0">
              <a:solidFill>
                <a:srgbClr val="000000"/>
              </a:solidFill>
              <a:latin typeface="Segoe UI" panose="020B0502040204020203" pitchFamily="34" charset="0"/>
            </a:endParaRPr>
          </a:p>
          <a:p>
            <a:pPr algn="l" rtl="0" fontAlgn="base">
              <a:lnSpc>
                <a:spcPct val="114000"/>
              </a:lnSpc>
            </a:pPr>
            <a:r>
              <a:rPr lang="en-AU" sz="1200" dirty="0">
                <a:solidFill>
                  <a:srgbClr val="017D7D"/>
                </a:solidFill>
              </a:rPr>
              <a:t>Trafficable width</a:t>
            </a:r>
          </a:p>
          <a:p>
            <a:pPr fontAlgn="base">
              <a:lnSpc>
                <a:spcPct val="114000"/>
              </a:lnSpc>
              <a:spcBef>
                <a:spcPts val="0"/>
              </a:spcBef>
              <a:spcAft>
                <a:spcPts val="648"/>
              </a:spcAft>
            </a:pPr>
            <a:r>
              <a:rPr lang="en-AU" sz="1050" b="0" dirty="0">
                <a:solidFill>
                  <a:srgbClr val="000000"/>
                </a:solidFill>
              </a:rPr>
              <a:t>A sufficiently wide road, accessway or crossover, appropriate for emergency vehicle access.</a:t>
            </a:r>
          </a:p>
          <a:p>
            <a:pPr algn="l" rtl="0" fontAlgn="base">
              <a:lnSpc>
                <a:spcPct val="114000"/>
              </a:lnSpc>
            </a:pPr>
            <a:r>
              <a:rPr lang="en-AU" sz="1200" dirty="0">
                <a:solidFill>
                  <a:srgbClr val="017D7D"/>
                </a:solidFill>
              </a:rPr>
              <a:t>Transport Zone (TZ)</a:t>
            </a:r>
          </a:p>
          <a:p>
            <a:pPr fontAlgn="base">
              <a:lnSpc>
                <a:spcPct val="114000"/>
              </a:lnSpc>
              <a:spcBef>
                <a:spcPts val="0"/>
              </a:spcBef>
              <a:spcAft>
                <a:spcPts val="648"/>
              </a:spcAft>
            </a:pPr>
            <a:r>
              <a:rPr lang="en-AU" sz="1050" b="0" dirty="0">
                <a:solidFill>
                  <a:srgbClr val="000000"/>
                </a:solidFill>
              </a:rPr>
              <a:t>Land zoned for transport such as roads and railways to provide for the use and development of land that complements, or is consistent with, the transport system.. Zone 1 includes major transport infrastructure and Zone 2 includes the roads in the principal road network, including declared arterial roads.</a:t>
            </a:r>
          </a:p>
          <a:p>
            <a:pPr marL="0" marR="0" lvl="0" indent="0" algn="l" defTabSz="995507" rtl="0" eaLnBrk="1" fontAlgn="base" latinLnBrk="0" hangingPunct="1">
              <a:lnSpc>
                <a:spcPct val="114000"/>
              </a:lnSpc>
              <a:spcBef>
                <a:spcPts val="600"/>
              </a:spcBef>
              <a:spcAft>
                <a:spcPts val="0"/>
              </a:spcAft>
              <a:buClrTx/>
              <a:buSzTx/>
              <a:buFontTx/>
              <a:buNone/>
              <a:tabLst/>
              <a:defRPr/>
            </a:pPr>
            <a:r>
              <a:rPr kumimoji="0" lang="en-AU" sz="1200" i="0" u="none" strike="noStrike" kern="1200" cap="none" spc="0" normalizeH="0" baseline="0" noProof="0" dirty="0">
                <a:ln>
                  <a:noFill/>
                </a:ln>
                <a:solidFill>
                  <a:srgbClr val="017D7D"/>
                </a:solidFill>
                <a:effectLst/>
                <a:uLnTx/>
                <a:uFillTx/>
                <a:latin typeface="Arial" panose="020B0604020202020204"/>
                <a:ea typeface="+mn-ea"/>
                <a:cs typeface="+mn-cs"/>
              </a:rPr>
              <a:t>Tree Protection Zone (TPZ)</a:t>
            </a:r>
          </a:p>
          <a:p>
            <a:pPr marL="0" marR="0" lvl="0" indent="0" algn="l" defTabSz="995507" rtl="0" eaLnBrk="1" fontAlgn="base" latinLnBrk="0" hangingPunct="1">
              <a:lnSpc>
                <a:spcPct val="114000"/>
              </a:lnSpc>
              <a:spcBef>
                <a:spcPts val="0"/>
              </a:spcBef>
              <a:spcAft>
                <a:spcPts val="648"/>
              </a:spcAft>
              <a:buClrTx/>
              <a:buSzTx/>
              <a:buFontTx/>
              <a:buNone/>
              <a:tabLst/>
              <a:defRPr/>
            </a:pPr>
            <a:r>
              <a:rPr kumimoji="0" lang="en-AU" sz="1050" b="0" i="0" u="none" strike="noStrike" kern="1200" cap="none" spc="0" normalizeH="0" baseline="0" noProof="0" dirty="0">
                <a:ln>
                  <a:noFill/>
                </a:ln>
                <a:solidFill>
                  <a:srgbClr val="000000"/>
                </a:solidFill>
                <a:effectLst/>
                <a:uLnTx/>
                <a:uFillTx/>
                <a:latin typeface="Arial" panose="020B0604020202020204"/>
                <a:ea typeface="+mn-ea"/>
                <a:cs typeface="+mn-cs"/>
              </a:rPr>
              <a:t>The three-dimensional extent of the space a tree occupies above and below ground, that is set aside for the protection of the tree.</a:t>
            </a:r>
            <a:endParaRPr kumimoji="0" lang="en-AU" sz="16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a:p>
            <a:pPr marL="0" marR="0" lvl="0" indent="0" algn="l" defTabSz="995507" rtl="0" eaLnBrk="1" fontAlgn="base" latinLnBrk="0" hangingPunct="1">
              <a:lnSpc>
                <a:spcPct val="114000"/>
              </a:lnSpc>
              <a:spcBef>
                <a:spcPts val="600"/>
              </a:spcBef>
              <a:spcAft>
                <a:spcPts val="0"/>
              </a:spcAft>
              <a:buClrTx/>
              <a:buSzTx/>
              <a:buFontTx/>
              <a:buNone/>
              <a:tabLst/>
              <a:defRPr/>
            </a:pPr>
            <a:r>
              <a:rPr kumimoji="0" lang="en-AU" sz="1200" i="0" u="none" strike="noStrike" kern="1200" cap="none" spc="0" normalizeH="0" baseline="0" noProof="0" dirty="0">
                <a:ln>
                  <a:noFill/>
                </a:ln>
                <a:solidFill>
                  <a:srgbClr val="017D7D"/>
                </a:solidFill>
                <a:effectLst/>
                <a:uLnTx/>
                <a:uFillTx/>
                <a:latin typeface="Arial" panose="020B0604020202020204"/>
                <a:ea typeface="+mn-ea"/>
                <a:cs typeface="+mn-cs"/>
              </a:rPr>
              <a:t>Victorian Civil and Administrative Tribunal (VCAT)</a:t>
            </a:r>
          </a:p>
          <a:p>
            <a:pPr marL="0" marR="0" lvl="0" indent="0" algn="l" defTabSz="995507" rtl="0" eaLnBrk="1" fontAlgn="base" latinLnBrk="0" hangingPunct="1">
              <a:lnSpc>
                <a:spcPct val="114000"/>
              </a:lnSpc>
              <a:spcBef>
                <a:spcPts val="0"/>
              </a:spcBef>
              <a:spcAft>
                <a:spcPts val="648"/>
              </a:spcAft>
              <a:buClrTx/>
              <a:buSzTx/>
              <a:buFontTx/>
              <a:buNone/>
              <a:tabLst/>
              <a:defRPr/>
            </a:pPr>
            <a:r>
              <a:rPr kumimoji="0" lang="en-AU" sz="1050" b="0" i="0" u="none" strike="noStrike" kern="1200" cap="none" spc="0" normalizeH="0" baseline="0" noProof="0" dirty="0">
                <a:ln>
                  <a:noFill/>
                </a:ln>
                <a:solidFill>
                  <a:srgbClr val="000000"/>
                </a:solidFill>
                <a:effectLst/>
                <a:uLnTx/>
                <a:uFillTx/>
                <a:latin typeface="Arial" panose="020B0604020202020204"/>
                <a:ea typeface="+mn-ea"/>
                <a:cs typeface="+mn-cs"/>
              </a:rPr>
              <a:t>The body that resolves disputes and makes decisions relating to Planning Permit applications and objections. You have a right to appeal to VCAT if you feel a Planning decision is misguided. </a:t>
            </a:r>
          </a:p>
          <a:p>
            <a:pPr marL="0" marR="0" lvl="0" indent="0" algn="l" defTabSz="995507" rtl="0" eaLnBrk="1" fontAlgn="base" latinLnBrk="0" hangingPunct="1">
              <a:lnSpc>
                <a:spcPct val="114000"/>
              </a:lnSpc>
              <a:spcBef>
                <a:spcPts val="600"/>
              </a:spcBef>
              <a:spcAft>
                <a:spcPts val="0"/>
              </a:spcAft>
              <a:buClrTx/>
              <a:buSzTx/>
              <a:buFontTx/>
              <a:buNone/>
              <a:tabLst/>
              <a:defRPr/>
            </a:pPr>
            <a:r>
              <a:rPr kumimoji="0" lang="en-AU" sz="1200" i="0" u="none" strike="noStrike" kern="1200" cap="none" spc="0" normalizeH="0" baseline="0" noProof="0" dirty="0">
                <a:ln>
                  <a:noFill/>
                </a:ln>
                <a:solidFill>
                  <a:srgbClr val="017D7D"/>
                </a:solidFill>
                <a:effectLst/>
                <a:uLnTx/>
                <a:uFillTx/>
                <a:latin typeface="Arial" panose="020B0604020202020204"/>
                <a:ea typeface="+mn-ea"/>
                <a:cs typeface="+mn-cs"/>
              </a:rPr>
              <a:t>Zone</a:t>
            </a:r>
            <a:endParaRPr kumimoji="0" lang="en-AU" sz="1800" i="0" u="none" strike="noStrike" kern="1200" cap="none" spc="0" normalizeH="0" baseline="0" noProof="0" dirty="0">
              <a:ln>
                <a:noFill/>
              </a:ln>
              <a:solidFill>
                <a:srgbClr val="017D7D"/>
              </a:solidFill>
              <a:effectLst/>
              <a:uLnTx/>
              <a:uFillTx/>
              <a:latin typeface="Calibri" panose="020F0502020204030204" pitchFamily="34" charset="0"/>
              <a:ea typeface="+mn-ea"/>
              <a:cs typeface="+mn-cs"/>
            </a:endParaRPr>
          </a:p>
          <a:p>
            <a:pPr marL="0" marR="0" lvl="0" indent="0" algn="l" defTabSz="995507" rtl="0" eaLnBrk="1" fontAlgn="base" latinLnBrk="0" hangingPunct="1">
              <a:lnSpc>
                <a:spcPct val="114000"/>
              </a:lnSpc>
              <a:spcBef>
                <a:spcPts val="0"/>
              </a:spcBef>
              <a:spcAft>
                <a:spcPts val="648"/>
              </a:spcAft>
              <a:buClrTx/>
              <a:buSzTx/>
              <a:buFontTx/>
              <a:buNone/>
              <a:tabLst/>
              <a:defRPr/>
            </a:pPr>
            <a:r>
              <a:rPr kumimoji="0" lang="en-AU" sz="1050" b="0" i="0" u="none" strike="noStrike" kern="1200" cap="none" spc="0" normalizeH="0" baseline="0" noProof="0" dirty="0">
                <a:ln>
                  <a:noFill/>
                </a:ln>
                <a:solidFill>
                  <a:srgbClr val="000000"/>
                </a:solidFill>
                <a:effectLst/>
                <a:uLnTx/>
                <a:uFillTx/>
                <a:latin typeface="Arial" panose="020B0604020202020204"/>
                <a:ea typeface="+mn-ea"/>
                <a:cs typeface="+mn-cs"/>
              </a:rPr>
              <a:t>States how the land can be developed or built on and details what is prohibited.  </a:t>
            </a:r>
          </a:p>
          <a:p>
            <a:pPr fontAlgn="base">
              <a:lnSpc>
                <a:spcPct val="114000"/>
              </a:lnSpc>
              <a:spcBef>
                <a:spcPts val="648"/>
              </a:spcBef>
              <a:spcAft>
                <a:spcPts val="648"/>
              </a:spcAft>
            </a:pPr>
            <a:endParaRPr lang="en-AU" sz="1600" b="0" dirty="0">
              <a:solidFill>
                <a:srgbClr val="000000"/>
              </a:solidFill>
              <a:latin typeface="Segoe UI" panose="020B0502040204020203" pitchFamily="34" charset="0"/>
            </a:endParaRPr>
          </a:p>
          <a:p>
            <a:pPr algn="l" rtl="0" fontAlgn="base">
              <a:lnSpc>
                <a:spcPct val="114000"/>
              </a:lnSpc>
            </a:pPr>
            <a:endParaRPr lang="en-AU" sz="1050" b="0" dirty="0">
              <a:solidFill>
                <a:schemeClr val="bg2">
                  <a:lumMod val="50000"/>
                </a:schemeClr>
              </a:solidFill>
            </a:endParaRPr>
          </a:p>
        </p:txBody>
      </p:sp>
      <p:sp>
        <p:nvSpPr>
          <p:cNvPr id="3" name="Content Placeholder 2">
            <a:extLst>
              <a:ext uri="{FF2B5EF4-FFF2-40B4-BE49-F238E27FC236}">
                <a16:creationId xmlns:a16="http://schemas.microsoft.com/office/drawing/2014/main" id="{EF204A55-D2E0-E180-5D94-7599DC89CF23}"/>
              </a:ext>
            </a:extLst>
          </p:cNvPr>
          <p:cNvSpPr txBox="1">
            <a:spLocks/>
          </p:cNvSpPr>
          <p:nvPr/>
        </p:nvSpPr>
        <p:spPr>
          <a:xfrm>
            <a:off x="472058" y="9737742"/>
            <a:ext cx="6356918" cy="561250"/>
          </a:xfrm>
          <a:prstGeom prst="rect">
            <a:avLst/>
          </a:prstGeom>
        </p:spPr>
        <p:txBody>
          <a:bodyPr vert="horz" lIns="0" tIns="0" rIns="0" bIns="0" rtlCol="0">
            <a:noAutofit/>
          </a:bodyPr>
          <a:lstStyle>
            <a:lvl1pPr marL="0" indent="0" algn="l" defTabSz="685800" rtl="0" eaLnBrk="1" latinLnBrk="0" hangingPunct="1">
              <a:lnSpc>
                <a:spcPct val="100000"/>
              </a:lnSpc>
              <a:spcBef>
                <a:spcPts val="450"/>
              </a:spcBef>
              <a:buFont typeface="Arial" panose="020B0604020202020204" pitchFamily="34" charset="0"/>
              <a:buNone/>
              <a:defRPr sz="1350" b="1" kern="1200">
                <a:solidFill>
                  <a:schemeClr val="accent6"/>
                </a:solidFill>
                <a:latin typeface="+mn-lt"/>
                <a:ea typeface="+mn-ea"/>
                <a:cs typeface="+mn-cs"/>
              </a:defRPr>
            </a:lvl1pPr>
            <a:lvl2pPr marL="0" indent="0" algn="l" defTabSz="685800" rtl="0" eaLnBrk="1" latinLnBrk="0" hangingPunct="1">
              <a:lnSpc>
                <a:spcPct val="100000"/>
              </a:lnSpc>
              <a:spcBef>
                <a:spcPts val="450"/>
              </a:spcBef>
              <a:buFont typeface="Arial" panose="020B0604020202020204" pitchFamily="34" charset="0"/>
              <a:buNone/>
              <a:defRPr sz="1350" kern="1200">
                <a:solidFill>
                  <a:schemeClr val="accent6"/>
                </a:solidFill>
                <a:latin typeface="+mn-lt"/>
                <a:ea typeface="+mn-ea"/>
                <a:cs typeface="+mn-cs"/>
              </a:defRPr>
            </a:lvl2pPr>
            <a:lvl3pPr marL="135000" indent="-135000" algn="l" defTabSz="685800" rtl="0" eaLnBrk="1" latinLnBrk="0" hangingPunct="1">
              <a:lnSpc>
                <a:spcPct val="100000"/>
              </a:lnSpc>
              <a:spcBef>
                <a:spcPts val="450"/>
              </a:spcBef>
              <a:buClr>
                <a:schemeClr val="accent3"/>
              </a:buClr>
              <a:buFont typeface="Arial" panose="020B0604020202020204" pitchFamily="34" charset="0"/>
              <a:buChar char="•"/>
              <a:defRPr sz="1350" kern="1200">
                <a:solidFill>
                  <a:schemeClr val="accent6"/>
                </a:solidFill>
                <a:latin typeface="+mn-lt"/>
                <a:ea typeface="+mn-ea"/>
                <a:cs typeface="+mn-cs"/>
              </a:defRPr>
            </a:lvl3pPr>
            <a:lvl4pPr marL="270000" indent="-135000" algn="l" defTabSz="685800" rtl="0" eaLnBrk="1" latinLnBrk="0" hangingPunct="1">
              <a:lnSpc>
                <a:spcPct val="100000"/>
              </a:lnSpc>
              <a:spcBef>
                <a:spcPts val="900"/>
              </a:spcBef>
              <a:spcAft>
                <a:spcPts val="900"/>
              </a:spcAft>
              <a:buClr>
                <a:schemeClr val="accent2"/>
              </a:buClr>
              <a:buFont typeface="Arial" panose="020B0604020202020204" pitchFamily="34" charset="0"/>
              <a:buChar char="•"/>
              <a:defRPr sz="1350" b="0" i="0" kern="1200">
                <a:solidFill>
                  <a:schemeClr val="accent6"/>
                </a:solidFill>
                <a:latin typeface="+mn-lt"/>
                <a:ea typeface="+mn-ea"/>
                <a:cs typeface="+mn-cs"/>
              </a:defRPr>
            </a:lvl4pPr>
            <a:lvl5pPr marL="0" indent="0" algn="l" defTabSz="685800" rtl="0" eaLnBrk="1" latinLnBrk="0" hangingPunct="1">
              <a:lnSpc>
                <a:spcPct val="100000"/>
              </a:lnSpc>
              <a:spcBef>
                <a:spcPts val="450"/>
              </a:spcBef>
              <a:buFont typeface="Arial" panose="020B0604020202020204" pitchFamily="34" charset="0"/>
              <a:buNone/>
              <a:defRPr sz="1050" b="1" kern="1200">
                <a:solidFill>
                  <a:schemeClr val="accent6"/>
                </a:solidFill>
                <a:latin typeface="+mn-lt"/>
                <a:ea typeface="+mn-ea"/>
                <a:cs typeface="+mn-cs"/>
              </a:defRPr>
            </a:lvl5pPr>
            <a:lvl6pPr marL="0" indent="0" algn="l" defTabSz="685800" rtl="0" eaLnBrk="1" latinLnBrk="0" hangingPunct="1">
              <a:lnSpc>
                <a:spcPct val="100000"/>
              </a:lnSpc>
              <a:spcBef>
                <a:spcPts val="450"/>
              </a:spcBef>
              <a:buFont typeface="Arial" panose="020B0604020202020204" pitchFamily="34" charset="0"/>
              <a:buNone/>
              <a:defRPr sz="1050" kern="1200">
                <a:solidFill>
                  <a:schemeClr val="tx1"/>
                </a:solidFill>
                <a:latin typeface="+mn-lt"/>
                <a:ea typeface="+mn-ea"/>
                <a:cs typeface="+mn-cs"/>
              </a:defRPr>
            </a:lvl6pPr>
            <a:lvl7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7pPr>
            <a:lvl8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8pPr>
            <a:lvl9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9pPr>
          </a:lstStyle>
          <a:p>
            <a:r>
              <a:rPr lang="en-AU" sz="1079" b="0" i="1"/>
              <a:t>Disclaimer: This glossary is intended to support new permit applicants and should not be used instead of the planning scheme terms at Clause 73 of the </a:t>
            </a:r>
            <a:r>
              <a:rPr lang="en-AU" sz="1079" b="0" i="1">
                <a:highlight>
                  <a:srgbClr val="FFFF00"/>
                </a:highlight>
              </a:rPr>
              <a:t>XXXXX</a:t>
            </a:r>
            <a:r>
              <a:rPr lang="en-AU" sz="1079" b="0" i="1"/>
              <a:t> Planning Scheme. Where there are slight differences in terminology, we recommend deferring to the planning scheme definitions.</a:t>
            </a:r>
          </a:p>
          <a:p>
            <a:endParaRPr lang="en-AU" sz="1079" b="0"/>
          </a:p>
          <a:p>
            <a:endParaRPr lang="en-AU" sz="1295" b="0"/>
          </a:p>
        </p:txBody>
      </p:sp>
      <p:sp>
        <p:nvSpPr>
          <p:cNvPr id="4" name="Slide Number Placeholder 3">
            <a:extLst>
              <a:ext uri="{FF2B5EF4-FFF2-40B4-BE49-F238E27FC236}">
                <a16:creationId xmlns:a16="http://schemas.microsoft.com/office/drawing/2014/main" id="{266AEEAF-260E-01AD-67F6-9774A18E0DAD}"/>
              </a:ext>
              <a:ext uri="{C183D7F6-B498-43B3-948B-1728B52AA6E4}">
                <adec:decorative xmlns:adec="http://schemas.microsoft.com/office/drawing/2017/decorative" val="1"/>
              </a:ext>
            </a:extLst>
          </p:cNvPr>
          <p:cNvSpPr>
            <a:spLocks noGrp="1"/>
          </p:cNvSpPr>
          <p:nvPr>
            <p:ph type="sldNum" sz="quarter" idx="12"/>
          </p:nvPr>
        </p:nvSpPr>
        <p:spPr/>
        <p:txBody>
          <a:bodyPr/>
          <a:lstStyle/>
          <a:p>
            <a:r>
              <a:rPr lang="en-GB"/>
              <a:t>Page </a:t>
            </a:r>
            <a:fld id="{F5AEA0E0-5CC6-4BD0-905C-A0021E419432}" type="slidenum">
              <a:rPr lang="en-GB" smtClean="0"/>
              <a:pPr/>
              <a:t>6</a:t>
            </a:fld>
            <a:endParaRPr lang="en-GB"/>
          </a:p>
        </p:txBody>
      </p:sp>
    </p:spTree>
    <p:extLst>
      <p:ext uri="{BB962C8B-B14F-4D97-AF65-F5344CB8AC3E}">
        <p14:creationId xmlns:p14="http://schemas.microsoft.com/office/powerpoint/2010/main" val="288288824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97" name="Object 1396" hidden="1">
            <a:extLst>
              <a:ext uri="{FF2B5EF4-FFF2-40B4-BE49-F238E27FC236}">
                <a16:creationId xmlns:a16="http://schemas.microsoft.com/office/drawing/2014/main" id="{5B33BB8E-3721-126A-8EED-B11FBEC62625}"/>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1990176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8" imgH="328" progId="TCLayout.ActiveDocument.1">
                  <p:embed/>
                </p:oleObj>
              </mc:Choice>
              <mc:Fallback>
                <p:oleObj name="think-cell Slide" r:id="rId4" imgW="328" imgH="328" progId="TCLayout.ActiveDocument.1">
                  <p:embed/>
                  <p:pic>
                    <p:nvPicPr>
                      <p:cNvPr id="1397" name="Object 1396" hidden="1">
                        <a:extLst>
                          <a:ext uri="{FF2B5EF4-FFF2-40B4-BE49-F238E27FC236}">
                            <a16:creationId xmlns:a16="http://schemas.microsoft.com/office/drawing/2014/main" id="{5B33BB8E-3721-126A-8EED-B11FBEC62625}"/>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775851-1710-1ECE-9244-8DB335407B32}"/>
              </a:ext>
            </a:extLst>
          </p:cNvPr>
          <p:cNvSpPr>
            <a:spLocks noGrp="1"/>
          </p:cNvSpPr>
          <p:nvPr>
            <p:ph type="title"/>
          </p:nvPr>
        </p:nvSpPr>
        <p:spPr>
          <a:xfrm>
            <a:off x="463184" y="599396"/>
            <a:ext cx="3734997" cy="1122500"/>
          </a:xfrm>
        </p:spPr>
        <p:txBody>
          <a:bodyPr vert="horz"/>
          <a:lstStyle/>
          <a:p>
            <a:r>
              <a:rPr lang="en-AU" sz="2590" dirty="0"/>
              <a:t>Glossary of common planning terms p7</a:t>
            </a:r>
          </a:p>
        </p:txBody>
      </p:sp>
      <p:sp>
        <p:nvSpPr>
          <p:cNvPr id="5" name="Content Placeholder 2">
            <a:extLst>
              <a:ext uri="{FF2B5EF4-FFF2-40B4-BE49-F238E27FC236}">
                <a16:creationId xmlns:a16="http://schemas.microsoft.com/office/drawing/2014/main" id="{A1CE4481-A351-EDB4-D370-B5CAB633F6FF}"/>
              </a:ext>
            </a:extLst>
          </p:cNvPr>
          <p:cNvSpPr txBox="1">
            <a:spLocks/>
          </p:cNvSpPr>
          <p:nvPr/>
        </p:nvSpPr>
        <p:spPr>
          <a:xfrm>
            <a:off x="472058" y="2512497"/>
            <a:ext cx="6356918" cy="6760112"/>
          </a:xfrm>
          <a:prstGeom prst="rect">
            <a:avLst/>
          </a:prstGeom>
        </p:spPr>
        <p:txBody>
          <a:bodyPr vert="horz" lIns="0" tIns="0" rIns="0" bIns="0" rtlCol="0">
            <a:noAutofit/>
          </a:bodyPr>
          <a:lstStyle>
            <a:lvl1pPr marL="0" indent="0" algn="l" defTabSz="685800" rtl="0" eaLnBrk="1" latinLnBrk="0" hangingPunct="1">
              <a:lnSpc>
                <a:spcPct val="100000"/>
              </a:lnSpc>
              <a:spcBef>
                <a:spcPts val="450"/>
              </a:spcBef>
              <a:buFont typeface="Arial" panose="020B0604020202020204" pitchFamily="34" charset="0"/>
              <a:buNone/>
              <a:defRPr sz="1350" b="1" kern="1200">
                <a:solidFill>
                  <a:schemeClr val="accent6"/>
                </a:solidFill>
                <a:latin typeface="+mn-lt"/>
                <a:ea typeface="+mn-ea"/>
                <a:cs typeface="+mn-cs"/>
              </a:defRPr>
            </a:lvl1pPr>
            <a:lvl2pPr marL="0" indent="0" algn="l" defTabSz="685800" rtl="0" eaLnBrk="1" latinLnBrk="0" hangingPunct="1">
              <a:lnSpc>
                <a:spcPct val="100000"/>
              </a:lnSpc>
              <a:spcBef>
                <a:spcPts val="450"/>
              </a:spcBef>
              <a:buFont typeface="Arial" panose="020B0604020202020204" pitchFamily="34" charset="0"/>
              <a:buNone/>
              <a:defRPr sz="1350" kern="1200">
                <a:solidFill>
                  <a:schemeClr val="accent6"/>
                </a:solidFill>
                <a:latin typeface="+mn-lt"/>
                <a:ea typeface="+mn-ea"/>
                <a:cs typeface="+mn-cs"/>
              </a:defRPr>
            </a:lvl2pPr>
            <a:lvl3pPr marL="135000" indent="-135000" algn="l" defTabSz="685800" rtl="0" eaLnBrk="1" latinLnBrk="0" hangingPunct="1">
              <a:lnSpc>
                <a:spcPct val="100000"/>
              </a:lnSpc>
              <a:spcBef>
                <a:spcPts val="450"/>
              </a:spcBef>
              <a:buClr>
                <a:schemeClr val="accent3"/>
              </a:buClr>
              <a:buFont typeface="Arial" panose="020B0604020202020204" pitchFamily="34" charset="0"/>
              <a:buChar char="•"/>
              <a:defRPr sz="1350" kern="1200">
                <a:solidFill>
                  <a:schemeClr val="accent6"/>
                </a:solidFill>
                <a:latin typeface="+mn-lt"/>
                <a:ea typeface="+mn-ea"/>
                <a:cs typeface="+mn-cs"/>
              </a:defRPr>
            </a:lvl3pPr>
            <a:lvl4pPr marL="270000" indent="-135000" algn="l" defTabSz="685800" rtl="0" eaLnBrk="1" latinLnBrk="0" hangingPunct="1">
              <a:lnSpc>
                <a:spcPct val="100000"/>
              </a:lnSpc>
              <a:spcBef>
                <a:spcPts val="900"/>
              </a:spcBef>
              <a:spcAft>
                <a:spcPts val="900"/>
              </a:spcAft>
              <a:buClr>
                <a:schemeClr val="accent2"/>
              </a:buClr>
              <a:buFont typeface="Arial" panose="020B0604020202020204" pitchFamily="34" charset="0"/>
              <a:buChar char="•"/>
              <a:defRPr sz="1350" b="0" i="0" kern="1200">
                <a:solidFill>
                  <a:schemeClr val="accent6"/>
                </a:solidFill>
                <a:latin typeface="+mn-lt"/>
                <a:ea typeface="+mn-ea"/>
                <a:cs typeface="+mn-cs"/>
              </a:defRPr>
            </a:lvl4pPr>
            <a:lvl5pPr marL="0" indent="0" algn="l" defTabSz="685800" rtl="0" eaLnBrk="1" latinLnBrk="0" hangingPunct="1">
              <a:lnSpc>
                <a:spcPct val="100000"/>
              </a:lnSpc>
              <a:spcBef>
                <a:spcPts val="450"/>
              </a:spcBef>
              <a:buFont typeface="Arial" panose="020B0604020202020204" pitchFamily="34" charset="0"/>
              <a:buNone/>
              <a:defRPr sz="1050" b="1" kern="1200">
                <a:solidFill>
                  <a:schemeClr val="accent6"/>
                </a:solidFill>
                <a:latin typeface="+mn-lt"/>
                <a:ea typeface="+mn-ea"/>
                <a:cs typeface="+mn-cs"/>
              </a:defRPr>
            </a:lvl5pPr>
            <a:lvl6pPr marL="0" indent="0" algn="l" defTabSz="685800" rtl="0" eaLnBrk="1" latinLnBrk="0" hangingPunct="1">
              <a:lnSpc>
                <a:spcPct val="100000"/>
              </a:lnSpc>
              <a:spcBef>
                <a:spcPts val="450"/>
              </a:spcBef>
              <a:buFont typeface="Arial" panose="020B0604020202020204" pitchFamily="34" charset="0"/>
              <a:buNone/>
              <a:defRPr sz="1050" kern="1200">
                <a:solidFill>
                  <a:schemeClr val="tx1"/>
                </a:solidFill>
                <a:latin typeface="+mn-lt"/>
                <a:ea typeface="+mn-ea"/>
                <a:cs typeface="+mn-cs"/>
              </a:defRPr>
            </a:lvl6pPr>
            <a:lvl7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7pPr>
            <a:lvl8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8pPr>
            <a:lvl9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9pPr>
          </a:lstStyle>
          <a:p>
            <a:pPr fontAlgn="base">
              <a:lnSpc>
                <a:spcPct val="114000"/>
              </a:lnSpc>
              <a:spcBef>
                <a:spcPts val="648"/>
              </a:spcBef>
              <a:spcAft>
                <a:spcPts val="648"/>
              </a:spcAft>
            </a:pPr>
            <a:r>
              <a:rPr lang="en-AU" sz="1200" dirty="0">
                <a:solidFill>
                  <a:srgbClr val="000000"/>
                </a:solidFill>
              </a:rPr>
              <a:t>Visual Glossary of Common Planning Terms</a:t>
            </a:r>
          </a:p>
          <a:p>
            <a:pPr fontAlgn="base">
              <a:lnSpc>
                <a:spcPct val="114000"/>
              </a:lnSpc>
              <a:spcBef>
                <a:spcPts val="648"/>
              </a:spcBef>
              <a:spcAft>
                <a:spcPts val="648"/>
              </a:spcAft>
            </a:pPr>
            <a:endParaRPr lang="en-AU" sz="1050" b="0" dirty="0">
              <a:solidFill>
                <a:srgbClr val="000000"/>
              </a:solidFill>
            </a:endParaRPr>
          </a:p>
          <a:p>
            <a:pPr fontAlgn="base">
              <a:lnSpc>
                <a:spcPct val="114000"/>
              </a:lnSpc>
              <a:spcBef>
                <a:spcPts val="648"/>
              </a:spcBef>
              <a:spcAft>
                <a:spcPts val="648"/>
              </a:spcAft>
            </a:pPr>
            <a:endParaRPr lang="en-AU" sz="1050" b="0" dirty="0">
              <a:solidFill>
                <a:srgbClr val="000000"/>
              </a:solidFill>
            </a:endParaRPr>
          </a:p>
          <a:p>
            <a:pPr fontAlgn="base">
              <a:lnSpc>
                <a:spcPct val="114000"/>
              </a:lnSpc>
              <a:spcBef>
                <a:spcPts val="648"/>
              </a:spcBef>
              <a:spcAft>
                <a:spcPts val="648"/>
              </a:spcAft>
            </a:pPr>
            <a:endParaRPr lang="en-AU" sz="1600" b="0" dirty="0">
              <a:solidFill>
                <a:srgbClr val="000000"/>
              </a:solidFill>
              <a:latin typeface="Segoe UI" panose="020B0502040204020203" pitchFamily="34" charset="0"/>
            </a:endParaRPr>
          </a:p>
          <a:p>
            <a:pPr algn="l" rtl="0" fontAlgn="base">
              <a:lnSpc>
                <a:spcPct val="114000"/>
              </a:lnSpc>
            </a:pPr>
            <a:endParaRPr lang="en-AU" sz="1050" b="0" dirty="0">
              <a:solidFill>
                <a:schemeClr val="bg2">
                  <a:lumMod val="50000"/>
                </a:schemeClr>
              </a:solidFill>
            </a:endParaRPr>
          </a:p>
        </p:txBody>
      </p:sp>
      <p:grpSp>
        <p:nvGrpSpPr>
          <p:cNvPr id="1421" name="Group 1420" descr="A visual depiction of common planning terms in a dwelling. Full text descriptions in slide note">
            <a:extLst>
              <a:ext uri="{FF2B5EF4-FFF2-40B4-BE49-F238E27FC236}">
                <a16:creationId xmlns:a16="http://schemas.microsoft.com/office/drawing/2014/main" id="{F2DBAC53-AFF0-70A4-9B66-A6A4CBDC358A}"/>
              </a:ext>
            </a:extLst>
          </p:cNvPr>
          <p:cNvGrpSpPr/>
          <p:nvPr/>
        </p:nvGrpSpPr>
        <p:grpSpPr>
          <a:xfrm>
            <a:off x="0" y="3063295"/>
            <a:ext cx="7519041" cy="4565222"/>
            <a:chOff x="0" y="3063295"/>
            <a:chExt cx="7519041" cy="4565222"/>
          </a:xfrm>
        </p:grpSpPr>
        <p:grpSp>
          <p:nvGrpSpPr>
            <p:cNvPr id="1401" name="Group 1400">
              <a:extLst>
                <a:ext uri="{FF2B5EF4-FFF2-40B4-BE49-F238E27FC236}">
                  <a16:creationId xmlns:a16="http://schemas.microsoft.com/office/drawing/2014/main" id="{7DD724DE-850A-5272-7FC8-128EB00FECD8}"/>
                </a:ext>
              </a:extLst>
            </p:cNvPr>
            <p:cNvGrpSpPr>
              <a:grpSpLocks/>
            </p:cNvGrpSpPr>
            <p:nvPr/>
          </p:nvGrpSpPr>
          <p:grpSpPr>
            <a:xfrm>
              <a:off x="0" y="3063295"/>
              <a:ext cx="7519041" cy="4565222"/>
              <a:chOff x="403244" y="3029378"/>
              <a:chExt cx="6753190" cy="4100232"/>
            </a:xfrm>
          </p:grpSpPr>
          <p:sp>
            <p:nvSpPr>
              <p:cNvPr id="7" name="AutoShape 3">
                <a:extLst>
                  <a:ext uri="{FF2B5EF4-FFF2-40B4-BE49-F238E27FC236}">
                    <a16:creationId xmlns:a16="http://schemas.microsoft.com/office/drawing/2014/main" id="{2C81B958-50D5-B761-4A93-050896B2F13F}"/>
                  </a:ext>
                </a:extLst>
              </p:cNvPr>
              <p:cNvSpPr>
                <a:spLocks noChangeAspect="1"/>
              </p:cNvSpPr>
              <p:nvPr/>
            </p:nvSpPr>
            <p:spPr bwMode="auto">
              <a:xfrm>
                <a:off x="403244" y="3029378"/>
                <a:ext cx="6753186" cy="40979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8694" tIns="49347" rIns="98694" bIns="49347" numCol="1" anchor="t" anchorCtr="0" compatLnSpc="1">
                <a:prstTxWarp prst="textNoShape">
                  <a:avLst/>
                </a:prstTxWarp>
              </a:bodyPr>
              <a:lstStyle/>
              <a:p>
                <a:endParaRPr lang="en-AU" sz="2115"/>
              </a:p>
            </p:txBody>
          </p:sp>
          <p:grpSp>
            <p:nvGrpSpPr>
              <p:cNvPr id="8" name="Group 205">
                <a:extLst>
                  <a:ext uri="{FF2B5EF4-FFF2-40B4-BE49-F238E27FC236}">
                    <a16:creationId xmlns:a16="http://schemas.microsoft.com/office/drawing/2014/main" id="{E55E5C7C-1C07-BA07-5C14-04E8F04C88C2}"/>
                  </a:ext>
                </a:extLst>
              </p:cNvPr>
              <p:cNvGrpSpPr>
                <a:grpSpLocks/>
              </p:cNvGrpSpPr>
              <p:nvPr/>
            </p:nvGrpSpPr>
            <p:grpSpPr bwMode="auto">
              <a:xfrm>
                <a:off x="403244" y="3031636"/>
                <a:ext cx="6753190" cy="4097974"/>
                <a:chOff x="429" y="1070"/>
                <a:chExt cx="5982" cy="3630"/>
              </a:xfrm>
            </p:grpSpPr>
            <p:sp>
              <p:nvSpPr>
                <p:cNvPr id="1195" name="Rectangle 5">
                  <a:extLst>
                    <a:ext uri="{FF2B5EF4-FFF2-40B4-BE49-F238E27FC236}">
                      <a16:creationId xmlns:a16="http://schemas.microsoft.com/office/drawing/2014/main" id="{7B66796F-06B0-CE88-F77B-388D712F7470}"/>
                    </a:ext>
                  </a:extLst>
                </p:cNvPr>
                <p:cNvSpPr>
                  <a:spLocks/>
                </p:cNvSpPr>
                <p:nvPr/>
              </p:nvSpPr>
              <p:spPr bwMode="auto">
                <a:xfrm>
                  <a:off x="429" y="1070"/>
                  <a:ext cx="5982" cy="3630"/>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196" name="Rectangle 6">
                  <a:extLst>
                    <a:ext uri="{FF2B5EF4-FFF2-40B4-BE49-F238E27FC236}">
                      <a16:creationId xmlns:a16="http://schemas.microsoft.com/office/drawing/2014/main" id="{EB1DE609-EF2D-4442-0307-507B2157D88D}"/>
                    </a:ext>
                  </a:extLst>
                </p:cNvPr>
                <p:cNvSpPr>
                  <a:spLocks/>
                </p:cNvSpPr>
                <p:nvPr/>
              </p:nvSpPr>
              <p:spPr bwMode="auto">
                <a:xfrm>
                  <a:off x="429" y="1070"/>
                  <a:ext cx="5982" cy="36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197" name="Freeform 7">
                  <a:extLst>
                    <a:ext uri="{FF2B5EF4-FFF2-40B4-BE49-F238E27FC236}">
                      <a16:creationId xmlns:a16="http://schemas.microsoft.com/office/drawing/2014/main" id="{DA051DE9-607C-C78F-E2CE-455339FFE2C5}"/>
                    </a:ext>
                  </a:extLst>
                </p:cNvPr>
                <p:cNvSpPr>
                  <a:spLocks/>
                </p:cNvSpPr>
                <p:nvPr/>
              </p:nvSpPr>
              <p:spPr bwMode="auto">
                <a:xfrm>
                  <a:off x="617" y="1290"/>
                  <a:ext cx="4705" cy="3069"/>
                </a:xfrm>
                <a:custGeom>
                  <a:avLst/>
                  <a:gdLst>
                    <a:gd name="T0" fmla="*/ 1287 w 2350"/>
                    <a:gd name="T1" fmla="*/ 132 h 1532"/>
                    <a:gd name="T2" fmla="*/ 13 w 2350"/>
                    <a:gd name="T3" fmla="*/ 1127 h 1532"/>
                    <a:gd name="T4" fmla="*/ 29 w 2350"/>
                    <a:gd name="T5" fmla="*/ 1144 h 1532"/>
                    <a:gd name="T6" fmla="*/ 46 w 2350"/>
                    <a:gd name="T7" fmla="*/ 1160 h 1532"/>
                    <a:gd name="T8" fmla="*/ 63 w 2350"/>
                    <a:gd name="T9" fmla="*/ 1177 h 1532"/>
                    <a:gd name="T10" fmla="*/ 80 w 2350"/>
                    <a:gd name="T11" fmla="*/ 1194 h 1532"/>
                    <a:gd name="T12" fmla="*/ 96 w 2350"/>
                    <a:gd name="T13" fmla="*/ 1210 h 1532"/>
                    <a:gd name="T14" fmla="*/ 113 w 2350"/>
                    <a:gd name="T15" fmla="*/ 1227 h 1532"/>
                    <a:gd name="T16" fmla="*/ 130 w 2350"/>
                    <a:gd name="T17" fmla="*/ 1244 h 1532"/>
                    <a:gd name="T18" fmla="*/ 146 w 2350"/>
                    <a:gd name="T19" fmla="*/ 1260 h 1532"/>
                    <a:gd name="T20" fmla="*/ 163 w 2350"/>
                    <a:gd name="T21" fmla="*/ 1277 h 1532"/>
                    <a:gd name="T22" fmla="*/ 180 w 2350"/>
                    <a:gd name="T23" fmla="*/ 1294 h 1532"/>
                    <a:gd name="T24" fmla="*/ 203 w 2350"/>
                    <a:gd name="T25" fmla="*/ 1196 h 1532"/>
                    <a:gd name="T26" fmla="*/ 630 w 2350"/>
                    <a:gd name="T27" fmla="*/ 1408 h 1532"/>
                    <a:gd name="T28" fmla="*/ 307 w 2350"/>
                    <a:gd name="T29" fmla="*/ 1418 h 1532"/>
                    <a:gd name="T30" fmla="*/ 323 w 2350"/>
                    <a:gd name="T31" fmla="*/ 1434 h 1532"/>
                    <a:gd name="T32" fmla="*/ 340 w 2350"/>
                    <a:gd name="T33" fmla="*/ 1451 h 1532"/>
                    <a:gd name="T34" fmla="*/ 357 w 2350"/>
                    <a:gd name="T35" fmla="*/ 1468 h 1532"/>
                    <a:gd name="T36" fmla="*/ 373 w 2350"/>
                    <a:gd name="T37" fmla="*/ 1484 h 1532"/>
                    <a:gd name="T38" fmla="*/ 390 w 2350"/>
                    <a:gd name="T39" fmla="*/ 1501 h 1532"/>
                    <a:gd name="T40" fmla="*/ 407 w 2350"/>
                    <a:gd name="T41" fmla="*/ 1518 h 1532"/>
                    <a:gd name="T42" fmla="*/ 257 w 2350"/>
                    <a:gd name="T43" fmla="*/ 220 h 1532"/>
                    <a:gd name="T44" fmla="*/ 445 w 2350"/>
                    <a:gd name="T45" fmla="*/ 328 h 1532"/>
                    <a:gd name="T46" fmla="*/ 459 w 2350"/>
                    <a:gd name="T47" fmla="*/ 354 h 1532"/>
                    <a:gd name="T48" fmla="*/ 445 w 2350"/>
                    <a:gd name="T49" fmla="*/ 545 h 1532"/>
                    <a:gd name="T50" fmla="*/ 70 w 2350"/>
                    <a:gd name="T51" fmla="*/ 545 h 1532"/>
                    <a:gd name="T52" fmla="*/ 56 w 2350"/>
                    <a:gd name="T53" fmla="*/ 526 h 1532"/>
                    <a:gd name="T54" fmla="*/ 70 w 2350"/>
                    <a:gd name="T55" fmla="*/ 328 h 1532"/>
                    <a:gd name="T56" fmla="*/ 2350 w 2350"/>
                    <a:gd name="T57" fmla="*/ 0 h 1532"/>
                    <a:gd name="T58" fmla="*/ 2348 w 2350"/>
                    <a:gd name="T59" fmla="*/ 112 h 1532"/>
                    <a:gd name="T60" fmla="*/ 2030 w 2350"/>
                    <a:gd name="T61" fmla="*/ 1532 h 1532"/>
                    <a:gd name="T62" fmla="*/ 1902 w 2350"/>
                    <a:gd name="T63" fmla="*/ 911 h 1532"/>
                    <a:gd name="T64" fmla="*/ 1863 w 2350"/>
                    <a:gd name="T65" fmla="*/ 1264 h 1532"/>
                    <a:gd name="T66" fmla="*/ 1460 w 2350"/>
                    <a:gd name="T67" fmla="*/ 1487 h 1532"/>
                    <a:gd name="T68" fmla="*/ 768 w 2350"/>
                    <a:gd name="T69" fmla="*/ 828 h 1532"/>
                    <a:gd name="T70" fmla="*/ 42 w 2350"/>
                    <a:gd name="T71" fmla="*/ 742 h 1532"/>
                    <a:gd name="T72" fmla="*/ 768 w 2350"/>
                    <a:gd name="T73" fmla="*/ 712 h 1532"/>
                    <a:gd name="T74" fmla="*/ 1550 w 2350"/>
                    <a:gd name="T75" fmla="*/ 712 h 1532"/>
                    <a:gd name="T76" fmla="*/ 1485 w 2350"/>
                    <a:gd name="T77" fmla="*/ 492 h 1532"/>
                    <a:gd name="T78" fmla="*/ 1838 w 2350"/>
                    <a:gd name="T79" fmla="*/ 678 h 1532"/>
                    <a:gd name="T80" fmla="*/ 1782 w 2350"/>
                    <a:gd name="T81" fmla="*/ 713 h 1532"/>
                    <a:gd name="T82" fmla="*/ 1630 w 2350"/>
                    <a:gd name="T83" fmla="*/ 759 h 1532"/>
                    <a:gd name="T84" fmla="*/ 1302 w 2350"/>
                    <a:gd name="T85" fmla="*/ 371 h 1532"/>
                    <a:gd name="T86" fmla="*/ 1196 w 2350"/>
                    <a:gd name="T87" fmla="*/ 136 h 1532"/>
                    <a:gd name="T88" fmla="*/ 1332 w 2350"/>
                    <a:gd name="T89" fmla="*/ 26 h 1532"/>
                    <a:gd name="T90" fmla="*/ 1522 w 2350"/>
                    <a:gd name="T91" fmla="*/ 26 h 1532"/>
                    <a:gd name="T92" fmla="*/ 1711 w 2350"/>
                    <a:gd name="T93" fmla="*/ 26 h 1532"/>
                    <a:gd name="T94" fmla="*/ 1859 w 2350"/>
                    <a:gd name="T95" fmla="*/ 122 h 1532"/>
                    <a:gd name="T96" fmla="*/ 0 w 2350"/>
                    <a:gd name="T97" fmla="*/ 1532 h 1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350" h="1532">
                      <a:moveTo>
                        <a:pt x="1285" y="130"/>
                      </a:moveTo>
                      <a:cubicBezTo>
                        <a:pt x="1283" y="132"/>
                        <a:pt x="1281" y="134"/>
                        <a:pt x="1279" y="136"/>
                      </a:cubicBezTo>
                      <a:cubicBezTo>
                        <a:pt x="1285" y="136"/>
                        <a:pt x="1285" y="136"/>
                        <a:pt x="1285" y="136"/>
                      </a:cubicBezTo>
                      <a:cubicBezTo>
                        <a:pt x="1285" y="134"/>
                        <a:pt x="1286" y="133"/>
                        <a:pt x="1287" y="132"/>
                      </a:cubicBezTo>
                      <a:cubicBezTo>
                        <a:pt x="1286" y="131"/>
                        <a:pt x="1285" y="130"/>
                        <a:pt x="1285" y="130"/>
                      </a:cubicBezTo>
                      <a:moveTo>
                        <a:pt x="0" y="1532"/>
                      </a:moveTo>
                      <a:cubicBezTo>
                        <a:pt x="0" y="1114"/>
                        <a:pt x="0" y="1114"/>
                        <a:pt x="0" y="1114"/>
                      </a:cubicBezTo>
                      <a:cubicBezTo>
                        <a:pt x="13" y="1127"/>
                        <a:pt x="13" y="1127"/>
                        <a:pt x="13" y="1127"/>
                      </a:cubicBezTo>
                      <a:cubicBezTo>
                        <a:pt x="14" y="1125"/>
                        <a:pt x="14" y="1125"/>
                        <a:pt x="14" y="1125"/>
                      </a:cubicBezTo>
                      <a:cubicBezTo>
                        <a:pt x="22" y="1134"/>
                        <a:pt x="22" y="1134"/>
                        <a:pt x="22" y="1134"/>
                      </a:cubicBezTo>
                      <a:cubicBezTo>
                        <a:pt x="21" y="1135"/>
                        <a:pt x="21" y="1135"/>
                        <a:pt x="21" y="1135"/>
                      </a:cubicBezTo>
                      <a:cubicBezTo>
                        <a:pt x="29" y="1144"/>
                        <a:pt x="29" y="1144"/>
                        <a:pt x="29" y="1144"/>
                      </a:cubicBezTo>
                      <a:cubicBezTo>
                        <a:pt x="31" y="1142"/>
                        <a:pt x="31" y="1142"/>
                        <a:pt x="31" y="1142"/>
                      </a:cubicBezTo>
                      <a:cubicBezTo>
                        <a:pt x="39" y="1150"/>
                        <a:pt x="39" y="1150"/>
                        <a:pt x="39" y="1150"/>
                      </a:cubicBezTo>
                      <a:cubicBezTo>
                        <a:pt x="38" y="1152"/>
                        <a:pt x="38" y="1152"/>
                        <a:pt x="38" y="1152"/>
                      </a:cubicBezTo>
                      <a:cubicBezTo>
                        <a:pt x="46" y="1160"/>
                        <a:pt x="46" y="1160"/>
                        <a:pt x="46" y="1160"/>
                      </a:cubicBezTo>
                      <a:cubicBezTo>
                        <a:pt x="48" y="1159"/>
                        <a:pt x="48" y="1159"/>
                        <a:pt x="48" y="1159"/>
                      </a:cubicBezTo>
                      <a:cubicBezTo>
                        <a:pt x="56" y="1167"/>
                        <a:pt x="56" y="1167"/>
                        <a:pt x="56" y="1167"/>
                      </a:cubicBezTo>
                      <a:cubicBezTo>
                        <a:pt x="54" y="1169"/>
                        <a:pt x="54" y="1169"/>
                        <a:pt x="54" y="1169"/>
                      </a:cubicBezTo>
                      <a:cubicBezTo>
                        <a:pt x="63" y="1177"/>
                        <a:pt x="63" y="1177"/>
                        <a:pt x="63" y="1177"/>
                      </a:cubicBezTo>
                      <a:cubicBezTo>
                        <a:pt x="64" y="1176"/>
                        <a:pt x="64" y="1176"/>
                        <a:pt x="64" y="1176"/>
                      </a:cubicBezTo>
                      <a:cubicBezTo>
                        <a:pt x="73" y="1184"/>
                        <a:pt x="73" y="1184"/>
                        <a:pt x="73" y="1184"/>
                      </a:cubicBezTo>
                      <a:cubicBezTo>
                        <a:pt x="71" y="1185"/>
                        <a:pt x="71" y="1185"/>
                        <a:pt x="71" y="1185"/>
                      </a:cubicBezTo>
                      <a:cubicBezTo>
                        <a:pt x="80" y="1194"/>
                        <a:pt x="80" y="1194"/>
                        <a:pt x="80" y="1194"/>
                      </a:cubicBezTo>
                      <a:cubicBezTo>
                        <a:pt x="81" y="1192"/>
                        <a:pt x="81" y="1192"/>
                        <a:pt x="81" y="1192"/>
                      </a:cubicBezTo>
                      <a:cubicBezTo>
                        <a:pt x="89" y="1201"/>
                        <a:pt x="89" y="1201"/>
                        <a:pt x="89" y="1201"/>
                      </a:cubicBezTo>
                      <a:cubicBezTo>
                        <a:pt x="88" y="1202"/>
                        <a:pt x="88" y="1202"/>
                        <a:pt x="88" y="1202"/>
                      </a:cubicBezTo>
                      <a:cubicBezTo>
                        <a:pt x="96" y="1210"/>
                        <a:pt x="96" y="1210"/>
                        <a:pt x="96" y="1210"/>
                      </a:cubicBezTo>
                      <a:cubicBezTo>
                        <a:pt x="98" y="1209"/>
                        <a:pt x="98" y="1209"/>
                        <a:pt x="98" y="1209"/>
                      </a:cubicBezTo>
                      <a:cubicBezTo>
                        <a:pt x="106" y="1217"/>
                        <a:pt x="106" y="1217"/>
                        <a:pt x="106" y="1217"/>
                      </a:cubicBezTo>
                      <a:cubicBezTo>
                        <a:pt x="105" y="1219"/>
                        <a:pt x="105" y="1219"/>
                        <a:pt x="105" y="1219"/>
                      </a:cubicBezTo>
                      <a:cubicBezTo>
                        <a:pt x="113" y="1227"/>
                        <a:pt x="113" y="1227"/>
                        <a:pt x="113" y="1227"/>
                      </a:cubicBezTo>
                      <a:cubicBezTo>
                        <a:pt x="114" y="1226"/>
                        <a:pt x="114" y="1226"/>
                        <a:pt x="114" y="1226"/>
                      </a:cubicBezTo>
                      <a:cubicBezTo>
                        <a:pt x="123" y="1234"/>
                        <a:pt x="123" y="1234"/>
                        <a:pt x="123" y="1234"/>
                      </a:cubicBezTo>
                      <a:cubicBezTo>
                        <a:pt x="121" y="1235"/>
                        <a:pt x="121" y="1235"/>
                        <a:pt x="121" y="1235"/>
                      </a:cubicBezTo>
                      <a:cubicBezTo>
                        <a:pt x="130" y="1244"/>
                        <a:pt x="130" y="1244"/>
                        <a:pt x="130" y="1244"/>
                      </a:cubicBezTo>
                      <a:cubicBezTo>
                        <a:pt x="131" y="1242"/>
                        <a:pt x="131" y="1242"/>
                        <a:pt x="131" y="1242"/>
                      </a:cubicBezTo>
                      <a:cubicBezTo>
                        <a:pt x="139" y="1251"/>
                        <a:pt x="139" y="1251"/>
                        <a:pt x="139" y="1251"/>
                      </a:cubicBezTo>
                      <a:cubicBezTo>
                        <a:pt x="138" y="1252"/>
                        <a:pt x="138" y="1252"/>
                        <a:pt x="138" y="1252"/>
                      </a:cubicBezTo>
                      <a:cubicBezTo>
                        <a:pt x="146" y="1260"/>
                        <a:pt x="146" y="1260"/>
                        <a:pt x="146" y="1260"/>
                      </a:cubicBezTo>
                      <a:cubicBezTo>
                        <a:pt x="148" y="1259"/>
                        <a:pt x="148" y="1259"/>
                        <a:pt x="148" y="1259"/>
                      </a:cubicBezTo>
                      <a:cubicBezTo>
                        <a:pt x="156" y="1267"/>
                        <a:pt x="156" y="1267"/>
                        <a:pt x="156" y="1267"/>
                      </a:cubicBezTo>
                      <a:cubicBezTo>
                        <a:pt x="155" y="1269"/>
                        <a:pt x="155" y="1269"/>
                        <a:pt x="155" y="1269"/>
                      </a:cubicBezTo>
                      <a:cubicBezTo>
                        <a:pt x="163" y="1277"/>
                        <a:pt x="163" y="1277"/>
                        <a:pt x="163" y="1277"/>
                      </a:cubicBezTo>
                      <a:cubicBezTo>
                        <a:pt x="164" y="1276"/>
                        <a:pt x="164" y="1276"/>
                        <a:pt x="164" y="1276"/>
                      </a:cubicBezTo>
                      <a:cubicBezTo>
                        <a:pt x="173" y="1284"/>
                        <a:pt x="173" y="1284"/>
                        <a:pt x="173" y="1284"/>
                      </a:cubicBezTo>
                      <a:cubicBezTo>
                        <a:pt x="171" y="1285"/>
                        <a:pt x="171" y="1285"/>
                        <a:pt x="171" y="1285"/>
                      </a:cubicBezTo>
                      <a:cubicBezTo>
                        <a:pt x="180" y="1294"/>
                        <a:pt x="180" y="1294"/>
                        <a:pt x="180" y="1294"/>
                      </a:cubicBezTo>
                      <a:cubicBezTo>
                        <a:pt x="181" y="1292"/>
                        <a:pt x="181" y="1292"/>
                        <a:pt x="181" y="1292"/>
                      </a:cubicBezTo>
                      <a:cubicBezTo>
                        <a:pt x="186" y="1297"/>
                        <a:pt x="186" y="1297"/>
                        <a:pt x="186" y="1297"/>
                      </a:cubicBezTo>
                      <a:cubicBezTo>
                        <a:pt x="186" y="1213"/>
                        <a:pt x="186" y="1213"/>
                        <a:pt x="186" y="1213"/>
                      </a:cubicBezTo>
                      <a:cubicBezTo>
                        <a:pt x="186" y="1204"/>
                        <a:pt x="194" y="1196"/>
                        <a:pt x="203" y="1196"/>
                      </a:cubicBezTo>
                      <a:cubicBezTo>
                        <a:pt x="630" y="1196"/>
                        <a:pt x="630" y="1196"/>
                        <a:pt x="630" y="1196"/>
                      </a:cubicBezTo>
                      <a:cubicBezTo>
                        <a:pt x="639" y="1196"/>
                        <a:pt x="647" y="1204"/>
                        <a:pt x="647" y="1213"/>
                      </a:cubicBezTo>
                      <a:cubicBezTo>
                        <a:pt x="647" y="1391"/>
                        <a:pt x="647" y="1391"/>
                        <a:pt x="647" y="1391"/>
                      </a:cubicBezTo>
                      <a:cubicBezTo>
                        <a:pt x="647" y="1400"/>
                        <a:pt x="639" y="1408"/>
                        <a:pt x="630" y="1408"/>
                      </a:cubicBezTo>
                      <a:cubicBezTo>
                        <a:pt x="294" y="1408"/>
                        <a:pt x="294" y="1408"/>
                        <a:pt x="294" y="1408"/>
                      </a:cubicBezTo>
                      <a:cubicBezTo>
                        <a:pt x="297" y="1411"/>
                        <a:pt x="297" y="1411"/>
                        <a:pt x="297" y="1411"/>
                      </a:cubicBezTo>
                      <a:cubicBezTo>
                        <a:pt x="298" y="1409"/>
                        <a:pt x="298" y="1409"/>
                        <a:pt x="298" y="1409"/>
                      </a:cubicBezTo>
                      <a:cubicBezTo>
                        <a:pt x="307" y="1418"/>
                        <a:pt x="307" y="1418"/>
                        <a:pt x="307" y="1418"/>
                      </a:cubicBezTo>
                      <a:cubicBezTo>
                        <a:pt x="305" y="1419"/>
                        <a:pt x="305" y="1419"/>
                        <a:pt x="305" y="1419"/>
                      </a:cubicBezTo>
                      <a:cubicBezTo>
                        <a:pt x="313" y="1427"/>
                        <a:pt x="313" y="1427"/>
                        <a:pt x="313" y="1427"/>
                      </a:cubicBezTo>
                      <a:cubicBezTo>
                        <a:pt x="315" y="1426"/>
                        <a:pt x="315" y="1426"/>
                        <a:pt x="315" y="1426"/>
                      </a:cubicBezTo>
                      <a:cubicBezTo>
                        <a:pt x="323" y="1434"/>
                        <a:pt x="323" y="1434"/>
                        <a:pt x="323" y="1434"/>
                      </a:cubicBezTo>
                      <a:cubicBezTo>
                        <a:pt x="322" y="1436"/>
                        <a:pt x="322" y="1436"/>
                        <a:pt x="322" y="1436"/>
                      </a:cubicBezTo>
                      <a:cubicBezTo>
                        <a:pt x="330" y="1444"/>
                        <a:pt x="330" y="1444"/>
                        <a:pt x="330" y="1444"/>
                      </a:cubicBezTo>
                      <a:cubicBezTo>
                        <a:pt x="332" y="1443"/>
                        <a:pt x="332" y="1443"/>
                        <a:pt x="332" y="1443"/>
                      </a:cubicBezTo>
                      <a:cubicBezTo>
                        <a:pt x="340" y="1451"/>
                        <a:pt x="340" y="1451"/>
                        <a:pt x="340" y="1451"/>
                      </a:cubicBezTo>
                      <a:cubicBezTo>
                        <a:pt x="339" y="1452"/>
                        <a:pt x="339" y="1452"/>
                        <a:pt x="339" y="1452"/>
                      </a:cubicBezTo>
                      <a:cubicBezTo>
                        <a:pt x="347" y="1461"/>
                        <a:pt x="347" y="1461"/>
                        <a:pt x="347" y="1461"/>
                      </a:cubicBezTo>
                      <a:cubicBezTo>
                        <a:pt x="348" y="1459"/>
                        <a:pt x="348" y="1459"/>
                        <a:pt x="348" y="1459"/>
                      </a:cubicBezTo>
                      <a:cubicBezTo>
                        <a:pt x="357" y="1468"/>
                        <a:pt x="357" y="1468"/>
                        <a:pt x="357" y="1468"/>
                      </a:cubicBezTo>
                      <a:cubicBezTo>
                        <a:pt x="355" y="1469"/>
                        <a:pt x="355" y="1469"/>
                        <a:pt x="355" y="1469"/>
                      </a:cubicBezTo>
                      <a:cubicBezTo>
                        <a:pt x="364" y="1477"/>
                        <a:pt x="364" y="1477"/>
                        <a:pt x="364" y="1477"/>
                      </a:cubicBezTo>
                      <a:cubicBezTo>
                        <a:pt x="365" y="1476"/>
                        <a:pt x="365" y="1476"/>
                        <a:pt x="365" y="1476"/>
                      </a:cubicBezTo>
                      <a:cubicBezTo>
                        <a:pt x="373" y="1484"/>
                        <a:pt x="373" y="1484"/>
                        <a:pt x="373" y="1484"/>
                      </a:cubicBezTo>
                      <a:cubicBezTo>
                        <a:pt x="372" y="1486"/>
                        <a:pt x="372" y="1486"/>
                        <a:pt x="372" y="1486"/>
                      </a:cubicBezTo>
                      <a:cubicBezTo>
                        <a:pt x="380" y="1494"/>
                        <a:pt x="380" y="1494"/>
                        <a:pt x="380" y="1494"/>
                      </a:cubicBezTo>
                      <a:cubicBezTo>
                        <a:pt x="382" y="1493"/>
                        <a:pt x="382" y="1493"/>
                        <a:pt x="382" y="1493"/>
                      </a:cubicBezTo>
                      <a:cubicBezTo>
                        <a:pt x="390" y="1501"/>
                        <a:pt x="390" y="1501"/>
                        <a:pt x="390" y="1501"/>
                      </a:cubicBezTo>
                      <a:cubicBezTo>
                        <a:pt x="389" y="1502"/>
                        <a:pt x="389" y="1502"/>
                        <a:pt x="389" y="1502"/>
                      </a:cubicBezTo>
                      <a:cubicBezTo>
                        <a:pt x="397" y="1511"/>
                        <a:pt x="397" y="1511"/>
                        <a:pt x="397" y="1511"/>
                      </a:cubicBezTo>
                      <a:cubicBezTo>
                        <a:pt x="398" y="1509"/>
                        <a:pt x="398" y="1509"/>
                        <a:pt x="398" y="1509"/>
                      </a:cubicBezTo>
                      <a:cubicBezTo>
                        <a:pt x="407" y="1518"/>
                        <a:pt x="407" y="1518"/>
                        <a:pt x="407" y="1518"/>
                      </a:cubicBezTo>
                      <a:cubicBezTo>
                        <a:pt x="405" y="1519"/>
                        <a:pt x="405" y="1519"/>
                        <a:pt x="405" y="1519"/>
                      </a:cubicBezTo>
                      <a:cubicBezTo>
                        <a:pt x="418" y="1532"/>
                        <a:pt x="418" y="1532"/>
                        <a:pt x="418" y="1532"/>
                      </a:cubicBezTo>
                      <a:cubicBezTo>
                        <a:pt x="0" y="1532"/>
                        <a:pt x="0" y="1532"/>
                        <a:pt x="0" y="1532"/>
                      </a:cubicBezTo>
                      <a:moveTo>
                        <a:pt x="257" y="220"/>
                      </a:moveTo>
                      <a:cubicBezTo>
                        <a:pt x="257" y="219"/>
                        <a:pt x="257" y="219"/>
                        <a:pt x="257" y="219"/>
                      </a:cubicBezTo>
                      <a:cubicBezTo>
                        <a:pt x="422" y="315"/>
                        <a:pt x="422" y="315"/>
                        <a:pt x="422" y="315"/>
                      </a:cubicBezTo>
                      <a:cubicBezTo>
                        <a:pt x="445" y="328"/>
                        <a:pt x="445" y="328"/>
                        <a:pt x="445" y="328"/>
                      </a:cubicBezTo>
                      <a:cubicBezTo>
                        <a:pt x="445" y="328"/>
                        <a:pt x="445" y="328"/>
                        <a:pt x="445" y="328"/>
                      </a:cubicBezTo>
                      <a:cubicBezTo>
                        <a:pt x="445" y="328"/>
                        <a:pt x="445" y="328"/>
                        <a:pt x="445" y="328"/>
                      </a:cubicBezTo>
                      <a:cubicBezTo>
                        <a:pt x="445" y="329"/>
                        <a:pt x="445" y="329"/>
                        <a:pt x="445" y="329"/>
                      </a:cubicBezTo>
                      <a:cubicBezTo>
                        <a:pt x="445" y="337"/>
                        <a:pt x="445" y="337"/>
                        <a:pt x="445" y="337"/>
                      </a:cubicBezTo>
                      <a:cubicBezTo>
                        <a:pt x="453" y="339"/>
                        <a:pt x="459" y="346"/>
                        <a:pt x="459" y="354"/>
                      </a:cubicBezTo>
                      <a:cubicBezTo>
                        <a:pt x="459" y="526"/>
                        <a:pt x="459" y="526"/>
                        <a:pt x="459" y="526"/>
                      </a:cubicBezTo>
                      <a:cubicBezTo>
                        <a:pt x="459" y="534"/>
                        <a:pt x="453" y="541"/>
                        <a:pt x="445" y="542"/>
                      </a:cubicBezTo>
                      <a:cubicBezTo>
                        <a:pt x="445" y="544"/>
                        <a:pt x="445" y="544"/>
                        <a:pt x="445" y="544"/>
                      </a:cubicBezTo>
                      <a:cubicBezTo>
                        <a:pt x="445" y="545"/>
                        <a:pt x="445" y="545"/>
                        <a:pt x="445" y="545"/>
                      </a:cubicBezTo>
                      <a:cubicBezTo>
                        <a:pt x="257" y="653"/>
                        <a:pt x="257" y="653"/>
                        <a:pt x="257" y="653"/>
                      </a:cubicBezTo>
                      <a:cubicBezTo>
                        <a:pt x="257" y="653"/>
                        <a:pt x="257" y="653"/>
                        <a:pt x="257" y="653"/>
                      </a:cubicBezTo>
                      <a:cubicBezTo>
                        <a:pt x="257" y="653"/>
                        <a:pt x="257" y="653"/>
                        <a:pt x="257" y="653"/>
                      </a:cubicBezTo>
                      <a:cubicBezTo>
                        <a:pt x="70" y="545"/>
                        <a:pt x="70" y="545"/>
                        <a:pt x="70" y="545"/>
                      </a:cubicBezTo>
                      <a:cubicBezTo>
                        <a:pt x="70" y="545"/>
                        <a:pt x="70" y="545"/>
                        <a:pt x="70" y="545"/>
                      </a:cubicBezTo>
                      <a:cubicBezTo>
                        <a:pt x="70" y="545"/>
                        <a:pt x="70" y="545"/>
                        <a:pt x="70" y="545"/>
                      </a:cubicBezTo>
                      <a:cubicBezTo>
                        <a:pt x="70" y="542"/>
                        <a:pt x="70" y="542"/>
                        <a:pt x="70" y="542"/>
                      </a:cubicBezTo>
                      <a:cubicBezTo>
                        <a:pt x="62" y="541"/>
                        <a:pt x="56" y="534"/>
                        <a:pt x="56" y="526"/>
                      </a:cubicBezTo>
                      <a:cubicBezTo>
                        <a:pt x="56" y="354"/>
                        <a:pt x="56" y="354"/>
                        <a:pt x="56" y="354"/>
                      </a:cubicBezTo>
                      <a:cubicBezTo>
                        <a:pt x="56" y="346"/>
                        <a:pt x="62" y="339"/>
                        <a:pt x="70" y="337"/>
                      </a:cubicBezTo>
                      <a:cubicBezTo>
                        <a:pt x="70" y="328"/>
                        <a:pt x="70" y="328"/>
                        <a:pt x="70" y="328"/>
                      </a:cubicBezTo>
                      <a:cubicBezTo>
                        <a:pt x="70" y="328"/>
                        <a:pt x="70" y="328"/>
                        <a:pt x="70" y="328"/>
                      </a:cubicBezTo>
                      <a:cubicBezTo>
                        <a:pt x="70" y="328"/>
                        <a:pt x="70" y="328"/>
                        <a:pt x="70" y="328"/>
                      </a:cubicBezTo>
                      <a:cubicBezTo>
                        <a:pt x="257" y="220"/>
                        <a:pt x="257" y="220"/>
                        <a:pt x="257" y="220"/>
                      </a:cubicBezTo>
                      <a:cubicBezTo>
                        <a:pt x="257" y="220"/>
                        <a:pt x="257" y="220"/>
                        <a:pt x="257" y="220"/>
                      </a:cubicBezTo>
                      <a:moveTo>
                        <a:pt x="2350" y="0"/>
                      </a:moveTo>
                      <a:cubicBezTo>
                        <a:pt x="2030" y="0"/>
                        <a:pt x="2030" y="0"/>
                        <a:pt x="2030" y="0"/>
                      </a:cubicBezTo>
                      <a:cubicBezTo>
                        <a:pt x="2030" y="136"/>
                        <a:pt x="2030" y="136"/>
                        <a:pt x="2030" y="136"/>
                      </a:cubicBezTo>
                      <a:cubicBezTo>
                        <a:pt x="2217" y="136"/>
                        <a:pt x="2217" y="136"/>
                        <a:pt x="2217" y="136"/>
                      </a:cubicBezTo>
                      <a:cubicBezTo>
                        <a:pt x="2348" y="112"/>
                        <a:pt x="2348" y="112"/>
                        <a:pt x="2348" y="112"/>
                      </a:cubicBezTo>
                      <a:cubicBezTo>
                        <a:pt x="2348" y="380"/>
                        <a:pt x="2348" y="380"/>
                        <a:pt x="2348" y="380"/>
                      </a:cubicBezTo>
                      <a:cubicBezTo>
                        <a:pt x="2217" y="356"/>
                        <a:pt x="2217" y="356"/>
                        <a:pt x="2217" y="356"/>
                      </a:cubicBezTo>
                      <a:cubicBezTo>
                        <a:pt x="2030" y="356"/>
                        <a:pt x="2030" y="356"/>
                        <a:pt x="2030" y="356"/>
                      </a:cubicBezTo>
                      <a:cubicBezTo>
                        <a:pt x="2030" y="1532"/>
                        <a:pt x="2030" y="1532"/>
                        <a:pt x="2030" y="1532"/>
                      </a:cubicBezTo>
                      <a:cubicBezTo>
                        <a:pt x="1904" y="1532"/>
                        <a:pt x="1904" y="1532"/>
                        <a:pt x="1904" y="1532"/>
                      </a:cubicBezTo>
                      <a:cubicBezTo>
                        <a:pt x="1904" y="1530"/>
                        <a:pt x="1904" y="1530"/>
                        <a:pt x="1904" y="1530"/>
                      </a:cubicBezTo>
                      <a:cubicBezTo>
                        <a:pt x="1902" y="1530"/>
                        <a:pt x="1902" y="1530"/>
                        <a:pt x="1902" y="1530"/>
                      </a:cubicBezTo>
                      <a:cubicBezTo>
                        <a:pt x="1902" y="911"/>
                        <a:pt x="1902" y="911"/>
                        <a:pt x="1902" y="911"/>
                      </a:cubicBezTo>
                      <a:cubicBezTo>
                        <a:pt x="1630" y="911"/>
                        <a:pt x="1630" y="911"/>
                        <a:pt x="1630" y="911"/>
                      </a:cubicBezTo>
                      <a:cubicBezTo>
                        <a:pt x="1630" y="1248"/>
                        <a:pt x="1630" y="1248"/>
                        <a:pt x="1630" y="1248"/>
                      </a:cubicBezTo>
                      <a:cubicBezTo>
                        <a:pt x="1847" y="1248"/>
                        <a:pt x="1847" y="1248"/>
                        <a:pt x="1847" y="1248"/>
                      </a:cubicBezTo>
                      <a:cubicBezTo>
                        <a:pt x="1856" y="1248"/>
                        <a:pt x="1863" y="1255"/>
                        <a:pt x="1863" y="1264"/>
                      </a:cubicBezTo>
                      <a:cubicBezTo>
                        <a:pt x="1863" y="1487"/>
                        <a:pt x="1863" y="1487"/>
                        <a:pt x="1863" y="1487"/>
                      </a:cubicBezTo>
                      <a:cubicBezTo>
                        <a:pt x="1863" y="1496"/>
                        <a:pt x="1856" y="1503"/>
                        <a:pt x="1847" y="1503"/>
                      </a:cubicBezTo>
                      <a:cubicBezTo>
                        <a:pt x="1477" y="1503"/>
                        <a:pt x="1477" y="1503"/>
                        <a:pt x="1477" y="1503"/>
                      </a:cubicBezTo>
                      <a:cubicBezTo>
                        <a:pt x="1468" y="1503"/>
                        <a:pt x="1460" y="1496"/>
                        <a:pt x="1460" y="1487"/>
                      </a:cubicBezTo>
                      <a:cubicBezTo>
                        <a:pt x="1460" y="1278"/>
                        <a:pt x="1460" y="1278"/>
                        <a:pt x="1460" y="1278"/>
                      </a:cubicBezTo>
                      <a:cubicBezTo>
                        <a:pt x="768" y="1278"/>
                        <a:pt x="768" y="1278"/>
                        <a:pt x="768" y="1278"/>
                      </a:cubicBezTo>
                      <a:cubicBezTo>
                        <a:pt x="768" y="1278"/>
                        <a:pt x="768" y="1278"/>
                        <a:pt x="768" y="1278"/>
                      </a:cubicBezTo>
                      <a:cubicBezTo>
                        <a:pt x="768" y="828"/>
                        <a:pt x="768" y="828"/>
                        <a:pt x="768" y="828"/>
                      </a:cubicBezTo>
                      <a:cubicBezTo>
                        <a:pt x="547" y="828"/>
                        <a:pt x="547" y="828"/>
                        <a:pt x="547" y="828"/>
                      </a:cubicBezTo>
                      <a:cubicBezTo>
                        <a:pt x="547" y="1049"/>
                        <a:pt x="547" y="1049"/>
                        <a:pt x="547" y="1049"/>
                      </a:cubicBezTo>
                      <a:cubicBezTo>
                        <a:pt x="42" y="1049"/>
                        <a:pt x="42" y="1049"/>
                        <a:pt x="42" y="1049"/>
                      </a:cubicBezTo>
                      <a:cubicBezTo>
                        <a:pt x="42" y="742"/>
                        <a:pt x="42" y="742"/>
                        <a:pt x="42" y="742"/>
                      </a:cubicBezTo>
                      <a:cubicBezTo>
                        <a:pt x="547" y="742"/>
                        <a:pt x="547" y="742"/>
                        <a:pt x="547" y="742"/>
                      </a:cubicBezTo>
                      <a:cubicBezTo>
                        <a:pt x="547" y="790"/>
                        <a:pt x="547" y="790"/>
                        <a:pt x="547" y="790"/>
                      </a:cubicBezTo>
                      <a:cubicBezTo>
                        <a:pt x="768" y="790"/>
                        <a:pt x="768" y="790"/>
                        <a:pt x="768" y="790"/>
                      </a:cubicBezTo>
                      <a:cubicBezTo>
                        <a:pt x="768" y="712"/>
                        <a:pt x="768" y="712"/>
                        <a:pt x="768" y="712"/>
                      </a:cubicBezTo>
                      <a:cubicBezTo>
                        <a:pt x="768" y="712"/>
                        <a:pt x="768" y="712"/>
                        <a:pt x="768" y="712"/>
                      </a:cubicBezTo>
                      <a:cubicBezTo>
                        <a:pt x="768" y="712"/>
                        <a:pt x="768" y="712"/>
                        <a:pt x="768" y="712"/>
                      </a:cubicBezTo>
                      <a:cubicBezTo>
                        <a:pt x="768" y="712"/>
                        <a:pt x="768" y="712"/>
                        <a:pt x="768" y="712"/>
                      </a:cubicBezTo>
                      <a:cubicBezTo>
                        <a:pt x="1550" y="712"/>
                        <a:pt x="1550" y="712"/>
                        <a:pt x="1550" y="712"/>
                      </a:cubicBezTo>
                      <a:cubicBezTo>
                        <a:pt x="1550" y="695"/>
                        <a:pt x="1550" y="695"/>
                        <a:pt x="1550" y="695"/>
                      </a:cubicBezTo>
                      <a:cubicBezTo>
                        <a:pt x="1502" y="695"/>
                        <a:pt x="1502" y="695"/>
                        <a:pt x="1502" y="695"/>
                      </a:cubicBezTo>
                      <a:cubicBezTo>
                        <a:pt x="1493" y="695"/>
                        <a:pt x="1485" y="687"/>
                        <a:pt x="1485" y="678"/>
                      </a:cubicBezTo>
                      <a:cubicBezTo>
                        <a:pt x="1485" y="492"/>
                        <a:pt x="1485" y="492"/>
                        <a:pt x="1485" y="492"/>
                      </a:cubicBezTo>
                      <a:cubicBezTo>
                        <a:pt x="1485" y="483"/>
                        <a:pt x="1493" y="475"/>
                        <a:pt x="1502" y="475"/>
                      </a:cubicBezTo>
                      <a:cubicBezTo>
                        <a:pt x="1821" y="475"/>
                        <a:pt x="1821" y="475"/>
                        <a:pt x="1821" y="475"/>
                      </a:cubicBezTo>
                      <a:cubicBezTo>
                        <a:pt x="1831" y="475"/>
                        <a:pt x="1838" y="483"/>
                        <a:pt x="1838" y="492"/>
                      </a:cubicBezTo>
                      <a:cubicBezTo>
                        <a:pt x="1838" y="678"/>
                        <a:pt x="1838" y="678"/>
                        <a:pt x="1838" y="678"/>
                      </a:cubicBezTo>
                      <a:cubicBezTo>
                        <a:pt x="1838" y="687"/>
                        <a:pt x="1831" y="695"/>
                        <a:pt x="1821" y="695"/>
                      </a:cubicBezTo>
                      <a:cubicBezTo>
                        <a:pt x="1782" y="695"/>
                        <a:pt x="1782" y="695"/>
                        <a:pt x="1782" y="695"/>
                      </a:cubicBezTo>
                      <a:cubicBezTo>
                        <a:pt x="1782" y="713"/>
                        <a:pt x="1782" y="713"/>
                        <a:pt x="1782" y="713"/>
                      </a:cubicBezTo>
                      <a:cubicBezTo>
                        <a:pt x="1782" y="713"/>
                        <a:pt x="1782" y="713"/>
                        <a:pt x="1782" y="713"/>
                      </a:cubicBezTo>
                      <a:cubicBezTo>
                        <a:pt x="1666" y="780"/>
                        <a:pt x="1666" y="780"/>
                        <a:pt x="1666" y="780"/>
                      </a:cubicBezTo>
                      <a:cubicBezTo>
                        <a:pt x="1666" y="780"/>
                        <a:pt x="1666" y="780"/>
                        <a:pt x="1666" y="780"/>
                      </a:cubicBezTo>
                      <a:cubicBezTo>
                        <a:pt x="1666" y="780"/>
                        <a:pt x="1666" y="780"/>
                        <a:pt x="1666" y="780"/>
                      </a:cubicBezTo>
                      <a:cubicBezTo>
                        <a:pt x="1630" y="759"/>
                        <a:pt x="1630" y="759"/>
                        <a:pt x="1630" y="759"/>
                      </a:cubicBezTo>
                      <a:cubicBezTo>
                        <a:pt x="1630" y="822"/>
                        <a:pt x="1630" y="822"/>
                        <a:pt x="1630" y="822"/>
                      </a:cubicBezTo>
                      <a:cubicBezTo>
                        <a:pt x="1902" y="822"/>
                        <a:pt x="1902" y="822"/>
                        <a:pt x="1902" y="822"/>
                      </a:cubicBezTo>
                      <a:cubicBezTo>
                        <a:pt x="1902" y="371"/>
                        <a:pt x="1902" y="371"/>
                        <a:pt x="1902" y="371"/>
                      </a:cubicBezTo>
                      <a:cubicBezTo>
                        <a:pt x="1302" y="371"/>
                        <a:pt x="1302" y="371"/>
                        <a:pt x="1302" y="371"/>
                      </a:cubicBezTo>
                      <a:cubicBezTo>
                        <a:pt x="1293" y="371"/>
                        <a:pt x="1286" y="364"/>
                        <a:pt x="1285" y="356"/>
                      </a:cubicBezTo>
                      <a:cubicBezTo>
                        <a:pt x="1094" y="356"/>
                        <a:pt x="1094" y="356"/>
                        <a:pt x="1094" y="356"/>
                      </a:cubicBezTo>
                      <a:cubicBezTo>
                        <a:pt x="1094" y="136"/>
                        <a:pt x="1094" y="136"/>
                        <a:pt x="1094" y="136"/>
                      </a:cubicBezTo>
                      <a:cubicBezTo>
                        <a:pt x="1196" y="136"/>
                        <a:pt x="1196" y="136"/>
                        <a:pt x="1196" y="136"/>
                      </a:cubicBezTo>
                      <a:cubicBezTo>
                        <a:pt x="1183" y="124"/>
                        <a:pt x="1175" y="107"/>
                        <a:pt x="1175" y="89"/>
                      </a:cubicBezTo>
                      <a:cubicBezTo>
                        <a:pt x="1175" y="54"/>
                        <a:pt x="1203" y="26"/>
                        <a:pt x="1238" y="26"/>
                      </a:cubicBezTo>
                      <a:cubicBezTo>
                        <a:pt x="1256" y="26"/>
                        <a:pt x="1273" y="35"/>
                        <a:pt x="1285" y="48"/>
                      </a:cubicBezTo>
                      <a:cubicBezTo>
                        <a:pt x="1296" y="35"/>
                        <a:pt x="1313" y="26"/>
                        <a:pt x="1332" y="26"/>
                      </a:cubicBezTo>
                      <a:cubicBezTo>
                        <a:pt x="1351" y="26"/>
                        <a:pt x="1368" y="35"/>
                        <a:pt x="1380" y="48"/>
                      </a:cubicBezTo>
                      <a:cubicBezTo>
                        <a:pt x="1391" y="35"/>
                        <a:pt x="1408" y="26"/>
                        <a:pt x="1427" y="26"/>
                      </a:cubicBezTo>
                      <a:cubicBezTo>
                        <a:pt x="1446" y="26"/>
                        <a:pt x="1463" y="35"/>
                        <a:pt x="1474" y="48"/>
                      </a:cubicBezTo>
                      <a:cubicBezTo>
                        <a:pt x="1486" y="35"/>
                        <a:pt x="1503" y="26"/>
                        <a:pt x="1522" y="26"/>
                      </a:cubicBezTo>
                      <a:cubicBezTo>
                        <a:pt x="1541" y="26"/>
                        <a:pt x="1558" y="35"/>
                        <a:pt x="1569" y="48"/>
                      </a:cubicBezTo>
                      <a:cubicBezTo>
                        <a:pt x="1580" y="35"/>
                        <a:pt x="1597" y="26"/>
                        <a:pt x="1616" y="26"/>
                      </a:cubicBezTo>
                      <a:cubicBezTo>
                        <a:pt x="1635" y="26"/>
                        <a:pt x="1652" y="35"/>
                        <a:pt x="1664" y="48"/>
                      </a:cubicBezTo>
                      <a:cubicBezTo>
                        <a:pt x="1675" y="35"/>
                        <a:pt x="1692" y="26"/>
                        <a:pt x="1711" y="26"/>
                      </a:cubicBezTo>
                      <a:cubicBezTo>
                        <a:pt x="1730" y="26"/>
                        <a:pt x="1747" y="35"/>
                        <a:pt x="1758" y="48"/>
                      </a:cubicBezTo>
                      <a:cubicBezTo>
                        <a:pt x="1770" y="35"/>
                        <a:pt x="1787" y="26"/>
                        <a:pt x="1806" y="26"/>
                      </a:cubicBezTo>
                      <a:cubicBezTo>
                        <a:pt x="1840" y="26"/>
                        <a:pt x="1868" y="54"/>
                        <a:pt x="1868" y="89"/>
                      </a:cubicBezTo>
                      <a:cubicBezTo>
                        <a:pt x="1868" y="101"/>
                        <a:pt x="1865" y="113"/>
                        <a:pt x="1859" y="122"/>
                      </a:cubicBezTo>
                      <a:cubicBezTo>
                        <a:pt x="1902" y="122"/>
                        <a:pt x="1902" y="122"/>
                        <a:pt x="1902" y="122"/>
                      </a:cubicBezTo>
                      <a:cubicBezTo>
                        <a:pt x="1902" y="0"/>
                        <a:pt x="1902" y="0"/>
                        <a:pt x="1902" y="0"/>
                      </a:cubicBezTo>
                      <a:cubicBezTo>
                        <a:pt x="0" y="0"/>
                        <a:pt x="0" y="0"/>
                        <a:pt x="0" y="0"/>
                      </a:cubicBezTo>
                      <a:cubicBezTo>
                        <a:pt x="0" y="1532"/>
                        <a:pt x="0" y="1532"/>
                        <a:pt x="0" y="1532"/>
                      </a:cubicBezTo>
                      <a:cubicBezTo>
                        <a:pt x="2350" y="1532"/>
                        <a:pt x="2350" y="1532"/>
                        <a:pt x="2350" y="1532"/>
                      </a:cubicBezTo>
                      <a:cubicBezTo>
                        <a:pt x="2350" y="0"/>
                        <a:pt x="2350" y="0"/>
                        <a:pt x="2350" y="0"/>
                      </a:cubicBezTo>
                    </a:path>
                  </a:pathLst>
                </a:custGeom>
                <a:solidFill>
                  <a:srgbClr val="9CCB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dirty="0"/>
                </a:p>
              </p:txBody>
            </p:sp>
            <p:sp>
              <p:nvSpPr>
                <p:cNvPr id="1198" name="Freeform 8">
                  <a:extLst>
                    <a:ext uri="{FF2B5EF4-FFF2-40B4-BE49-F238E27FC236}">
                      <a16:creationId xmlns:a16="http://schemas.microsoft.com/office/drawing/2014/main" id="{902E8A58-5A44-BF17-CDEC-AC7A2C35E2C7}"/>
                    </a:ext>
                  </a:extLst>
                </p:cNvPr>
                <p:cNvSpPr>
                  <a:spLocks/>
                </p:cNvSpPr>
                <p:nvPr/>
              </p:nvSpPr>
              <p:spPr bwMode="auto">
                <a:xfrm>
                  <a:off x="617" y="3522"/>
                  <a:ext cx="837" cy="837"/>
                </a:xfrm>
                <a:custGeom>
                  <a:avLst/>
                  <a:gdLst>
                    <a:gd name="T0" fmla="*/ 837 w 837"/>
                    <a:gd name="T1" fmla="*/ 837 h 837"/>
                    <a:gd name="T2" fmla="*/ 0 w 837"/>
                    <a:gd name="T3" fmla="*/ 837 h 837"/>
                    <a:gd name="T4" fmla="*/ 0 w 837"/>
                    <a:gd name="T5" fmla="*/ 0 h 837"/>
                    <a:gd name="T6" fmla="*/ 837 w 837"/>
                    <a:gd name="T7" fmla="*/ 837 h 837"/>
                  </a:gdLst>
                  <a:ahLst/>
                  <a:cxnLst>
                    <a:cxn ang="0">
                      <a:pos x="T0" y="T1"/>
                    </a:cxn>
                    <a:cxn ang="0">
                      <a:pos x="T2" y="T3"/>
                    </a:cxn>
                    <a:cxn ang="0">
                      <a:pos x="T4" y="T5"/>
                    </a:cxn>
                    <a:cxn ang="0">
                      <a:pos x="T6" y="T7"/>
                    </a:cxn>
                  </a:cxnLst>
                  <a:rect l="0" t="0" r="r" b="b"/>
                  <a:pathLst>
                    <a:path w="837" h="837">
                      <a:moveTo>
                        <a:pt x="837" y="837"/>
                      </a:moveTo>
                      <a:lnTo>
                        <a:pt x="0" y="837"/>
                      </a:lnTo>
                      <a:lnTo>
                        <a:pt x="0" y="0"/>
                      </a:lnTo>
                      <a:lnTo>
                        <a:pt x="837" y="837"/>
                      </a:lnTo>
                      <a:close/>
                    </a:path>
                  </a:pathLst>
                </a:custGeom>
                <a:solidFill>
                  <a:srgbClr val="7BAC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199" name="Freeform 9">
                  <a:extLst>
                    <a:ext uri="{FF2B5EF4-FFF2-40B4-BE49-F238E27FC236}">
                      <a16:creationId xmlns:a16="http://schemas.microsoft.com/office/drawing/2014/main" id="{D1AABE72-44C6-D337-9179-9BDE9ABF7F7E}"/>
                    </a:ext>
                  </a:extLst>
                </p:cNvPr>
                <p:cNvSpPr>
                  <a:spLocks/>
                </p:cNvSpPr>
                <p:nvPr/>
              </p:nvSpPr>
              <p:spPr bwMode="auto">
                <a:xfrm>
                  <a:off x="617" y="3522"/>
                  <a:ext cx="837" cy="837"/>
                </a:xfrm>
                <a:custGeom>
                  <a:avLst/>
                  <a:gdLst>
                    <a:gd name="T0" fmla="*/ 837 w 837"/>
                    <a:gd name="T1" fmla="*/ 837 h 837"/>
                    <a:gd name="T2" fmla="*/ 0 w 837"/>
                    <a:gd name="T3" fmla="*/ 837 h 837"/>
                    <a:gd name="T4" fmla="*/ 0 w 837"/>
                    <a:gd name="T5" fmla="*/ 0 h 837"/>
                    <a:gd name="T6" fmla="*/ 837 w 837"/>
                    <a:gd name="T7" fmla="*/ 837 h 837"/>
                  </a:gdLst>
                  <a:ahLst/>
                  <a:cxnLst>
                    <a:cxn ang="0">
                      <a:pos x="T0" y="T1"/>
                    </a:cxn>
                    <a:cxn ang="0">
                      <a:pos x="T2" y="T3"/>
                    </a:cxn>
                    <a:cxn ang="0">
                      <a:pos x="T4" y="T5"/>
                    </a:cxn>
                    <a:cxn ang="0">
                      <a:pos x="T6" y="T7"/>
                    </a:cxn>
                  </a:cxnLst>
                  <a:rect l="0" t="0" r="r" b="b"/>
                  <a:pathLst>
                    <a:path w="837" h="837">
                      <a:moveTo>
                        <a:pt x="837" y="837"/>
                      </a:moveTo>
                      <a:lnTo>
                        <a:pt x="0" y="837"/>
                      </a:lnTo>
                      <a:lnTo>
                        <a:pt x="0" y="0"/>
                      </a:lnTo>
                      <a:lnTo>
                        <a:pt x="837" y="83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200" name="Freeform 10">
                  <a:extLst>
                    <a:ext uri="{FF2B5EF4-FFF2-40B4-BE49-F238E27FC236}">
                      <a16:creationId xmlns:a16="http://schemas.microsoft.com/office/drawing/2014/main" id="{54270CC9-EB61-9445-3A0F-57FF4C4067D3}"/>
                    </a:ext>
                  </a:extLst>
                </p:cNvPr>
                <p:cNvSpPr>
                  <a:spLocks/>
                </p:cNvSpPr>
                <p:nvPr/>
              </p:nvSpPr>
              <p:spPr bwMode="auto">
                <a:xfrm>
                  <a:off x="1442" y="4347"/>
                  <a:ext cx="14" cy="14"/>
                </a:xfrm>
                <a:custGeom>
                  <a:avLst/>
                  <a:gdLst>
                    <a:gd name="T0" fmla="*/ 14 w 14"/>
                    <a:gd name="T1" fmla="*/ 8 h 14"/>
                    <a:gd name="T2" fmla="*/ 6 w 14"/>
                    <a:gd name="T3" fmla="*/ 0 h 14"/>
                    <a:gd name="T4" fmla="*/ 0 w 14"/>
                    <a:gd name="T5" fmla="*/ 6 h 14"/>
                    <a:gd name="T6" fmla="*/ 10 w 14"/>
                    <a:gd name="T7" fmla="*/ 14 h 14"/>
                    <a:gd name="T8" fmla="*/ 14 w 14"/>
                    <a:gd name="T9" fmla="*/ 8 h 14"/>
                  </a:gdLst>
                  <a:ahLst/>
                  <a:cxnLst>
                    <a:cxn ang="0">
                      <a:pos x="T0" y="T1"/>
                    </a:cxn>
                    <a:cxn ang="0">
                      <a:pos x="T2" y="T3"/>
                    </a:cxn>
                    <a:cxn ang="0">
                      <a:pos x="T4" y="T5"/>
                    </a:cxn>
                    <a:cxn ang="0">
                      <a:pos x="T6" y="T7"/>
                    </a:cxn>
                    <a:cxn ang="0">
                      <a:pos x="T8" y="T9"/>
                    </a:cxn>
                  </a:cxnLst>
                  <a:rect l="0" t="0" r="r" b="b"/>
                  <a:pathLst>
                    <a:path w="14" h="14">
                      <a:moveTo>
                        <a:pt x="14" y="8"/>
                      </a:moveTo>
                      <a:lnTo>
                        <a:pt x="6" y="0"/>
                      </a:lnTo>
                      <a:lnTo>
                        <a:pt x="0" y="6"/>
                      </a:lnTo>
                      <a:lnTo>
                        <a:pt x="10" y="14"/>
                      </a:lnTo>
                      <a:lnTo>
                        <a:pt x="14"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201" name="Freeform 11">
                  <a:extLst>
                    <a:ext uri="{FF2B5EF4-FFF2-40B4-BE49-F238E27FC236}">
                      <a16:creationId xmlns:a16="http://schemas.microsoft.com/office/drawing/2014/main" id="{1C776BED-C2F4-1117-0179-F2D36184DB97}"/>
                    </a:ext>
                  </a:extLst>
                </p:cNvPr>
                <p:cNvSpPr>
                  <a:spLocks/>
                </p:cNvSpPr>
                <p:nvPr/>
              </p:nvSpPr>
              <p:spPr bwMode="auto">
                <a:xfrm>
                  <a:off x="1442" y="4347"/>
                  <a:ext cx="14" cy="14"/>
                </a:xfrm>
                <a:custGeom>
                  <a:avLst/>
                  <a:gdLst>
                    <a:gd name="T0" fmla="*/ 14 w 14"/>
                    <a:gd name="T1" fmla="*/ 8 h 14"/>
                    <a:gd name="T2" fmla="*/ 6 w 14"/>
                    <a:gd name="T3" fmla="*/ 0 h 14"/>
                    <a:gd name="T4" fmla="*/ 0 w 14"/>
                    <a:gd name="T5" fmla="*/ 6 h 14"/>
                    <a:gd name="T6" fmla="*/ 10 w 14"/>
                    <a:gd name="T7" fmla="*/ 14 h 14"/>
                  </a:gdLst>
                  <a:ahLst/>
                  <a:cxnLst>
                    <a:cxn ang="0">
                      <a:pos x="T0" y="T1"/>
                    </a:cxn>
                    <a:cxn ang="0">
                      <a:pos x="T2" y="T3"/>
                    </a:cxn>
                    <a:cxn ang="0">
                      <a:pos x="T4" y="T5"/>
                    </a:cxn>
                    <a:cxn ang="0">
                      <a:pos x="T6" y="T7"/>
                    </a:cxn>
                  </a:cxnLst>
                  <a:rect l="0" t="0" r="r" b="b"/>
                  <a:pathLst>
                    <a:path w="14" h="14">
                      <a:moveTo>
                        <a:pt x="14" y="8"/>
                      </a:moveTo>
                      <a:lnTo>
                        <a:pt x="6" y="0"/>
                      </a:lnTo>
                      <a:lnTo>
                        <a:pt x="0" y="6"/>
                      </a:lnTo>
                      <a:lnTo>
                        <a:pt x="10"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202" name="Freeform 12">
                  <a:extLst>
                    <a:ext uri="{FF2B5EF4-FFF2-40B4-BE49-F238E27FC236}">
                      <a16:creationId xmlns:a16="http://schemas.microsoft.com/office/drawing/2014/main" id="{598D4217-C1A3-4917-A62A-073D213334A4}"/>
                    </a:ext>
                  </a:extLst>
                </p:cNvPr>
                <p:cNvSpPr>
                  <a:spLocks/>
                </p:cNvSpPr>
                <p:nvPr/>
              </p:nvSpPr>
              <p:spPr bwMode="auto">
                <a:xfrm>
                  <a:off x="639" y="3544"/>
                  <a:ext cx="793" cy="793"/>
                </a:xfrm>
                <a:custGeom>
                  <a:avLst/>
                  <a:gdLst>
                    <a:gd name="T0" fmla="*/ 6 w 793"/>
                    <a:gd name="T1" fmla="*/ 0 h 793"/>
                    <a:gd name="T2" fmla="*/ 18 w 793"/>
                    <a:gd name="T3" fmla="*/ 24 h 793"/>
                    <a:gd name="T4" fmla="*/ 56 w 793"/>
                    <a:gd name="T5" fmla="*/ 50 h 793"/>
                    <a:gd name="T6" fmla="*/ 34 w 793"/>
                    <a:gd name="T7" fmla="*/ 40 h 793"/>
                    <a:gd name="T8" fmla="*/ 56 w 793"/>
                    <a:gd name="T9" fmla="*/ 50 h 793"/>
                    <a:gd name="T10" fmla="*/ 74 w 793"/>
                    <a:gd name="T11" fmla="*/ 68 h 793"/>
                    <a:gd name="T12" fmla="*/ 84 w 793"/>
                    <a:gd name="T13" fmla="*/ 90 h 793"/>
                    <a:gd name="T14" fmla="*/ 124 w 793"/>
                    <a:gd name="T15" fmla="*/ 118 h 793"/>
                    <a:gd name="T16" fmla="*/ 100 w 793"/>
                    <a:gd name="T17" fmla="*/ 106 h 793"/>
                    <a:gd name="T18" fmla="*/ 124 w 793"/>
                    <a:gd name="T19" fmla="*/ 118 h 793"/>
                    <a:gd name="T20" fmla="*/ 140 w 793"/>
                    <a:gd name="T21" fmla="*/ 134 h 793"/>
                    <a:gd name="T22" fmla="*/ 150 w 793"/>
                    <a:gd name="T23" fmla="*/ 156 h 793"/>
                    <a:gd name="T24" fmla="*/ 191 w 793"/>
                    <a:gd name="T25" fmla="*/ 184 h 793"/>
                    <a:gd name="T26" fmla="*/ 168 w 793"/>
                    <a:gd name="T27" fmla="*/ 174 h 793"/>
                    <a:gd name="T28" fmla="*/ 191 w 793"/>
                    <a:gd name="T29" fmla="*/ 184 h 793"/>
                    <a:gd name="T30" fmla="*/ 207 w 793"/>
                    <a:gd name="T31" fmla="*/ 202 h 793"/>
                    <a:gd name="T32" fmla="*/ 219 w 793"/>
                    <a:gd name="T33" fmla="*/ 224 h 793"/>
                    <a:gd name="T34" fmla="*/ 257 w 793"/>
                    <a:gd name="T35" fmla="*/ 253 h 793"/>
                    <a:gd name="T36" fmla="*/ 235 w 793"/>
                    <a:gd name="T37" fmla="*/ 240 h 793"/>
                    <a:gd name="T38" fmla="*/ 257 w 793"/>
                    <a:gd name="T39" fmla="*/ 253 h 793"/>
                    <a:gd name="T40" fmla="*/ 275 w 793"/>
                    <a:gd name="T41" fmla="*/ 269 h 793"/>
                    <a:gd name="T42" fmla="*/ 285 w 793"/>
                    <a:gd name="T43" fmla="*/ 291 h 793"/>
                    <a:gd name="T44" fmla="*/ 325 w 793"/>
                    <a:gd name="T45" fmla="*/ 319 h 793"/>
                    <a:gd name="T46" fmla="*/ 303 w 793"/>
                    <a:gd name="T47" fmla="*/ 309 h 793"/>
                    <a:gd name="T48" fmla="*/ 325 w 793"/>
                    <a:gd name="T49" fmla="*/ 319 h 793"/>
                    <a:gd name="T50" fmla="*/ 341 w 793"/>
                    <a:gd name="T51" fmla="*/ 335 h 793"/>
                    <a:gd name="T52" fmla="*/ 353 w 793"/>
                    <a:gd name="T53" fmla="*/ 359 h 793"/>
                    <a:gd name="T54" fmla="*/ 391 w 793"/>
                    <a:gd name="T55" fmla="*/ 385 h 793"/>
                    <a:gd name="T56" fmla="*/ 369 w 793"/>
                    <a:gd name="T57" fmla="*/ 375 h 793"/>
                    <a:gd name="T58" fmla="*/ 391 w 793"/>
                    <a:gd name="T59" fmla="*/ 385 h 793"/>
                    <a:gd name="T60" fmla="*/ 409 w 793"/>
                    <a:gd name="T61" fmla="*/ 403 h 793"/>
                    <a:gd name="T62" fmla="*/ 419 w 793"/>
                    <a:gd name="T63" fmla="*/ 425 h 793"/>
                    <a:gd name="T64" fmla="*/ 459 w 793"/>
                    <a:gd name="T65" fmla="*/ 453 h 793"/>
                    <a:gd name="T66" fmla="*/ 437 w 793"/>
                    <a:gd name="T67" fmla="*/ 441 h 793"/>
                    <a:gd name="T68" fmla="*/ 459 w 793"/>
                    <a:gd name="T69" fmla="*/ 453 h 793"/>
                    <a:gd name="T70" fmla="*/ 475 w 793"/>
                    <a:gd name="T71" fmla="*/ 469 h 793"/>
                    <a:gd name="T72" fmla="*/ 487 w 793"/>
                    <a:gd name="T73" fmla="*/ 491 h 793"/>
                    <a:gd name="T74" fmla="*/ 525 w 793"/>
                    <a:gd name="T75" fmla="*/ 519 h 793"/>
                    <a:gd name="T76" fmla="*/ 503 w 793"/>
                    <a:gd name="T77" fmla="*/ 509 h 793"/>
                    <a:gd name="T78" fmla="*/ 525 w 793"/>
                    <a:gd name="T79" fmla="*/ 519 h 793"/>
                    <a:gd name="T80" fmla="*/ 541 w 793"/>
                    <a:gd name="T81" fmla="*/ 537 h 793"/>
                    <a:gd name="T82" fmla="*/ 553 w 793"/>
                    <a:gd name="T83" fmla="*/ 559 h 793"/>
                    <a:gd name="T84" fmla="*/ 593 w 793"/>
                    <a:gd name="T85" fmla="*/ 587 h 793"/>
                    <a:gd name="T86" fmla="*/ 569 w 793"/>
                    <a:gd name="T87" fmla="*/ 575 h 793"/>
                    <a:gd name="T88" fmla="*/ 593 w 793"/>
                    <a:gd name="T89" fmla="*/ 587 h 793"/>
                    <a:gd name="T90" fmla="*/ 609 w 793"/>
                    <a:gd name="T91" fmla="*/ 603 h 793"/>
                    <a:gd name="T92" fmla="*/ 619 w 793"/>
                    <a:gd name="T93" fmla="*/ 625 h 793"/>
                    <a:gd name="T94" fmla="*/ 659 w 793"/>
                    <a:gd name="T95" fmla="*/ 653 h 793"/>
                    <a:gd name="T96" fmla="*/ 637 w 793"/>
                    <a:gd name="T97" fmla="*/ 641 h 793"/>
                    <a:gd name="T98" fmla="*/ 659 w 793"/>
                    <a:gd name="T99" fmla="*/ 653 h 793"/>
                    <a:gd name="T100" fmla="*/ 675 w 793"/>
                    <a:gd name="T101" fmla="*/ 669 h 793"/>
                    <a:gd name="T102" fmla="*/ 687 w 793"/>
                    <a:gd name="T103" fmla="*/ 691 h 793"/>
                    <a:gd name="T104" fmla="*/ 725 w 793"/>
                    <a:gd name="T105" fmla="*/ 719 h 793"/>
                    <a:gd name="T106" fmla="*/ 703 w 793"/>
                    <a:gd name="T107" fmla="*/ 709 h 793"/>
                    <a:gd name="T108" fmla="*/ 725 w 793"/>
                    <a:gd name="T109" fmla="*/ 719 h 793"/>
                    <a:gd name="T110" fmla="*/ 743 w 793"/>
                    <a:gd name="T111" fmla="*/ 737 h 793"/>
                    <a:gd name="T112" fmla="*/ 753 w 793"/>
                    <a:gd name="T113" fmla="*/ 759 h 793"/>
                    <a:gd name="T114" fmla="*/ 793 w 793"/>
                    <a:gd name="T115" fmla="*/ 787 h 793"/>
                    <a:gd name="T116" fmla="*/ 771 w 793"/>
                    <a:gd name="T117" fmla="*/ 775 h 793"/>
                    <a:gd name="T118" fmla="*/ 793 w 793"/>
                    <a:gd name="T119" fmla="*/ 787 h 7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93" h="793">
                      <a:moveTo>
                        <a:pt x="22" y="18"/>
                      </a:moveTo>
                      <a:lnTo>
                        <a:pt x="6" y="0"/>
                      </a:lnTo>
                      <a:lnTo>
                        <a:pt x="0" y="6"/>
                      </a:lnTo>
                      <a:lnTo>
                        <a:pt x="18" y="24"/>
                      </a:lnTo>
                      <a:lnTo>
                        <a:pt x="22" y="18"/>
                      </a:lnTo>
                      <a:close/>
                      <a:moveTo>
                        <a:pt x="56" y="50"/>
                      </a:moveTo>
                      <a:lnTo>
                        <a:pt x="40" y="34"/>
                      </a:lnTo>
                      <a:lnTo>
                        <a:pt x="34" y="40"/>
                      </a:lnTo>
                      <a:lnTo>
                        <a:pt x="50" y="56"/>
                      </a:lnTo>
                      <a:lnTo>
                        <a:pt x="56" y="50"/>
                      </a:lnTo>
                      <a:close/>
                      <a:moveTo>
                        <a:pt x="90" y="84"/>
                      </a:moveTo>
                      <a:lnTo>
                        <a:pt x="74" y="68"/>
                      </a:lnTo>
                      <a:lnTo>
                        <a:pt x="68" y="74"/>
                      </a:lnTo>
                      <a:lnTo>
                        <a:pt x="84" y="90"/>
                      </a:lnTo>
                      <a:lnTo>
                        <a:pt x="90" y="84"/>
                      </a:lnTo>
                      <a:close/>
                      <a:moveTo>
                        <a:pt x="124" y="118"/>
                      </a:moveTo>
                      <a:lnTo>
                        <a:pt x="106" y="102"/>
                      </a:lnTo>
                      <a:lnTo>
                        <a:pt x="100" y="106"/>
                      </a:lnTo>
                      <a:lnTo>
                        <a:pt x="118" y="124"/>
                      </a:lnTo>
                      <a:lnTo>
                        <a:pt x="124" y="118"/>
                      </a:lnTo>
                      <a:close/>
                      <a:moveTo>
                        <a:pt x="156" y="152"/>
                      </a:moveTo>
                      <a:lnTo>
                        <a:pt x="140" y="134"/>
                      </a:lnTo>
                      <a:lnTo>
                        <a:pt x="134" y="140"/>
                      </a:lnTo>
                      <a:lnTo>
                        <a:pt x="150" y="156"/>
                      </a:lnTo>
                      <a:lnTo>
                        <a:pt x="156" y="152"/>
                      </a:lnTo>
                      <a:close/>
                      <a:moveTo>
                        <a:pt x="191" y="184"/>
                      </a:moveTo>
                      <a:lnTo>
                        <a:pt x="174" y="168"/>
                      </a:lnTo>
                      <a:lnTo>
                        <a:pt x="168" y="174"/>
                      </a:lnTo>
                      <a:lnTo>
                        <a:pt x="185" y="190"/>
                      </a:lnTo>
                      <a:lnTo>
                        <a:pt x="191" y="184"/>
                      </a:lnTo>
                      <a:close/>
                      <a:moveTo>
                        <a:pt x="225" y="218"/>
                      </a:moveTo>
                      <a:lnTo>
                        <a:pt x="207" y="202"/>
                      </a:lnTo>
                      <a:lnTo>
                        <a:pt x="203" y="206"/>
                      </a:lnTo>
                      <a:lnTo>
                        <a:pt x="219" y="224"/>
                      </a:lnTo>
                      <a:lnTo>
                        <a:pt x="225" y="218"/>
                      </a:lnTo>
                      <a:close/>
                      <a:moveTo>
                        <a:pt x="257" y="253"/>
                      </a:moveTo>
                      <a:lnTo>
                        <a:pt x="241" y="234"/>
                      </a:lnTo>
                      <a:lnTo>
                        <a:pt x="235" y="240"/>
                      </a:lnTo>
                      <a:lnTo>
                        <a:pt x="253" y="257"/>
                      </a:lnTo>
                      <a:lnTo>
                        <a:pt x="257" y="253"/>
                      </a:lnTo>
                      <a:close/>
                      <a:moveTo>
                        <a:pt x="291" y="285"/>
                      </a:moveTo>
                      <a:lnTo>
                        <a:pt x="275" y="269"/>
                      </a:lnTo>
                      <a:lnTo>
                        <a:pt x="269" y="275"/>
                      </a:lnTo>
                      <a:lnTo>
                        <a:pt x="285" y="291"/>
                      </a:lnTo>
                      <a:lnTo>
                        <a:pt x="291" y="285"/>
                      </a:lnTo>
                      <a:close/>
                      <a:moveTo>
                        <a:pt x="325" y="319"/>
                      </a:moveTo>
                      <a:lnTo>
                        <a:pt x="307" y="303"/>
                      </a:lnTo>
                      <a:lnTo>
                        <a:pt x="303" y="309"/>
                      </a:lnTo>
                      <a:lnTo>
                        <a:pt x="319" y="325"/>
                      </a:lnTo>
                      <a:lnTo>
                        <a:pt x="325" y="319"/>
                      </a:lnTo>
                      <a:close/>
                      <a:moveTo>
                        <a:pt x="359" y="353"/>
                      </a:moveTo>
                      <a:lnTo>
                        <a:pt x="341" y="335"/>
                      </a:lnTo>
                      <a:lnTo>
                        <a:pt x="335" y="341"/>
                      </a:lnTo>
                      <a:lnTo>
                        <a:pt x="353" y="359"/>
                      </a:lnTo>
                      <a:lnTo>
                        <a:pt x="359" y="353"/>
                      </a:lnTo>
                      <a:close/>
                      <a:moveTo>
                        <a:pt x="391" y="385"/>
                      </a:moveTo>
                      <a:lnTo>
                        <a:pt x="375" y="369"/>
                      </a:lnTo>
                      <a:lnTo>
                        <a:pt x="369" y="375"/>
                      </a:lnTo>
                      <a:lnTo>
                        <a:pt x="385" y="391"/>
                      </a:lnTo>
                      <a:lnTo>
                        <a:pt x="391" y="385"/>
                      </a:lnTo>
                      <a:close/>
                      <a:moveTo>
                        <a:pt x="425" y="419"/>
                      </a:moveTo>
                      <a:lnTo>
                        <a:pt x="409" y="403"/>
                      </a:lnTo>
                      <a:lnTo>
                        <a:pt x="403" y="409"/>
                      </a:lnTo>
                      <a:lnTo>
                        <a:pt x="419" y="425"/>
                      </a:lnTo>
                      <a:lnTo>
                        <a:pt x="425" y="419"/>
                      </a:lnTo>
                      <a:close/>
                      <a:moveTo>
                        <a:pt x="459" y="453"/>
                      </a:moveTo>
                      <a:lnTo>
                        <a:pt x="441" y="435"/>
                      </a:lnTo>
                      <a:lnTo>
                        <a:pt x="437" y="441"/>
                      </a:lnTo>
                      <a:lnTo>
                        <a:pt x="453" y="459"/>
                      </a:lnTo>
                      <a:lnTo>
                        <a:pt x="459" y="453"/>
                      </a:lnTo>
                      <a:close/>
                      <a:moveTo>
                        <a:pt x="491" y="485"/>
                      </a:moveTo>
                      <a:lnTo>
                        <a:pt x="475" y="469"/>
                      </a:lnTo>
                      <a:lnTo>
                        <a:pt x="469" y="475"/>
                      </a:lnTo>
                      <a:lnTo>
                        <a:pt x="487" y="491"/>
                      </a:lnTo>
                      <a:lnTo>
                        <a:pt x="491" y="485"/>
                      </a:lnTo>
                      <a:close/>
                      <a:moveTo>
                        <a:pt x="525" y="519"/>
                      </a:moveTo>
                      <a:lnTo>
                        <a:pt x="509" y="503"/>
                      </a:lnTo>
                      <a:lnTo>
                        <a:pt x="503" y="509"/>
                      </a:lnTo>
                      <a:lnTo>
                        <a:pt x="519" y="525"/>
                      </a:lnTo>
                      <a:lnTo>
                        <a:pt x="525" y="519"/>
                      </a:lnTo>
                      <a:close/>
                      <a:moveTo>
                        <a:pt x="559" y="553"/>
                      </a:moveTo>
                      <a:lnTo>
                        <a:pt x="541" y="537"/>
                      </a:lnTo>
                      <a:lnTo>
                        <a:pt x="537" y="541"/>
                      </a:lnTo>
                      <a:lnTo>
                        <a:pt x="553" y="559"/>
                      </a:lnTo>
                      <a:lnTo>
                        <a:pt x="559" y="553"/>
                      </a:lnTo>
                      <a:close/>
                      <a:moveTo>
                        <a:pt x="593" y="587"/>
                      </a:moveTo>
                      <a:lnTo>
                        <a:pt x="575" y="569"/>
                      </a:lnTo>
                      <a:lnTo>
                        <a:pt x="569" y="575"/>
                      </a:lnTo>
                      <a:lnTo>
                        <a:pt x="587" y="591"/>
                      </a:lnTo>
                      <a:lnTo>
                        <a:pt x="593" y="587"/>
                      </a:lnTo>
                      <a:close/>
                      <a:moveTo>
                        <a:pt x="625" y="619"/>
                      </a:moveTo>
                      <a:lnTo>
                        <a:pt x="609" y="603"/>
                      </a:lnTo>
                      <a:lnTo>
                        <a:pt x="603" y="609"/>
                      </a:lnTo>
                      <a:lnTo>
                        <a:pt x="619" y="625"/>
                      </a:lnTo>
                      <a:lnTo>
                        <a:pt x="625" y="619"/>
                      </a:lnTo>
                      <a:close/>
                      <a:moveTo>
                        <a:pt x="659" y="653"/>
                      </a:moveTo>
                      <a:lnTo>
                        <a:pt x="643" y="637"/>
                      </a:lnTo>
                      <a:lnTo>
                        <a:pt x="637" y="641"/>
                      </a:lnTo>
                      <a:lnTo>
                        <a:pt x="653" y="659"/>
                      </a:lnTo>
                      <a:lnTo>
                        <a:pt x="659" y="653"/>
                      </a:lnTo>
                      <a:close/>
                      <a:moveTo>
                        <a:pt x="693" y="687"/>
                      </a:moveTo>
                      <a:lnTo>
                        <a:pt x="675" y="669"/>
                      </a:lnTo>
                      <a:lnTo>
                        <a:pt x="671" y="675"/>
                      </a:lnTo>
                      <a:lnTo>
                        <a:pt x="687" y="691"/>
                      </a:lnTo>
                      <a:lnTo>
                        <a:pt x="693" y="687"/>
                      </a:lnTo>
                      <a:close/>
                      <a:moveTo>
                        <a:pt x="725" y="719"/>
                      </a:moveTo>
                      <a:lnTo>
                        <a:pt x="709" y="703"/>
                      </a:lnTo>
                      <a:lnTo>
                        <a:pt x="703" y="709"/>
                      </a:lnTo>
                      <a:lnTo>
                        <a:pt x="721" y="725"/>
                      </a:lnTo>
                      <a:lnTo>
                        <a:pt x="725" y="719"/>
                      </a:lnTo>
                      <a:close/>
                      <a:moveTo>
                        <a:pt x="759" y="753"/>
                      </a:moveTo>
                      <a:lnTo>
                        <a:pt x="743" y="737"/>
                      </a:lnTo>
                      <a:lnTo>
                        <a:pt x="737" y="743"/>
                      </a:lnTo>
                      <a:lnTo>
                        <a:pt x="753" y="759"/>
                      </a:lnTo>
                      <a:lnTo>
                        <a:pt x="759" y="753"/>
                      </a:lnTo>
                      <a:close/>
                      <a:moveTo>
                        <a:pt x="793" y="787"/>
                      </a:moveTo>
                      <a:lnTo>
                        <a:pt x="775" y="769"/>
                      </a:lnTo>
                      <a:lnTo>
                        <a:pt x="771" y="775"/>
                      </a:lnTo>
                      <a:lnTo>
                        <a:pt x="787" y="793"/>
                      </a:lnTo>
                      <a:lnTo>
                        <a:pt x="793" y="78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203" name="Freeform 13">
                  <a:extLst>
                    <a:ext uri="{FF2B5EF4-FFF2-40B4-BE49-F238E27FC236}">
                      <a16:creationId xmlns:a16="http://schemas.microsoft.com/office/drawing/2014/main" id="{93FDC33A-5A88-3D27-7CE4-0EEFF3D4809F}"/>
                    </a:ext>
                  </a:extLst>
                </p:cNvPr>
                <p:cNvSpPr>
                  <a:spLocks/>
                </p:cNvSpPr>
                <p:nvPr/>
              </p:nvSpPr>
              <p:spPr bwMode="auto">
                <a:xfrm>
                  <a:off x="639" y="3544"/>
                  <a:ext cx="793" cy="793"/>
                </a:xfrm>
                <a:custGeom>
                  <a:avLst/>
                  <a:gdLst>
                    <a:gd name="T0" fmla="*/ 6 w 793"/>
                    <a:gd name="T1" fmla="*/ 0 h 793"/>
                    <a:gd name="T2" fmla="*/ 18 w 793"/>
                    <a:gd name="T3" fmla="*/ 24 h 793"/>
                    <a:gd name="T4" fmla="*/ 56 w 793"/>
                    <a:gd name="T5" fmla="*/ 50 h 793"/>
                    <a:gd name="T6" fmla="*/ 34 w 793"/>
                    <a:gd name="T7" fmla="*/ 40 h 793"/>
                    <a:gd name="T8" fmla="*/ 56 w 793"/>
                    <a:gd name="T9" fmla="*/ 50 h 793"/>
                    <a:gd name="T10" fmla="*/ 74 w 793"/>
                    <a:gd name="T11" fmla="*/ 68 h 793"/>
                    <a:gd name="T12" fmla="*/ 84 w 793"/>
                    <a:gd name="T13" fmla="*/ 90 h 793"/>
                    <a:gd name="T14" fmla="*/ 124 w 793"/>
                    <a:gd name="T15" fmla="*/ 118 h 793"/>
                    <a:gd name="T16" fmla="*/ 100 w 793"/>
                    <a:gd name="T17" fmla="*/ 106 h 793"/>
                    <a:gd name="T18" fmla="*/ 124 w 793"/>
                    <a:gd name="T19" fmla="*/ 118 h 793"/>
                    <a:gd name="T20" fmla="*/ 140 w 793"/>
                    <a:gd name="T21" fmla="*/ 134 h 793"/>
                    <a:gd name="T22" fmla="*/ 150 w 793"/>
                    <a:gd name="T23" fmla="*/ 156 h 793"/>
                    <a:gd name="T24" fmla="*/ 191 w 793"/>
                    <a:gd name="T25" fmla="*/ 184 h 793"/>
                    <a:gd name="T26" fmla="*/ 168 w 793"/>
                    <a:gd name="T27" fmla="*/ 174 h 793"/>
                    <a:gd name="T28" fmla="*/ 191 w 793"/>
                    <a:gd name="T29" fmla="*/ 184 h 793"/>
                    <a:gd name="T30" fmla="*/ 207 w 793"/>
                    <a:gd name="T31" fmla="*/ 202 h 793"/>
                    <a:gd name="T32" fmla="*/ 219 w 793"/>
                    <a:gd name="T33" fmla="*/ 224 h 793"/>
                    <a:gd name="T34" fmla="*/ 257 w 793"/>
                    <a:gd name="T35" fmla="*/ 253 h 793"/>
                    <a:gd name="T36" fmla="*/ 235 w 793"/>
                    <a:gd name="T37" fmla="*/ 240 h 793"/>
                    <a:gd name="T38" fmla="*/ 257 w 793"/>
                    <a:gd name="T39" fmla="*/ 253 h 793"/>
                    <a:gd name="T40" fmla="*/ 275 w 793"/>
                    <a:gd name="T41" fmla="*/ 269 h 793"/>
                    <a:gd name="T42" fmla="*/ 285 w 793"/>
                    <a:gd name="T43" fmla="*/ 291 h 793"/>
                    <a:gd name="T44" fmla="*/ 325 w 793"/>
                    <a:gd name="T45" fmla="*/ 319 h 793"/>
                    <a:gd name="T46" fmla="*/ 303 w 793"/>
                    <a:gd name="T47" fmla="*/ 309 h 793"/>
                    <a:gd name="T48" fmla="*/ 325 w 793"/>
                    <a:gd name="T49" fmla="*/ 319 h 793"/>
                    <a:gd name="T50" fmla="*/ 341 w 793"/>
                    <a:gd name="T51" fmla="*/ 335 h 793"/>
                    <a:gd name="T52" fmla="*/ 353 w 793"/>
                    <a:gd name="T53" fmla="*/ 359 h 793"/>
                    <a:gd name="T54" fmla="*/ 391 w 793"/>
                    <a:gd name="T55" fmla="*/ 385 h 793"/>
                    <a:gd name="T56" fmla="*/ 369 w 793"/>
                    <a:gd name="T57" fmla="*/ 375 h 793"/>
                    <a:gd name="T58" fmla="*/ 391 w 793"/>
                    <a:gd name="T59" fmla="*/ 385 h 793"/>
                    <a:gd name="T60" fmla="*/ 409 w 793"/>
                    <a:gd name="T61" fmla="*/ 403 h 793"/>
                    <a:gd name="T62" fmla="*/ 419 w 793"/>
                    <a:gd name="T63" fmla="*/ 425 h 793"/>
                    <a:gd name="T64" fmla="*/ 459 w 793"/>
                    <a:gd name="T65" fmla="*/ 453 h 793"/>
                    <a:gd name="T66" fmla="*/ 437 w 793"/>
                    <a:gd name="T67" fmla="*/ 441 h 793"/>
                    <a:gd name="T68" fmla="*/ 459 w 793"/>
                    <a:gd name="T69" fmla="*/ 453 h 793"/>
                    <a:gd name="T70" fmla="*/ 475 w 793"/>
                    <a:gd name="T71" fmla="*/ 469 h 793"/>
                    <a:gd name="T72" fmla="*/ 487 w 793"/>
                    <a:gd name="T73" fmla="*/ 491 h 793"/>
                    <a:gd name="T74" fmla="*/ 525 w 793"/>
                    <a:gd name="T75" fmla="*/ 519 h 793"/>
                    <a:gd name="T76" fmla="*/ 503 w 793"/>
                    <a:gd name="T77" fmla="*/ 509 h 793"/>
                    <a:gd name="T78" fmla="*/ 525 w 793"/>
                    <a:gd name="T79" fmla="*/ 519 h 793"/>
                    <a:gd name="T80" fmla="*/ 541 w 793"/>
                    <a:gd name="T81" fmla="*/ 537 h 793"/>
                    <a:gd name="T82" fmla="*/ 553 w 793"/>
                    <a:gd name="T83" fmla="*/ 559 h 793"/>
                    <a:gd name="T84" fmla="*/ 593 w 793"/>
                    <a:gd name="T85" fmla="*/ 587 h 793"/>
                    <a:gd name="T86" fmla="*/ 569 w 793"/>
                    <a:gd name="T87" fmla="*/ 575 h 793"/>
                    <a:gd name="T88" fmla="*/ 593 w 793"/>
                    <a:gd name="T89" fmla="*/ 587 h 793"/>
                    <a:gd name="T90" fmla="*/ 609 w 793"/>
                    <a:gd name="T91" fmla="*/ 603 h 793"/>
                    <a:gd name="T92" fmla="*/ 619 w 793"/>
                    <a:gd name="T93" fmla="*/ 625 h 793"/>
                    <a:gd name="T94" fmla="*/ 659 w 793"/>
                    <a:gd name="T95" fmla="*/ 653 h 793"/>
                    <a:gd name="T96" fmla="*/ 637 w 793"/>
                    <a:gd name="T97" fmla="*/ 641 h 793"/>
                    <a:gd name="T98" fmla="*/ 659 w 793"/>
                    <a:gd name="T99" fmla="*/ 653 h 793"/>
                    <a:gd name="T100" fmla="*/ 675 w 793"/>
                    <a:gd name="T101" fmla="*/ 669 h 793"/>
                    <a:gd name="T102" fmla="*/ 687 w 793"/>
                    <a:gd name="T103" fmla="*/ 691 h 793"/>
                    <a:gd name="T104" fmla="*/ 725 w 793"/>
                    <a:gd name="T105" fmla="*/ 719 h 793"/>
                    <a:gd name="T106" fmla="*/ 703 w 793"/>
                    <a:gd name="T107" fmla="*/ 709 h 793"/>
                    <a:gd name="T108" fmla="*/ 725 w 793"/>
                    <a:gd name="T109" fmla="*/ 719 h 793"/>
                    <a:gd name="T110" fmla="*/ 743 w 793"/>
                    <a:gd name="T111" fmla="*/ 737 h 793"/>
                    <a:gd name="T112" fmla="*/ 753 w 793"/>
                    <a:gd name="T113" fmla="*/ 759 h 793"/>
                    <a:gd name="T114" fmla="*/ 793 w 793"/>
                    <a:gd name="T115" fmla="*/ 787 h 793"/>
                    <a:gd name="T116" fmla="*/ 771 w 793"/>
                    <a:gd name="T117" fmla="*/ 775 h 793"/>
                    <a:gd name="T118" fmla="*/ 793 w 793"/>
                    <a:gd name="T119" fmla="*/ 787 h 7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93" h="793">
                      <a:moveTo>
                        <a:pt x="22" y="18"/>
                      </a:moveTo>
                      <a:lnTo>
                        <a:pt x="6" y="0"/>
                      </a:lnTo>
                      <a:lnTo>
                        <a:pt x="0" y="6"/>
                      </a:lnTo>
                      <a:lnTo>
                        <a:pt x="18" y="24"/>
                      </a:lnTo>
                      <a:lnTo>
                        <a:pt x="22" y="18"/>
                      </a:lnTo>
                      <a:moveTo>
                        <a:pt x="56" y="50"/>
                      </a:moveTo>
                      <a:lnTo>
                        <a:pt x="40" y="34"/>
                      </a:lnTo>
                      <a:lnTo>
                        <a:pt x="34" y="40"/>
                      </a:lnTo>
                      <a:lnTo>
                        <a:pt x="50" y="56"/>
                      </a:lnTo>
                      <a:lnTo>
                        <a:pt x="56" y="50"/>
                      </a:lnTo>
                      <a:moveTo>
                        <a:pt x="90" y="84"/>
                      </a:moveTo>
                      <a:lnTo>
                        <a:pt x="74" y="68"/>
                      </a:lnTo>
                      <a:lnTo>
                        <a:pt x="68" y="74"/>
                      </a:lnTo>
                      <a:lnTo>
                        <a:pt x="84" y="90"/>
                      </a:lnTo>
                      <a:lnTo>
                        <a:pt x="90" y="84"/>
                      </a:lnTo>
                      <a:moveTo>
                        <a:pt x="124" y="118"/>
                      </a:moveTo>
                      <a:lnTo>
                        <a:pt x="106" y="102"/>
                      </a:lnTo>
                      <a:lnTo>
                        <a:pt x="100" y="106"/>
                      </a:lnTo>
                      <a:lnTo>
                        <a:pt x="118" y="124"/>
                      </a:lnTo>
                      <a:lnTo>
                        <a:pt x="124" y="118"/>
                      </a:lnTo>
                      <a:moveTo>
                        <a:pt x="156" y="152"/>
                      </a:moveTo>
                      <a:lnTo>
                        <a:pt x="140" y="134"/>
                      </a:lnTo>
                      <a:lnTo>
                        <a:pt x="134" y="140"/>
                      </a:lnTo>
                      <a:lnTo>
                        <a:pt x="150" y="156"/>
                      </a:lnTo>
                      <a:lnTo>
                        <a:pt x="156" y="152"/>
                      </a:lnTo>
                      <a:moveTo>
                        <a:pt x="191" y="184"/>
                      </a:moveTo>
                      <a:lnTo>
                        <a:pt x="174" y="168"/>
                      </a:lnTo>
                      <a:lnTo>
                        <a:pt x="168" y="174"/>
                      </a:lnTo>
                      <a:lnTo>
                        <a:pt x="185" y="190"/>
                      </a:lnTo>
                      <a:lnTo>
                        <a:pt x="191" y="184"/>
                      </a:lnTo>
                      <a:moveTo>
                        <a:pt x="225" y="218"/>
                      </a:moveTo>
                      <a:lnTo>
                        <a:pt x="207" y="202"/>
                      </a:lnTo>
                      <a:lnTo>
                        <a:pt x="203" y="206"/>
                      </a:lnTo>
                      <a:lnTo>
                        <a:pt x="219" y="224"/>
                      </a:lnTo>
                      <a:lnTo>
                        <a:pt x="225" y="218"/>
                      </a:lnTo>
                      <a:moveTo>
                        <a:pt x="257" y="253"/>
                      </a:moveTo>
                      <a:lnTo>
                        <a:pt x="241" y="234"/>
                      </a:lnTo>
                      <a:lnTo>
                        <a:pt x="235" y="240"/>
                      </a:lnTo>
                      <a:lnTo>
                        <a:pt x="253" y="257"/>
                      </a:lnTo>
                      <a:lnTo>
                        <a:pt x="257" y="253"/>
                      </a:lnTo>
                      <a:moveTo>
                        <a:pt x="291" y="285"/>
                      </a:moveTo>
                      <a:lnTo>
                        <a:pt x="275" y="269"/>
                      </a:lnTo>
                      <a:lnTo>
                        <a:pt x="269" y="275"/>
                      </a:lnTo>
                      <a:lnTo>
                        <a:pt x="285" y="291"/>
                      </a:lnTo>
                      <a:lnTo>
                        <a:pt x="291" y="285"/>
                      </a:lnTo>
                      <a:moveTo>
                        <a:pt x="325" y="319"/>
                      </a:moveTo>
                      <a:lnTo>
                        <a:pt x="307" y="303"/>
                      </a:lnTo>
                      <a:lnTo>
                        <a:pt x="303" y="309"/>
                      </a:lnTo>
                      <a:lnTo>
                        <a:pt x="319" y="325"/>
                      </a:lnTo>
                      <a:lnTo>
                        <a:pt x="325" y="319"/>
                      </a:lnTo>
                      <a:moveTo>
                        <a:pt x="359" y="353"/>
                      </a:moveTo>
                      <a:lnTo>
                        <a:pt x="341" y="335"/>
                      </a:lnTo>
                      <a:lnTo>
                        <a:pt x="335" y="341"/>
                      </a:lnTo>
                      <a:lnTo>
                        <a:pt x="353" y="359"/>
                      </a:lnTo>
                      <a:lnTo>
                        <a:pt x="359" y="353"/>
                      </a:lnTo>
                      <a:moveTo>
                        <a:pt x="391" y="385"/>
                      </a:moveTo>
                      <a:lnTo>
                        <a:pt x="375" y="369"/>
                      </a:lnTo>
                      <a:lnTo>
                        <a:pt x="369" y="375"/>
                      </a:lnTo>
                      <a:lnTo>
                        <a:pt x="385" y="391"/>
                      </a:lnTo>
                      <a:lnTo>
                        <a:pt x="391" y="385"/>
                      </a:lnTo>
                      <a:moveTo>
                        <a:pt x="425" y="419"/>
                      </a:moveTo>
                      <a:lnTo>
                        <a:pt x="409" y="403"/>
                      </a:lnTo>
                      <a:lnTo>
                        <a:pt x="403" y="409"/>
                      </a:lnTo>
                      <a:lnTo>
                        <a:pt x="419" y="425"/>
                      </a:lnTo>
                      <a:lnTo>
                        <a:pt x="425" y="419"/>
                      </a:lnTo>
                      <a:moveTo>
                        <a:pt x="459" y="453"/>
                      </a:moveTo>
                      <a:lnTo>
                        <a:pt x="441" y="435"/>
                      </a:lnTo>
                      <a:lnTo>
                        <a:pt x="437" y="441"/>
                      </a:lnTo>
                      <a:lnTo>
                        <a:pt x="453" y="459"/>
                      </a:lnTo>
                      <a:lnTo>
                        <a:pt x="459" y="453"/>
                      </a:lnTo>
                      <a:moveTo>
                        <a:pt x="491" y="485"/>
                      </a:moveTo>
                      <a:lnTo>
                        <a:pt x="475" y="469"/>
                      </a:lnTo>
                      <a:lnTo>
                        <a:pt x="469" y="475"/>
                      </a:lnTo>
                      <a:lnTo>
                        <a:pt x="487" y="491"/>
                      </a:lnTo>
                      <a:lnTo>
                        <a:pt x="491" y="485"/>
                      </a:lnTo>
                      <a:moveTo>
                        <a:pt x="525" y="519"/>
                      </a:moveTo>
                      <a:lnTo>
                        <a:pt x="509" y="503"/>
                      </a:lnTo>
                      <a:lnTo>
                        <a:pt x="503" y="509"/>
                      </a:lnTo>
                      <a:lnTo>
                        <a:pt x="519" y="525"/>
                      </a:lnTo>
                      <a:lnTo>
                        <a:pt x="525" y="519"/>
                      </a:lnTo>
                      <a:moveTo>
                        <a:pt x="559" y="553"/>
                      </a:moveTo>
                      <a:lnTo>
                        <a:pt x="541" y="537"/>
                      </a:lnTo>
                      <a:lnTo>
                        <a:pt x="537" y="541"/>
                      </a:lnTo>
                      <a:lnTo>
                        <a:pt x="553" y="559"/>
                      </a:lnTo>
                      <a:lnTo>
                        <a:pt x="559" y="553"/>
                      </a:lnTo>
                      <a:moveTo>
                        <a:pt x="593" y="587"/>
                      </a:moveTo>
                      <a:lnTo>
                        <a:pt x="575" y="569"/>
                      </a:lnTo>
                      <a:lnTo>
                        <a:pt x="569" y="575"/>
                      </a:lnTo>
                      <a:lnTo>
                        <a:pt x="587" y="591"/>
                      </a:lnTo>
                      <a:lnTo>
                        <a:pt x="593" y="587"/>
                      </a:lnTo>
                      <a:moveTo>
                        <a:pt x="625" y="619"/>
                      </a:moveTo>
                      <a:lnTo>
                        <a:pt x="609" y="603"/>
                      </a:lnTo>
                      <a:lnTo>
                        <a:pt x="603" y="609"/>
                      </a:lnTo>
                      <a:lnTo>
                        <a:pt x="619" y="625"/>
                      </a:lnTo>
                      <a:lnTo>
                        <a:pt x="625" y="619"/>
                      </a:lnTo>
                      <a:moveTo>
                        <a:pt x="659" y="653"/>
                      </a:moveTo>
                      <a:lnTo>
                        <a:pt x="643" y="637"/>
                      </a:lnTo>
                      <a:lnTo>
                        <a:pt x="637" y="641"/>
                      </a:lnTo>
                      <a:lnTo>
                        <a:pt x="653" y="659"/>
                      </a:lnTo>
                      <a:lnTo>
                        <a:pt x="659" y="653"/>
                      </a:lnTo>
                      <a:moveTo>
                        <a:pt x="693" y="687"/>
                      </a:moveTo>
                      <a:lnTo>
                        <a:pt x="675" y="669"/>
                      </a:lnTo>
                      <a:lnTo>
                        <a:pt x="671" y="675"/>
                      </a:lnTo>
                      <a:lnTo>
                        <a:pt x="687" y="691"/>
                      </a:lnTo>
                      <a:lnTo>
                        <a:pt x="693" y="687"/>
                      </a:lnTo>
                      <a:moveTo>
                        <a:pt x="725" y="719"/>
                      </a:moveTo>
                      <a:lnTo>
                        <a:pt x="709" y="703"/>
                      </a:lnTo>
                      <a:lnTo>
                        <a:pt x="703" y="709"/>
                      </a:lnTo>
                      <a:lnTo>
                        <a:pt x="721" y="725"/>
                      </a:lnTo>
                      <a:lnTo>
                        <a:pt x="725" y="719"/>
                      </a:lnTo>
                      <a:moveTo>
                        <a:pt x="759" y="753"/>
                      </a:moveTo>
                      <a:lnTo>
                        <a:pt x="743" y="737"/>
                      </a:lnTo>
                      <a:lnTo>
                        <a:pt x="737" y="743"/>
                      </a:lnTo>
                      <a:lnTo>
                        <a:pt x="753" y="759"/>
                      </a:lnTo>
                      <a:lnTo>
                        <a:pt x="759" y="753"/>
                      </a:lnTo>
                      <a:moveTo>
                        <a:pt x="793" y="787"/>
                      </a:moveTo>
                      <a:lnTo>
                        <a:pt x="775" y="769"/>
                      </a:lnTo>
                      <a:lnTo>
                        <a:pt x="771" y="775"/>
                      </a:lnTo>
                      <a:lnTo>
                        <a:pt x="787" y="793"/>
                      </a:lnTo>
                      <a:lnTo>
                        <a:pt x="793" y="78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204" name="Freeform 14">
                  <a:extLst>
                    <a:ext uri="{FF2B5EF4-FFF2-40B4-BE49-F238E27FC236}">
                      <a16:creationId xmlns:a16="http://schemas.microsoft.com/office/drawing/2014/main" id="{5979DDE1-65E7-AB59-120C-1AC40AF230E5}"/>
                    </a:ext>
                  </a:extLst>
                </p:cNvPr>
                <p:cNvSpPr>
                  <a:spLocks/>
                </p:cNvSpPr>
                <p:nvPr/>
              </p:nvSpPr>
              <p:spPr bwMode="auto">
                <a:xfrm>
                  <a:off x="615" y="3520"/>
                  <a:ext cx="14" cy="14"/>
                </a:xfrm>
                <a:custGeom>
                  <a:avLst/>
                  <a:gdLst>
                    <a:gd name="T0" fmla="*/ 14 w 14"/>
                    <a:gd name="T1" fmla="*/ 8 h 14"/>
                    <a:gd name="T2" fmla="*/ 4 w 14"/>
                    <a:gd name="T3" fmla="*/ 0 h 14"/>
                    <a:gd name="T4" fmla="*/ 0 w 14"/>
                    <a:gd name="T5" fmla="*/ 6 h 14"/>
                    <a:gd name="T6" fmla="*/ 8 w 14"/>
                    <a:gd name="T7" fmla="*/ 14 h 14"/>
                    <a:gd name="T8" fmla="*/ 14 w 14"/>
                    <a:gd name="T9" fmla="*/ 8 h 14"/>
                  </a:gdLst>
                  <a:ahLst/>
                  <a:cxnLst>
                    <a:cxn ang="0">
                      <a:pos x="T0" y="T1"/>
                    </a:cxn>
                    <a:cxn ang="0">
                      <a:pos x="T2" y="T3"/>
                    </a:cxn>
                    <a:cxn ang="0">
                      <a:pos x="T4" y="T5"/>
                    </a:cxn>
                    <a:cxn ang="0">
                      <a:pos x="T6" y="T7"/>
                    </a:cxn>
                    <a:cxn ang="0">
                      <a:pos x="T8" y="T9"/>
                    </a:cxn>
                  </a:cxnLst>
                  <a:rect l="0" t="0" r="r" b="b"/>
                  <a:pathLst>
                    <a:path w="14" h="14">
                      <a:moveTo>
                        <a:pt x="14" y="8"/>
                      </a:moveTo>
                      <a:lnTo>
                        <a:pt x="4" y="0"/>
                      </a:lnTo>
                      <a:lnTo>
                        <a:pt x="0" y="6"/>
                      </a:lnTo>
                      <a:lnTo>
                        <a:pt x="8" y="14"/>
                      </a:lnTo>
                      <a:lnTo>
                        <a:pt x="14"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205" name="Freeform 15">
                  <a:extLst>
                    <a:ext uri="{FF2B5EF4-FFF2-40B4-BE49-F238E27FC236}">
                      <a16:creationId xmlns:a16="http://schemas.microsoft.com/office/drawing/2014/main" id="{B1C6ED51-DF52-B621-2DB1-4701F46461B5}"/>
                    </a:ext>
                  </a:extLst>
                </p:cNvPr>
                <p:cNvSpPr>
                  <a:spLocks/>
                </p:cNvSpPr>
                <p:nvPr/>
              </p:nvSpPr>
              <p:spPr bwMode="auto">
                <a:xfrm>
                  <a:off x="615" y="3520"/>
                  <a:ext cx="14" cy="14"/>
                </a:xfrm>
                <a:custGeom>
                  <a:avLst/>
                  <a:gdLst>
                    <a:gd name="T0" fmla="*/ 14 w 14"/>
                    <a:gd name="T1" fmla="*/ 8 h 14"/>
                    <a:gd name="T2" fmla="*/ 4 w 14"/>
                    <a:gd name="T3" fmla="*/ 0 h 14"/>
                    <a:gd name="T4" fmla="*/ 0 w 14"/>
                    <a:gd name="T5" fmla="*/ 6 h 14"/>
                    <a:gd name="T6" fmla="*/ 8 w 14"/>
                    <a:gd name="T7" fmla="*/ 14 h 14"/>
                  </a:gdLst>
                  <a:ahLst/>
                  <a:cxnLst>
                    <a:cxn ang="0">
                      <a:pos x="T0" y="T1"/>
                    </a:cxn>
                    <a:cxn ang="0">
                      <a:pos x="T2" y="T3"/>
                    </a:cxn>
                    <a:cxn ang="0">
                      <a:pos x="T4" y="T5"/>
                    </a:cxn>
                    <a:cxn ang="0">
                      <a:pos x="T6" y="T7"/>
                    </a:cxn>
                  </a:cxnLst>
                  <a:rect l="0" t="0" r="r" b="b"/>
                  <a:pathLst>
                    <a:path w="14" h="14">
                      <a:moveTo>
                        <a:pt x="14" y="8"/>
                      </a:moveTo>
                      <a:lnTo>
                        <a:pt x="4" y="0"/>
                      </a:lnTo>
                      <a:lnTo>
                        <a:pt x="0" y="6"/>
                      </a:lnTo>
                      <a:lnTo>
                        <a:pt x="8"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206" name="Rectangle 16">
                  <a:extLst>
                    <a:ext uri="{FF2B5EF4-FFF2-40B4-BE49-F238E27FC236}">
                      <a16:creationId xmlns:a16="http://schemas.microsoft.com/office/drawing/2014/main" id="{569033C9-B56A-7CA6-9B3A-F0B717B788D0}"/>
                    </a:ext>
                  </a:extLst>
                </p:cNvPr>
                <p:cNvSpPr>
                  <a:spLocks/>
                </p:cNvSpPr>
                <p:nvPr/>
              </p:nvSpPr>
              <p:spPr bwMode="auto">
                <a:xfrm>
                  <a:off x="701" y="2777"/>
                  <a:ext cx="1011" cy="615"/>
                </a:xfrm>
                <a:prstGeom prst="rect">
                  <a:avLst/>
                </a:prstGeom>
                <a:solidFill>
                  <a:srgbClr val="7BAC3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207" name="Rectangle 17">
                  <a:extLst>
                    <a:ext uri="{FF2B5EF4-FFF2-40B4-BE49-F238E27FC236}">
                      <a16:creationId xmlns:a16="http://schemas.microsoft.com/office/drawing/2014/main" id="{11AAD8D7-1DE7-FBE0-E5F2-FC1E274D58B1}"/>
                    </a:ext>
                  </a:extLst>
                </p:cNvPr>
                <p:cNvSpPr>
                  <a:spLocks/>
                </p:cNvSpPr>
                <p:nvPr/>
              </p:nvSpPr>
              <p:spPr bwMode="auto">
                <a:xfrm>
                  <a:off x="701" y="2777"/>
                  <a:ext cx="1011" cy="6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208" name="Rectangle 18">
                  <a:extLst>
                    <a:ext uri="{FF2B5EF4-FFF2-40B4-BE49-F238E27FC236}">
                      <a16:creationId xmlns:a16="http://schemas.microsoft.com/office/drawing/2014/main" id="{6D7C33C1-5329-AAB6-FB44-D24BDEE7EDB7}"/>
                    </a:ext>
                  </a:extLst>
                </p:cNvPr>
                <p:cNvSpPr>
                  <a:spLocks/>
                </p:cNvSpPr>
                <p:nvPr/>
              </p:nvSpPr>
              <p:spPr bwMode="auto">
                <a:xfrm>
                  <a:off x="1164" y="2873"/>
                  <a:ext cx="1009" cy="76"/>
                </a:xfrm>
                <a:prstGeom prst="rect">
                  <a:avLst/>
                </a:prstGeom>
                <a:solidFill>
                  <a:srgbClr val="7BAC3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209" name="Rectangle 19">
                  <a:extLst>
                    <a:ext uri="{FF2B5EF4-FFF2-40B4-BE49-F238E27FC236}">
                      <a16:creationId xmlns:a16="http://schemas.microsoft.com/office/drawing/2014/main" id="{CD64970B-5D3E-A735-D523-C12560391DD3}"/>
                    </a:ext>
                  </a:extLst>
                </p:cNvPr>
                <p:cNvSpPr>
                  <a:spLocks/>
                </p:cNvSpPr>
                <p:nvPr/>
              </p:nvSpPr>
              <p:spPr bwMode="auto">
                <a:xfrm>
                  <a:off x="1164" y="2873"/>
                  <a:ext cx="1009" cy="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210" name="Rectangle 20">
                  <a:extLst>
                    <a:ext uri="{FF2B5EF4-FFF2-40B4-BE49-F238E27FC236}">
                      <a16:creationId xmlns:a16="http://schemas.microsoft.com/office/drawing/2014/main" id="{80037CAE-638A-4749-9AD6-D97DA76C621C}"/>
                    </a:ext>
                  </a:extLst>
                </p:cNvPr>
                <p:cNvSpPr>
                  <a:spLocks/>
                </p:cNvSpPr>
                <p:nvPr/>
              </p:nvSpPr>
              <p:spPr bwMode="auto">
                <a:xfrm>
                  <a:off x="3528" y="2937"/>
                  <a:ext cx="901" cy="178"/>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211" name="Rectangle 21">
                  <a:extLst>
                    <a:ext uri="{FF2B5EF4-FFF2-40B4-BE49-F238E27FC236}">
                      <a16:creationId xmlns:a16="http://schemas.microsoft.com/office/drawing/2014/main" id="{CB051F9D-B6BA-93E6-A52E-5111D7ADC9A1}"/>
                    </a:ext>
                  </a:extLst>
                </p:cNvPr>
                <p:cNvSpPr>
                  <a:spLocks/>
                </p:cNvSpPr>
                <p:nvPr/>
              </p:nvSpPr>
              <p:spPr bwMode="auto">
                <a:xfrm>
                  <a:off x="3528" y="2937"/>
                  <a:ext cx="901" cy="1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212" name="Freeform 22">
                  <a:extLst>
                    <a:ext uri="{FF2B5EF4-FFF2-40B4-BE49-F238E27FC236}">
                      <a16:creationId xmlns:a16="http://schemas.microsoft.com/office/drawing/2014/main" id="{76DB6F2D-4B36-EF24-164E-4CDF2B328C07}"/>
                    </a:ext>
                  </a:extLst>
                </p:cNvPr>
                <p:cNvSpPr>
                  <a:spLocks/>
                </p:cNvSpPr>
                <p:nvPr/>
              </p:nvSpPr>
              <p:spPr bwMode="auto">
                <a:xfrm>
                  <a:off x="2417" y="1957"/>
                  <a:ext cx="477" cy="906"/>
                </a:xfrm>
                <a:custGeom>
                  <a:avLst/>
                  <a:gdLst>
                    <a:gd name="T0" fmla="*/ 310 w 477"/>
                    <a:gd name="T1" fmla="*/ 906 h 906"/>
                    <a:gd name="T2" fmla="*/ 0 w 477"/>
                    <a:gd name="T3" fmla="*/ 63 h 906"/>
                    <a:gd name="T4" fmla="*/ 166 w 477"/>
                    <a:gd name="T5" fmla="*/ 0 h 906"/>
                    <a:gd name="T6" fmla="*/ 477 w 477"/>
                    <a:gd name="T7" fmla="*/ 846 h 906"/>
                    <a:gd name="T8" fmla="*/ 310 w 477"/>
                    <a:gd name="T9" fmla="*/ 906 h 906"/>
                  </a:gdLst>
                  <a:ahLst/>
                  <a:cxnLst>
                    <a:cxn ang="0">
                      <a:pos x="T0" y="T1"/>
                    </a:cxn>
                    <a:cxn ang="0">
                      <a:pos x="T2" y="T3"/>
                    </a:cxn>
                    <a:cxn ang="0">
                      <a:pos x="T4" y="T5"/>
                    </a:cxn>
                    <a:cxn ang="0">
                      <a:pos x="T6" y="T7"/>
                    </a:cxn>
                    <a:cxn ang="0">
                      <a:pos x="T8" y="T9"/>
                    </a:cxn>
                  </a:cxnLst>
                  <a:rect l="0" t="0" r="r" b="b"/>
                  <a:pathLst>
                    <a:path w="477" h="906">
                      <a:moveTo>
                        <a:pt x="310" y="906"/>
                      </a:moveTo>
                      <a:lnTo>
                        <a:pt x="0" y="63"/>
                      </a:lnTo>
                      <a:lnTo>
                        <a:pt x="166" y="0"/>
                      </a:lnTo>
                      <a:lnTo>
                        <a:pt x="477" y="846"/>
                      </a:lnTo>
                      <a:lnTo>
                        <a:pt x="310" y="906"/>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213" name="Rectangle 23">
                  <a:extLst>
                    <a:ext uri="{FF2B5EF4-FFF2-40B4-BE49-F238E27FC236}">
                      <a16:creationId xmlns:a16="http://schemas.microsoft.com/office/drawing/2014/main" id="{9EC14DA3-9ED2-338F-0BAC-1EA835C5D65D}"/>
                    </a:ext>
                  </a:extLst>
                </p:cNvPr>
                <p:cNvSpPr>
                  <a:spLocks/>
                </p:cNvSpPr>
                <p:nvPr/>
              </p:nvSpPr>
              <p:spPr bwMode="auto">
                <a:xfrm>
                  <a:off x="5322" y="1290"/>
                  <a:ext cx="116" cy="3069"/>
                </a:xfrm>
                <a:prstGeom prst="rect">
                  <a:avLst/>
                </a:prstGeom>
                <a:solidFill>
                  <a:srgbClr val="BCBE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214" name="Rectangle 24">
                  <a:extLst>
                    <a:ext uri="{FF2B5EF4-FFF2-40B4-BE49-F238E27FC236}">
                      <a16:creationId xmlns:a16="http://schemas.microsoft.com/office/drawing/2014/main" id="{B0784423-CEAA-9EE8-A7BD-46CF3C3327F6}"/>
                    </a:ext>
                  </a:extLst>
                </p:cNvPr>
                <p:cNvSpPr>
                  <a:spLocks/>
                </p:cNvSpPr>
                <p:nvPr/>
              </p:nvSpPr>
              <p:spPr bwMode="auto">
                <a:xfrm>
                  <a:off x="5438" y="1290"/>
                  <a:ext cx="889" cy="3069"/>
                </a:xfrm>
                <a:prstGeom prst="rect">
                  <a:avLst/>
                </a:prstGeom>
                <a:solidFill>
                  <a:schemeClr val="accent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8694" tIns="49347" rIns="98694" bIns="49347" numCol="1" anchor="t" anchorCtr="0" compatLnSpc="1">
                  <a:prstTxWarp prst="textNoShape">
                    <a:avLst/>
                  </a:prstTxWarp>
                </a:bodyPr>
                <a:lstStyle/>
                <a:p>
                  <a:endParaRPr lang="en-AU" sz="1079" dirty="0"/>
                </a:p>
              </p:txBody>
            </p:sp>
            <p:sp>
              <p:nvSpPr>
                <p:cNvPr id="1215" name="Rectangle 25">
                  <a:extLst>
                    <a:ext uri="{FF2B5EF4-FFF2-40B4-BE49-F238E27FC236}">
                      <a16:creationId xmlns:a16="http://schemas.microsoft.com/office/drawing/2014/main" id="{D2557283-1F43-83D6-B2EC-2A5954563A74}"/>
                    </a:ext>
                  </a:extLst>
                </p:cNvPr>
                <p:cNvSpPr>
                  <a:spLocks/>
                </p:cNvSpPr>
                <p:nvPr/>
              </p:nvSpPr>
              <p:spPr bwMode="auto">
                <a:xfrm>
                  <a:off x="5438" y="1290"/>
                  <a:ext cx="889" cy="30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216" name="Rectangle 26">
                  <a:extLst>
                    <a:ext uri="{FF2B5EF4-FFF2-40B4-BE49-F238E27FC236}">
                      <a16:creationId xmlns:a16="http://schemas.microsoft.com/office/drawing/2014/main" id="{FDD2002A-B3F6-BBB7-1553-3B1719BDD248}"/>
                    </a:ext>
                  </a:extLst>
                </p:cNvPr>
                <p:cNvSpPr>
                  <a:spLocks/>
                </p:cNvSpPr>
                <p:nvPr/>
              </p:nvSpPr>
              <p:spPr bwMode="auto">
                <a:xfrm>
                  <a:off x="2155" y="2717"/>
                  <a:ext cx="1726" cy="1134"/>
                </a:xfrm>
                <a:prstGeom prst="rect">
                  <a:avLst/>
                </a:prstGeom>
                <a:solidFill>
                  <a:srgbClr val="BCBE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217" name="Rectangle 27">
                  <a:extLst>
                    <a:ext uri="{FF2B5EF4-FFF2-40B4-BE49-F238E27FC236}">
                      <a16:creationId xmlns:a16="http://schemas.microsoft.com/office/drawing/2014/main" id="{04848381-4B35-57B0-92A5-253A5565D8B6}"/>
                    </a:ext>
                  </a:extLst>
                </p:cNvPr>
                <p:cNvSpPr>
                  <a:spLocks/>
                </p:cNvSpPr>
                <p:nvPr/>
              </p:nvSpPr>
              <p:spPr bwMode="auto">
                <a:xfrm>
                  <a:off x="2155" y="2717"/>
                  <a:ext cx="1726" cy="1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218" name="Rectangle 28">
                  <a:extLst>
                    <a:ext uri="{FF2B5EF4-FFF2-40B4-BE49-F238E27FC236}">
                      <a16:creationId xmlns:a16="http://schemas.microsoft.com/office/drawing/2014/main" id="{C906985D-3E4B-41B8-66B4-2D3F52D3DB4A}"/>
                    </a:ext>
                  </a:extLst>
                </p:cNvPr>
                <p:cNvSpPr>
                  <a:spLocks/>
                </p:cNvSpPr>
                <p:nvPr/>
              </p:nvSpPr>
              <p:spPr bwMode="auto">
                <a:xfrm>
                  <a:off x="2155" y="2717"/>
                  <a:ext cx="1726" cy="567"/>
                </a:xfrm>
                <a:prstGeom prst="rect">
                  <a:avLst/>
                </a:prstGeom>
                <a:solidFill>
                  <a:srgbClr val="A7A9A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219" name="Rectangle 29">
                  <a:extLst>
                    <a:ext uri="{FF2B5EF4-FFF2-40B4-BE49-F238E27FC236}">
                      <a16:creationId xmlns:a16="http://schemas.microsoft.com/office/drawing/2014/main" id="{90300A00-DB0A-F237-B99D-A85E40FB0823}"/>
                    </a:ext>
                  </a:extLst>
                </p:cNvPr>
                <p:cNvSpPr>
                  <a:spLocks/>
                </p:cNvSpPr>
                <p:nvPr/>
              </p:nvSpPr>
              <p:spPr bwMode="auto">
                <a:xfrm>
                  <a:off x="2155" y="2717"/>
                  <a:ext cx="1726" cy="5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220" name="Freeform 30">
                  <a:extLst>
                    <a:ext uri="{FF2B5EF4-FFF2-40B4-BE49-F238E27FC236}">
                      <a16:creationId xmlns:a16="http://schemas.microsoft.com/office/drawing/2014/main" id="{120E8BDE-2B77-2B36-299A-138EB24A863B}"/>
                    </a:ext>
                  </a:extLst>
                </p:cNvPr>
                <p:cNvSpPr>
                  <a:spLocks/>
                </p:cNvSpPr>
                <p:nvPr/>
              </p:nvSpPr>
              <p:spPr bwMode="auto">
                <a:xfrm>
                  <a:off x="2155" y="2717"/>
                  <a:ext cx="566" cy="1134"/>
                </a:xfrm>
                <a:custGeom>
                  <a:avLst/>
                  <a:gdLst>
                    <a:gd name="T0" fmla="*/ 566 w 566"/>
                    <a:gd name="T1" fmla="*/ 567 h 1134"/>
                    <a:gd name="T2" fmla="*/ 0 w 566"/>
                    <a:gd name="T3" fmla="*/ 0 h 1134"/>
                    <a:gd name="T4" fmla="*/ 0 w 566"/>
                    <a:gd name="T5" fmla="*/ 1134 h 1134"/>
                    <a:gd name="T6" fmla="*/ 566 w 566"/>
                    <a:gd name="T7" fmla="*/ 567 h 1134"/>
                  </a:gdLst>
                  <a:ahLst/>
                  <a:cxnLst>
                    <a:cxn ang="0">
                      <a:pos x="T0" y="T1"/>
                    </a:cxn>
                    <a:cxn ang="0">
                      <a:pos x="T2" y="T3"/>
                    </a:cxn>
                    <a:cxn ang="0">
                      <a:pos x="T4" y="T5"/>
                    </a:cxn>
                    <a:cxn ang="0">
                      <a:pos x="T6" y="T7"/>
                    </a:cxn>
                  </a:cxnLst>
                  <a:rect l="0" t="0" r="r" b="b"/>
                  <a:pathLst>
                    <a:path w="566" h="1134">
                      <a:moveTo>
                        <a:pt x="566" y="567"/>
                      </a:moveTo>
                      <a:lnTo>
                        <a:pt x="0" y="0"/>
                      </a:lnTo>
                      <a:lnTo>
                        <a:pt x="0" y="1134"/>
                      </a:lnTo>
                      <a:lnTo>
                        <a:pt x="566" y="567"/>
                      </a:lnTo>
                      <a:close/>
                    </a:path>
                  </a:pathLst>
                </a:custGeom>
                <a:solidFill>
                  <a:srgbClr val="9D9F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221" name="Freeform 31">
                  <a:extLst>
                    <a:ext uri="{FF2B5EF4-FFF2-40B4-BE49-F238E27FC236}">
                      <a16:creationId xmlns:a16="http://schemas.microsoft.com/office/drawing/2014/main" id="{FA3CB339-05B4-EFF0-76EA-BD497704F6D0}"/>
                    </a:ext>
                  </a:extLst>
                </p:cNvPr>
                <p:cNvSpPr>
                  <a:spLocks/>
                </p:cNvSpPr>
                <p:nvPr/>
              </p:nvSpPr>
              <p:spPr bwMode="auto">
                <a:xfrm>
                  <a:off x="2155" y="2717"/>
                  <a:ext cx="566" cy="1134"/>
                </a:xfrm>
                <a:custGeom>
                  <a:avLst/>
                  <a:gdLst>
                    <a:gd name="T0" fmla="*/ 566 w 566"/>
                    <a:gd name="T1" fmla="*/ 567 h 1134"/>
                    <a:gd name="T2" fmla="*/ 0 w 566"/>
                    <a:gd name="T3" fmla="*/ 0 h 1134"/>
                    <a:gd name="T4" fmla="*/ 0 w 566"/>
                    <a:gd name="T5" fmla="*/ 1134 h 1134"/>
                    <a:gd name="T6" fmla="*/ 566 w 566"/>
                    <a:gd name="T7" fmla="*/ 567 h 1134"/>
                  </a:gdLst>
                  <a:ahLst/>
                  <a:cxnLst>
                    <a:cxn ang="0">
                      <a:pos x="T0" y="T1"/>
                    </a:cxn>
                    <a:cxn ang="0">
                      <a:pos x="T2" y="T3"/>
                    </a:cxn>
                    <a:cxn ang="0">
                      <a:pos x="T4" y="T5"/>
                    </a:cxn>
                    <a:cxn ang="0">
                      <a:pos x="T6" y="T7"/>
                    </a:cxn>
                  </a:cxnLst>
                  <a:rect l="0" t="0" r="r" b="b"/>
                  <a:pathLst>
                    <a:path w="566" h="1134">
                      <a:moveTo>
                        <a:pt x="566" y="567"/>
                      </a:moveTo>
                      <a:lnTo>
                        <a:pt x="0" y="0"/>
                      </a:lnTo>
                      <a:lnTo>
                        <a:pt x="0" y="1134"/>
                      </a:lnTo>
                      <a:lnTo>
                        <a:pt x="566" y="5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222" name="Freeform 32">
                  <a:extLst>
                    <a:ext uri="{FF2B5EF4-FFF2-40B4-BE49-F238E27FC236}">
                      <a16:creationId xmlns:a16="http://schemas.microsoft.com/office/drawing/2014/main" id="{7B61A1CB-FCCF-81F6-6994-2A11B0A02EDE}"/>
                    </a:ext>
                  </a:extLst>
                </p:cNvPr>
                <p:cNvSpPr>
                  <a:spLocks/>
                </p:cNvSpPr>
                <p:nvPr/>
              </p:nvSpPr>
              <p:spPr bwMode="auto">
                <a:xfrm>
                  <a:off x="3314" y="2717"/>
                  <a:ext cx="567" cy="1134"/>
                </a:xfrm>
                <a:custGeom>
                  <a:avLst/>
                  <a:gdLst>
                    <a:gd name="T0" fmla="*/ 0 w 567"/>
                    <a:gd name="T1" fmla="*/ 567 h 1134"/>
                    <a:gd name="T2" fmla="*/ 567 w 567"/>
                    <a:gd name="T3" fmla="*/ 1134 h 1134"/>
                    <a:gd name="T4" fmla="*/ 567 w 567"/>
                    <a:gd name="T5" fmla="*/ 0 h 1134"/>
                    <a:gd name="T6" fmla="*/ 0 w 567"/>
                    <a:gd name="T7" fmla="*/ 567 h 1134"/>
                  </a:gdLst>
                  <a:ahLst/>
                  <a:cxnLst>
                    <a:cxn ang="0">
                      <a:pos x="T0" y="T1"/>
                    </a:cxn>
                    <a:cxn ang="0">
                      <a:pos x="T2" y="T3"/>
                    </a:cxn>
                    <a:cxn ang="0">
                      <a:pos x="T4" y="T5"/>
                    </a:cxn>
                    <a:cxn ang="0">
                      <a:pos x="T6" y="T7"/>
                    </a:cxn>
                  </a:cxnLst>
                  <a:rect l="0" t="0" r="r" b="b"/>
                  <a:pathLst>
                    <a:path w="567" h="1134">
                      <a:moveTo>
                        <a:pt x="0" y="567"/>
                      </a:moveTo>
                      <a:lnTo>
                        <a:pt x="567" y="1134"/>
                      </a:lnTo>
                      <a:lnTo>
                        <a:pt x="567" y="0"/>
                      </a:lnTo>
                      <a:lnTo>
                        <a:pt x="0" y="567"/>
                      </a:lnTo>
                      <a:close/>
                    </a:path>
                  </a:pathLst>
                </a:custGeom>
                <a:solidFill>
                  <a:srgbClr val="B1B3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223" name="Freeform 33">
                  <a:extLst>
                    <a:ext uri="{FF2B5EF4-FFF2-40B4-BE49-F238E27FC236}">
                      <a16:creationId xmlns:a16="http://schemas.microsoft.com/office/drawing/2014/main" id="{C2217507-AD66-C638-E51F-475D8DA55222}"/>
                    </a:ext>
                  </a:extLst>
                </p:cNvPr>
                <p:cNvSpPr>
                  <a:spLocks/>
                </p:cNvSpPr>
                <p:nvPr/>
              </p:nvSpPr>
              <p:spPr bwMode="auto">
                <a:xfrm>
                  <a:off x="3314" y="2717"/>
                  <a:ext cx="567" cy="1134"/>
                </a:xfrm>
                <a:custGeom>
                  <a:avLst/>
                  <a:gdLst>
                    <a:gd name="T0" fmla="*/ 0 w 567"/>
                    <a:gd name="T1" fmla="*/ 567 h 1134"/>
                    <a:gd name="T2" fmla="*/ 567 w 567"/>
                    <a:gd name="T3" fmla="*/ 1134 h 1134"/>
                    <a:gd name="T4" fmla="*/ 567 w 567"/>
                    <a:gd name="T5" fmla="*/ 0 h 1134"/>
                    <a:gd name="T6" fmla="*/ 0 w 567"/>
                    <a:gd name="T7" fmla="*/ 567 h 1134"/>
                  </a:gdLst>
                  <a:ahLst/>
                  <a:cxnLst>
                    <a:cxn ang="0">
                      <a:pos x="T0" y="T1"/>
                    </a:cxn>
                    <a:cxn ang="0">
                      <a:pos x="T2" y="T3"/>
                    </a:cxn>
                    <a:cxn ang="0">
                      <a:pos x="T4" y="T5"/>
                    </a:cxn>
                    <a:cxn ang="0">
                      <a:pos x="T6" y="T7"/>
                    </a:cxn>
                  </a:cxnLst>
                  <a:rect l="0" t="0" r="r" b="b"/>
                  <a:pathLst>
                    <a:path w="567" h="1134">
                      <a:moveTo>
                        <a:pt x="0" y="567"/>
                      </a:moveTo>
                      <a:lnTo>
                        <a:pt x="567" y="1134"/>
                      </a:lnTo>
                      <a:lnTo>
                        <a:pt x="567" y="0"/>
                      </a:lnTo>
                      <a:lnTo>
                        <a:pt x="0" y="56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224" name="Rectangle 34">
                  <a:extLst>
                    <a:ext uri="{FF2B5EF4-FFF2-40B4-BE49-F238E27FC236}">
                      <a16:creationId xmlns:a16="http://schemas.microsoft.com/office/drawing/2014/main" id="{3363055F-66D3-86A0-A7DB-5AD9726A9ADA}"/>
                    </a:ext>
                  </a:extLst>
                </p:cNvPr>
                <p:cNvSpPr>
                  <a:spLocks/>
                </p:cNvSpPr>
                <p:nvPr/>
              </p:nvSpPr>
              <p:spPr bwMode="auto">
                <a:xfrm>
                  <a:off x="1644" y="1371"/>
                  <a:ext cx="1163" cy="765"/>
                </a:xfrm>
                <a:prstGeom prst="rect">
                  <a:avLst/>
                </a:prstGeom>
                <a:solidFill>
                  <a:srgbClr val="BCBE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225" name="Rectangle 35">
                  <a:extLst>
                    <a:ext uri="{FF2B5EF4-FFF2-40B4-BE49-F238E27FC236}">
                      <a16:creationId xmlns:a16="http://schemas.microsoft.com/office/drawing/2014/main" id="{5B300E05-34FD-775E-7185-7F80A65D4BDA}"/>
                    </a:ext>
                  </a:extLst>
                </p:cNvPr>
                <p:cNvSpPr>
                  <a:spLocks/>
                </p:cNvSpPr>
                <p:nvPr/>
              </p:nvSpPr>
              <p:spPr bwMode="auto">
                <a:xfrm>
                  <a:off x="1644" y="1371"/>
                  <a:ext cx="1163" cy="382"/>
                </a:xfrm>
                <a:prstGeom prst="rect">
                  <a:avLst/>
                </a:prstGeom>
                <a:solidFill>
                  <a:srgbClr val="A7A9A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226" name="Freeform 36">
                  <a:extLst>
                    <a:ext uri="{FF2B5EF4-FFF2-40B4-BE49-F238E27FC236}">
                      <a16:creationId xmlns:a16="http://schemas.microsoft.com/office/drawing/2014/main" id="{31FEB5AA-7CB2-BB8E-9D21-E59ED395AAD4}"/>
                    </a:ext>
                  </a:extLst>
                </p:cNvPr>
                <p:cNvSpPr>
                  <a:spLocks/>
                </p:cNvSpPr>
                <p:nvPr/>
              </p:nvSpPr>
              <p:spPr bwMode="auto">
                <a:xfrm>
                  <a:off x="1644" y="1371"/>
                  <a:ext cx="383" cy="765"/>
                </a:xfrm>
                <a:custGeom>
                  <a:avLst/>
                  <a:gdLst>
                    <a:gd name="T0" fmla="*/ 383 w 383"/>
                    <a:gd name="T1" fmla="*/ 382 h 765"/>
                    <a:gd name="T2" fmla="*/ 0 w 383"/>
                    <a:gd name="T3" fmla="*/ 0 h 765"/>
                    <a:gd name="T4" fmla="*/ 0 w 383"/>
                    <a:gd name="T5" fmla="*/ 765 h 765"/>
                    <a:gd name="T6" fmla="*/ 383 w 383"/>
                    <a:gd name="T7" fmla="*/ 382 h 765"/>
                  </a:gdLst>
                  <a:ahLst/>
                  <a:cxnLst>
                    <a:cxn ang="0">
                      <a:pos x="T0" y="T1"/>
                    </a:cxn>
                    <a:cxn ang="0">
                      <a:pos x="T2" y="T3"/>
                    </a:cxn>
                    <a:cxn ang="0">
                      <a:pos x="T4" y="T5"/>
                    </a:cxn>
                    <a:cxn ang="0">
                      <a:pos x="T6" y="T7"/>
                    </a:cxn>
                  </a:cxnLst>
                  <a:rect l="0" t="0" r="r" b="b"/>
                  <a:pathLst>
                    <a:path w="383" h="765">
                      <a:moveTo>
                        <a:pt x="383" y="382"/>
                      </a:moveTo>
                      <a:lnTo>
                        <a:pt x="0" y="0"/>
                      </a:lnTo>
                      <a:lnTo>
                        <a:pt x="0" y="765"/>
                      </a:lnTo>
                      <a:lnTo>
                        <a:pt x="383" y="382"/>
                      </a:lnTo>
                      <a:close/>
                    </a:path>
                  </a:pathLst>
                </a:custGeom>
                <a:solidFill>
                  <a:srgbClr val="9D9F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227" name="Freeform 37">
                  <a:extLst>
                    <a:ext uri="{FF2B5EF4-FFF2-40B4-BE49-F238E27FC236}">
                      <a16:creationId xmlns:a16="http://schemas.microsoft.com/office/drawing/2014/main" id="{1E47CE5D-97F7-D2A1-FFA0-32DFE0A30BEC}"/>
                    </a:ext>
                  </a:extLst>
                </p:cNvPr>
                <p:cNvSpPr>
                  <a:spLocks/>
                </p:cNvSpPr>
                <p:nvPr/>
              </p:nvSpPr>
              <p:spPr bwMode="auto">
                <a:xfrm>
                  <a:off x="2425" y="1371"/>
                  <a:ext cx="382" cy="765"/>
                </a:xfrm>
                <a:custGeom>
                  <a:avLst/>
                  <a:gdLst>
                    <a:gd name="T0" fmla="*/ 0 w 382"/>
                    <a:gd name="T1" fmla="*/ 382 h 765"/>
                    <a:gd name="T2" fmla="*/ 382 w 382"/>
                    <a:gd name="T3" fmla="*/ 765 h 765"/>
                    <a:gd name="T4" fmla="*/ 382 w 382"/>
                    <a:gd name="T5" fmla="*/ 0 h 765"/>
                    <a:gd name="T6" fmla="*/ 0 w 382"/>
                    <a:gd name="T7" fmla="*/ 382 h 765"/>
                  </a:gdLst>
                  <a:ahLst/>
                  <a:cxnLst>
                    <a:cxn ang="0">
                      <a:pos x="T0" y="T1"/>
                    </a:cxn>
                    <a:cxn ang="0">
                      <a:pos x="T2" y="T3"/>
                    </a:cxn>
                    <a:cxn ang="0">
                      <a:pos x="T4" y="T5"/>
                    </a:cxn>
                    <a:cxn ang="0">
                      <a:pos x="T6" y="T7"/>
                    </a:cxn>
                  </a:cxnLst>
                  <a:rect l="0" t="0" r="r" b="b"/>
                  <a:pathLst>
                    <a:path w="382" h="765">
                      <a:moveTo>
                        <a:pt x="0" y="382"/>
                      </a:moveTo>
                      <a:lnTo>
                        <a:pt x="382" y="765"/>
                      </a:lnTo>
                      <a:lnTo>
                        <a:pt x="382" y="0"/>
                      </a:lnTo>
                      <a:lnTo>
                        <a:pt x="0" y="382"/>
                      </a:lnTo>
                      <a:close/>
                    </a:path>
                  </a:pathLst>
                </a:custGeom>
                <a:solidFill>
                  <a:srgbClr val="B1B3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228" name="Freeform 38">
                  <a:extLst>
                    <a:ext uri="{FF2B5EF4-FFF2-40B4-BE49-F238E27FC236}">
                      <a16:creationId xmlns:a16="http://schemas.microsoft.com/office/drawing/2014/main" id="{4CE38A5B-28F7-18E3-2683-C6F68E3D08BA}"/>
                    </a:ext>
                  </a:extLst>
                </p:cNvPr>
                <p:cNvSpPr>
                  <a:spLocks/>
                </p:cNvSpPr>
                <p:nvPr/>
              </p:nvSpPr>
              <p:spPr bwMode="auto">
                <a:xfrm>
                  <a:off x="757" y="1731"/>
                  <a:ext cx="751" cy="868"/>
                </a:xfrm>
                <a:custGeom>
                  <a:avLst/>
                  <a:gdLst>
                    <a:gd name="T0" fmla="*/ 0 w 751"/>
                    <a:gd name="T1" fmla="*/ 216 h 868"/>
                    <a:gd name="T2" fmla="*/ 0 w 751"/>
                    <a:gd name="T3" fmla="*/ 651 h 868"/>
                    <a:gd name="T4" fmla="*/ 375 w 751"/>
                    <a:gd name="T5" fmla="*/ 868 h 868"/>
                    <a:gd name="T6" fmla="*/ 751 w 751"/>
                    <a:gd name="T7" fmla="*/ 651 h 868"/>
                    <a:gd name="T8" fmla="*/ 751 w 751"/>
                    <a:gd name="T9" fmla="*/ 216 h 868"/>
                    <a:gd name="T10" fmla="*/ 375 w 751"/>
                    <a:gd name="T11" fmla="*/ 0 h 868"/>
                    <a:gd name="T12" fmla="*/ 0 w 751"/>
                    <a:gd name="T13" fmla="*/ 216 h 868"/>
                  </a:gdLst>
                  <a:ahLst/>
                  <a:cxnLst>
                    <a:cxn ang="0">
                      <a:pos x="T0" y="T1"/>
                    </a:cxn>
                    <a:cxn ang="0">
                      <a:pos x="T2" y="T3"/>
                    </a:cxn>
                    <a:cxn ang="0">
                      <a:pos x="T4" y="T5"/>
                    </a:cxn>
                    <a:cxn ang="0">
                      <a:pos x="T6" y="T7"/>
                    </a:cxn>
                    <a:cxn ang="0">
                      <a:pos x="T8" y="T9"/>
                    </a:cxn>
                    <a:cxn ang="0">
                      <a:pos x="T10" y="T11"/>
                    </a:cxn>
                    <a:cxn ang="0">
                      <a:pos x="T12" y="T13"/>
                    </a:cxn>
                  </a:cxnLst>
                  <a:rect l="0" t="0" r="r" b="b"/>
                  <a:pathLst>
                    <a:path w="751" h="868">
                      <a:moveTo>
                        <a:pt x="0" y="216"/>
                      </a:moveTo>
                      <a:lnTo>
                        <a:pt x="0" y="651"/>
                      </a:lnTo>
                      <a:lnTo>
                        <a:pt x="375" y="868"/>
                      </a:lnTo>
                      <a:lnTo>
                        <a:pt x="751" y="651"/>
                      </a:lnTo>
                      <a:lnTo>
                        <a:pt x="751" y="216"/>
                      </a:lnTo>
                      <a:lnTo>
                        <a:pt x="375" y="0"/>
                      </a:lnTo>
                      <a:lnTo>
                        <a:pt x="0" y="216"/>
                      </a:lnTo>
                      <a:close/>
                    </a:path>
                  </a:pathLst>
                </a:custGeom>
                <a:solidFill>
                  <a:srgbClr val="76A6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229" name="Freeform 39">
                  <a:extLst>
                    <a:ext uri="{FF2B5EF4-FFF2-40B4-BE49-F238E27FC236}">
                      <a16:creationId xmlns:a16="http://schemas.microsoft.com/office/drawing/2014/main" id="{2FB1C175-F2D9-6AFD-BCE4-FABA4CED2453}"/>
                    </a:ext>
                  </a:extLst>
                </p:cNvPr>
                <p:cNvSpPr>
                  <a:spLocks/>
                </p:cNvSpPr>
                <p:nvPr/>
              </p:nvSpPr>
              <p:spPr bwMode="auto">
                <a:xfrm>
                  <a:off x="757" y="1731"/>
                  <a:ext cx="751" cy="868"/>
                </a:xfrm>
                <a:custGeom>
                  <a:avLst/>
                  <a:gdLst>
                    <a:gd name="T0" fmla="*/ 0 w 751"/>
                    <a:gd name="T1" fmla="*/ 216 h 868"/>
                    <a:gd name="T2" fmla="*/ 0 w 751"/>
                    <a:gd name="T3" fmla="*/ 651 h 868"/>
                    <a:gd name="T4" fmla="*/ 375 w 751"/>
                    <a:gd name="T5" fmla="*/ 868 h 868"/>
                    <a:gd name="T6" fmla="*/ 751 w 751"/>
                    <a:gd name="T7" fmla="*/ 651 h 868"/>
                    <a:gd name="T8" fmla="*/ 751 w 751"/>
                    <a:gd name="T9" fmla="*/ 216 h 868"/>
                    <a:gd name="T10" fmla="*/ 375 w 751"/>
                    <a:gd name="T11" fmla="*/ 0 h 868"/>
                    <a:gd name="T12" fmla="*/ 0 w 751"/>
                    <a:gd name="T13" fmla="*/ 216 h 868"/>
                  </a:gdLst>
                  <a:ahLst/>
                  <a:cxnLst>
                    <a:cxn ang="0">
                      <a:pos x="T0" y="T1"/>
                    </a:cxn>
                    <a:cxn ang="0">
                      <a:pos x="T2" y="T3"/>
                    </a:cxn>
                    <a:cxn ang="0">
                      <a:pos x="T4" y="T5"/>
                    </a:cxn>
                    <a:cxn ang="0">
                      <a:pos x="T6" y="T7"/>
                    </a:cxn>
                    <a:cxn ang="0">
                      <a:pos x="T8" y="T9"/>
                    </a:cxn>
                    <a:cxn ang="0">
                      <a:pos x="T10" y="T11"/>
                    </a:cxn>
                    <a:cxn ang="0">
                      <a:pos x="T12" y="T13"/>
                    </a:cxn>
                  </a:cxnLst>
                  <a:rect l="0" t="0" r="r" b="b"/>
                  <a:pathLst>
                    <a:path w="751" h="868">
                      <a:moveTo>
                        <a:pt x="0" y="216"/>
                      </a:moveTo>
                      <a:lnTo>
                        <a:pt x="0" y="651"/>
                      </a:lnTo>
                      <a:lnTo>
                        <a:pt x="375" y="868"/>
                      </a:lnTo>
                      <a:lnTo>
                        <a:pt x="751" y="651"/>
                      </a:lnTo>
                      <a:lnTo>
                        <a:pt x="751" y="216"/>
                      </a:lnTo>
                      <a:lnTo>
                        <a:pt x="375" y="0"/>
                      </a:lnTo>
                      <a:lnTo>
                        <a:pt x="0" y="2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230" name="Freeform 40">
                  <a:extLst>
                    <a:ext uri="{FF2B5EF4-FFF2-40B4-BE49-F238E27FC236}">
                      <a16:creationId xmlns:a16="http://schemas.microsoft.com/office/drawing/2014/main" id="{E5A07F78-0C5E-7120-79E2-E91E2A1464BE}"/>
                    </a:ext>
                  </a:extLst>
                </p:cNvPr>
                <p:cNvSpPr>
                  <a:spLocks/>
                </p:cNvSpPr>
                <p:nvPr/>
              </p:nvSpPr>
              <p:spPr bwMode="auto">
                <a:xfrm>
                  <a:off x="757" y="1947"/>
                  <a:ext cx="375" cy="435"/>
                </a:xfrm>
                <a:custGeom>
                  <a:avLst/>
                  <a:gdLst>
                    <a:gd name="T0" fmla="*/ 375 w 375"/>
                    <a:gd name="T1" fmla="*/ 217 h 435"/>
                    <a:gd name="T2" fmla="*/ 0 w 375"/>
                    <a:gd name="T3" fmla="*/ 0 h 435"/>
                    <a:gd name="T4" fmla="*/ 0 w 375"/>
                    <a:gd name="T5" fmla="*/ 435 h 435"/>
                    <a:gd name="T6" fmla="*/ 375 w 375"/>
                    <a:gd name="T7" fmla="*/ 217 h 435"/>
                  </a:gdLst>
                  <a:ahLst/>
                  <a:cxnLst>
                    <a:cxn ang="0">
                      <a:pos x="T0" y="T1"/>
                    </a:cxn>
                    <a:cxn ang="0">
                      <a:pos x="T2" y="T3"/>
                    </a:cxn>
                    <a:cxn ang="0">
                      <a:pos x="T4" y="T5"/>
                    </a:cxn>
                    <a:cxn ang="0">
                      <a:pos x="T6" y="T7"/>
                    </a:cxn>
                  </a:cxnLst>
                  <a:rect l="0" t="0" r="r" b="b"/>
                  <a:pathLst>
                    <a:path w="375" h="435">
                      <a:moveTo>
                        <a:pt x="375" y="217"/>
                      </a:moveTo>
                      <a:lnTo>
                        <a:pt x="0" y="0"/>
                      </a:lnTo>
                      <a:lnTo>
                        <a:pt x="0" y="435"/>
                      </a:lnTo>
                      <a:lnTo>
                        <a:pt x="375" y="217"/>
                      </a:lnTo>
                      <a:close/>
                    </a:path>
                  </a:pathLst>
                </a:custGeom>
                <a:solidFill>
                  <a:srgbClr val="81B4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231" name="Freeform 41">
                  <a:extLst>
                    <a:ext uri="{FF2B5EF4-FFF2-40B4-BE49-F238E27FC236}">
                      <a16:creationId xmlns:a16="http://schemas.microsoft.com/office/drawing/2014/main" id="{7EB62D9E-13CF-D637-721A-4EE0F60A6D26}"/>
                    </a:ext>
                  </a:extLst>
                </p:cNvPr>
                <p:cNvSpPr>
                  <a:spLocks/>
                </p:cNvSpPr>
                <p:nvPr/>
              </p:nvSpPr>
              <p:spPr bwMode="auto">
                <a:xfrm>
                  <a:off x="757" y="1947"/>
                  <a:ext cx="375" cy="435"/>
                </a:xfrm>
                <a:custGeom>
                  <a:avLst/>
                  <a:gdLst>
                    <a:gd name="T0" fmla="*/ 375 w 375"/>
                    <a:gd name="T1" fmla="*/ 217 h 435"/>
                    <a:gd name="T2" fmla="*/ 0 w 375"/>
                    <a:gd name="T3" fmla="*/ 0 h 435"/>
                    <a:gd name="T4" fmla="*/ 0 w 375"/>
                    <a:gd name="T5" fmla="*/ 435 h 435"/>
                    <a:gd name="T6" fmla="*/ 375 w 375"/>
                    <a:gd name="T7" fmla="*/ 217 h 435"/>
                  </a:gdLst>
                  <a:ahLst/>
                  <a:cxnLst>
                    <a:cxn ang="0">
                      <a:pos x="T0" y="T1"/>
                    </a:cxn>
                    <a:cxn ang="0">
                      <a:pos x="T2" y="T3"/>
                    </a:cxn>
                    <a:cxn ang="0">
                      <a:pos x="T4" y="T5"/>
                    </a:cxn>
                    <a:cxn ang="0">
                      <a:pos x="T6" y="T7"/>
                    </a:cxn>
                  </a:cxnLst>
                  <a:rect l="0" t="0" r="r" b="b"/>
                  <a:pathLst>
                    <a:path w="375" h="435">
                      <a:moveTo>
                        <a:pt x="375" y="217"/>
                      </a:moveTo>
                      <a:lnTo>
                        <a:pt x="0" y="0"/>
                      </a:lnTo>
                      <a:lnTo>
                        <a:pt x="0" y="435"/>
                      </a:lnTo>
                      <a:lnTo>
                        <a:pt x="375" y="2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232" name="Freeform 42">
                  <a:extLst>
                    <a:ext uri="{FF2B5EF4-FFF2-40B4-BE49-F238E27FC236}">
                      <a16:creationId xmlns:a16="http://schemas.microsoft.com/office/drawing/2014/main" id="{C02DB8CC-5C14-FB70-5070-3A6942494093}"/>
                    </a:ext>
                  </a:extLst>
                </p:cNvPr>
                <p:cNvSpPr>
                  <a:spLocks/>
                </p:cNvSpPr>
                <p:nvPr/>
              </p:nvSpPr>
              <p:spPr bwMode="auto">
                <a:xfrm>
                  <a:off x="1132" y="2164"/>
                  <a:ext cx="376" cy="435"/>
                </a:xfrm>
                <a:custGeom>
                  <a:avLst/>
                  <a:gdLst>
                    <a:gd name="T0" fmla="*/ 0 w 376"/>
                    <a:gd name="T1" fmla="*/ 0 h 435"/>
                    <a:gd name="T2" fmla="*/ 0 w 376"/>
                    <a:gd name="T3" fmla="*/ 435 h 435"/>
                    <a:gd name="T4" fmla="*/ 376 w 376"/>
                    <a:gd name="T5" fmla="*/ 218 h 435"/>
                    <a:gd name="T6" fmla="*/ 0 w 376"/>
                    <a:gd name="T7" fmla="*/ 0 h 435"/>
                  </a:gdLst>
                  <a:ahLst/>
                  <a:cxnLst>
                    <a:cxn ang="0">
                      <a:pos x="T0" y="T1"/>
                    </a:cxn>
                    <a:cxn ang="0">
                      <a:pos x="T2" y="T3"/>
                    </a:cxn>
                    <a:cxn ang="0">
                      <a:pos x="T4" y="T5"/>
                    </a:cxn>
                    <a:cxn ang="0">
                      <a:pos x="T6" y="T7"/>
                    </a:cxn>
                  </a:cxnLst>
                  <a:rect l="0" t="0" r="r" b="b"/>
                  <a:pathLst>
                    <a:path w="376" h="435">
                      <a:moveTo>
                        <a:pt x="0" y="0"/>
                      </a:moveTo>
                      <a:lnTo>
                        <a:pt x="0" y="435"/>
                      </a:lnTo>
                      <a:lnTo>
                        <a:pt x="376" y="218"/>
                      </a:lnTo>
                      <a:lnTo>
                        <a:pt x="0" y="0"/>
                      </a:lnTo>
                      <a:close/>
                    </a:path>
                  </a:pathLst>
                </a:custGeom>
                <a:solidFill>
                  <a:srgbClr val="81B4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233" name="Freeform 43">
                  <a:extLst>
                    <a:ext uri="{FF2B5EF4-FFF2-40B4-BE49-F238E27FC236}">
                      <a16:creationId xmlns:a16="http://schemas.microsoft.com/office/drawing/2014/main" id="{4CDB2924-884C-9C5E-9C02-430A29C8BC06}"/>
                    </a:ext>
                  </a:extLst>
                </p:cNvPr>
                <p:cNvSpPr>
                  <a:spLocks/>
                </p:cNvSpPr>
                <p:nvPr/>
              </p:nvSpPr>
              <p:spPr bwMode="auto">
                <a:xfrm>
                  <a:off x="1132" y="2164"/>
                  <a:ext cx="376" cy="435"/>
                </a:xfrm>
                <a:custGeom>
                  <a:avLst/>
                  <a:gdLst>
                    <a:gd name="T0" fmla="*/ 0 w 376"/>
                    <a:gd name="T1" fmla="*/ 0 h 435"/>
                    <a:gd name="T2" fmla="*/ 0 w 376"/>
                    <a:gd name="T3" fmla="*/ 435 h 435"/>
                    <a:gd name="T4" fmla="*/ 376 w 376"/>
                    <a:gd name="T5" fmla="*/ 218 h 435"/>
                    <a:gd name="T6" fmla="*/ 0 w 376"/>
                    <a:gd name="T7" fmla="*/ 0 h 435"/>
                  </a:gdLst>
                  <a:ahLst/>
                  <a:cxnLst>
                    <a:cxn ang="0">
                      <a:pos x="T0" y="T1"/>
                    </a:cxn>
                    <a:cxn ang="0">
                      <a:pos x="T2" y="T3"/>
                    </a:cxn>
                    <a:cxn ang="0">
                      <a:pos x="T4" y="T5"/>
                    </a:cxn>
                    <a:cxn ang="0">
                      <a:pos x="T6" y="T7"/>
                    </a:cxn>
                  </a:cxnLst>
                  <a:rect l="0" t="0" r="r" b="b"/>
                  <a:pathLst>
                    <a:path w="376" h="435">
                      <a:moveTo>
                        <a:pt x="0" y="0"/>
                      </a:moveTo>
                      <a:lnTo>
                        <a:pt x="0" y="435"/>
                      </a:lnTo>
                      <a:lnTo>
                        <a:pt x="376" y="21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234" name="Freeform 44">
                  <a:extLst>
                    <a:ext uri="{FF2B5EF4-FFF2-40B4-BE49-F238E27FC236}">
                      <a16:creationId xmlns:a16="http://schemas.microsoft.com/office/drawing/2014/main" id="{23403FF4-31BE-12E4-CA3B-7407D0731B66}"/>
                    </a:ext>
                  </a:extLst>
                </p:cNvPr>
                <p:cNvSpPr>
                  <a:spLocks/>
                </p:cNvSpPr>
                <p:nvPr/>
              </p:nvSpPr>
              <p:spPr bwMode="auto">
                <a:xfrm>
                  <a:off x="1132" y="1729"/>
                  <a:ext cx="376" cy="435"/>
                </a:xfrm>
                <a:custGeom>
                  <a:avLst/>
                  <a:gdLst>
                    <a:gd name="T0" fmla="*/ 0 w 376"/>
                    <a:gd name="T1" fmla="*/ 435 h 435"/>
                    <a:gd name="T2" fmla="*/ 376 w 376"/>
                    <a:gd name="T3" fmla="*/ 218 h 435"/>
                    <a:gd name="T4" fmla="*/ 0 w 376"/>
                    <a:gd name="T5" fmla="*/ 0 h 435"/>
                    <a:gd name="T6" fmla="*/ 0 w 376"/>
                    <a:gd name="T7" fmla="*/ 435 h 435"/>
                  </a:gdLst>
                  <a:ahLst/>
                  <a:cxnLst>
                    <a:cxn ang="0">
                      <a:pos x="T0" y="T1"/>
                    </a:cxn>
                    <a:cxn ang="0">
                      <a:pos x="T2" y="T3"/>
                    </a:cxn>
                    <a:cxn ang="0">
                      <a:pos x="T4" y="T5"/>
                    </a:cxn>
                    <a:cxn ang="0">
                      <a:pos x="T6" y="T7"/>
                    </a:cxn>
                  </a:cxnLst>
                  <a:rect l="0" t="0" r="r" b="b"/>
                  <a:pathLst>
                    <a:path w="376" h="435">
                      <a:moveTo>
                        <a:pt x="0" y="435"/>
                      </a:moveTo>
                      <a:lnTo>
                        <a:pt x="376" y="218"/>
                      </a:lnTo>
                      <a:lnTo>
                        <a:pt x="0" y="0"/>
                      </a:lnTo>
                      <a:lnTo>
                        <a:pt x="0" y="435"/>
                      </a:lnTo>
                      <a:close/>
                    </a:path>
                  </a:pathLst>
                </a:custGeom>
                <a:solidFill>
                  <a:srgbClr val="81B4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235" name="Freeform 45">
                  <a:extLst>
                    <a:ext uri="{FF2B5EF4-FFF2-40B4-BE49-F238E27FC236}">
                      <a16:creationId xmlns:a16="http://schemas.microsoft.com/office/drawing/2014/main" id="{CE58ED62-7090-5F40-BBB9-EC143DD06277}"/>
                    </a:ext>
                  </a:extLst>
                </p:cNvPr>
                <p:cNvSpPr>
                  <a:spLocks/>
                </p:cNvSpPr>
                <p:nvPr/>
              </p:nvSpPr>
              <p:spPr bwMode="auto">
                <a:xfrm>
                  <a:off x="1132" y="1729"/>
                  <a:ext cx="376" cy="435"/>
                </a:xfrm>
                <a:custGeom>
                  <a:avLst/>
                  <a:gdLst>
                    <a:gd name="T0" fmla="*/ 0 w 376"/>
                    <a:gd name="T1" fmla="*/ 435 h 435"/>
                    <a:gd name="T2" fmla="*/ 376 w 376"/>
                    <a:gd name="T3" fmla="*/ 218 h 435"/>
                    <a:gd name="T4" fmla="*/ 0 w 376"/>
                    <a:gd name="T5" fmla="*/ 0 h 435"/>
                    <a:gd name="T6" fmla="*/ 0 w 376"/>
                    <a:gd name="T7" fmla="*/ 435 h 435"/>
                  </a:gdLst>
                  <a:ahLst/>
                  <a:cxnLst>
                    <a:cxn ang="0">
                      <a:pos x="T0" y="T1"/>
                    </a:cxn>
                    <a:cxn ang="0">
                      <a:pos x="T2" y="T3"/>
                    </a:cxn>
                    <a:cxn ang="0">
                      <a:pos x="T4" y="T5"/>
                    </a:cxn>
                    <a:cxn ang="0">
                      <a:pos x="T6" y="T7"/>
                    </a:cxn>
                  </a:cxnLst>
                  <a:rect l="0" t="0" r="r" b="b"/>
                  <a:pathLst>
                    <a:path w="376" h="435">
                      <a:moveTo>
                        <a:pt x="0" y="435"/>
                      </a:moveTo>
                      <a:lnTo>
                        <a:pt x="376" y="218"/>
                      </a:lnTo>
                      <a:lnTo>
                        <a:pt x="0" y="0"/>
                      </a:lnTo>
                      <a:lnTo>
                        <a:pt x="0" y="43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236" name="Freeform 46">
                  <a:extLst>
                    <a:ext uri="{FF2B5EF4-FFF2-40B4-BE49-F238E27FC236}">
                      <a16:creationId xmlns:a16="http://schemas.microsoft.com/office/drawing/2014/main" id="{264A20BB-F00B-5914-5DF6-ADF5907D6CBB}"/>
                    </a:ext>
                  </a:extLst>
                </p:cNvPr>
                <p:cNvSpPr>
                  <a:spLocks/>
                </p:cNvSpPr>
                <p:nvPr/>
              </p:nvSpPr>
              <p:spPr bwMode="auto">
                <a:xfrm>
                  <a:off x="3720" y="2316"/>
                  <a:ext cx="465" cy="537"/>
                </a:xfrm>
                <a:custGeom>
                  <a:avLst/>
                  <a:gdLst>
                    <a:gd name="T0" fmla="*/ 0 w 465"/>
                    <a:gd name="T1" fmla="*/ 134 h 537"/>
                    <a:gd name="T2" fmla="*/ 0 w 465"/>
                    <a:gd name="T3" fmla="*/ 403 h 537"/>
                    <a:gd name="T4" fmla="*/ 233 w 465"/>
                    <a:gd name="T5" fmla="*/ 537 h 537"/>
                    <a:gd name="T6" fmla="*/ 465 w 465"/>
                    <a:gd name="T7" fmla="*/ 403 h 537"/>
                    <a:gd name="T8" fmla="*/ 465 w 465"/>
                    <a:gd name="T9" fmla="*/ 134 h 537"/>
                    <a:gd name="T10" fmla="*/ 233 w 465"/>
                    <a:gd name="T11" fmla="*/ 0 h 537"/>
                    <a:gd name="T12" fmla="*/ 0 w 465"/>
                    <a:gd name="T13" fmla="*/ 134 h 537"/>
                  </a:gdLst>
                  <a:ahLst/>
                  <a:cxnLst>
                    <a:cxn ang="0">
                      <a:pos x="T0" y="T1"/>
                    </a:cxn>
                    <a:cxn ang="0">
                      <a:pos x="T2" y="T3"/>
                    </a:cxn>
                    <a:cxn ang="0">
                      <a:pos x="T4" y="T5"/>
                    </a:cxn>
                    <a:cxn ang="0">
                      <a:pos x="T6" y="T7"/>
                    </a:cxn>
                    <a:cxn ang="0">
                      <a:pos x="T8" y="T9"/>
                    </a:cxn>
                    <a:cxn ang="0">
                      <a:pos x="T10" y="T11"/>
                    </a:cxn>
                    <a:cxn ang="0">
                      <a:pos x="T12" y="T13"/>
                    </a:cxn>
                  </a:cxnLst>
                  <a:rect l="0" t="0" r="r" b="b"/>
                  <a:pathLst>
                    <a:path w="465" h="537">
                      <a:moveTo>
                        <a:pt x="0" y="134"/>
                      </a:moveTo>
                      <a:lnTo>
                        <a:pt x="0" y="403"/>
                      </a:lnTo>
                      <a:lnTo>
                        <a:pt x="233" y="537"/>
                      </a:lnTo>
                      <a:lnTo>
                        <a:pt x="465" y="403"/>
                      </a:lnTo>
                      <a:lnTo>
                        <a:pt x="465" y="134"/>
                      </a:lnTo>
                      <a:lnTo>
                        <a:pt x="233" y="0"/>
                      </a:lnTo>
                      <a:lnTo>
                        <a:pt x="0" y="134"/>
                      </a:lnTo>
                      <a:close/>
                    </a:path>
                  </a:pathLst>
                </a:custGeom>
                <a:solidFill>
                  <a:srgbClr val="DD57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237" name="Freeform 47">
                  <a:extLst>
                    <a:ext uri="{FF2B5EF4-FFF2-40B4-BE49-F238E27FC236}">
                      <a16:creationId xmlns:a16="http://schemas.microsoft.com/office/drawing/2014/main" id="{4C66229B-0C4D-5B82-3A32-526996DE046A}"/>
                    </a:ext>
                  </a:extLst>
                </p:cNvPr>
                <p:cNvSpPr>
                  <a:spLocks/>
                </p:cNvSpPr>
                <p:nvPr/>
              </p:nvSpPr>
              <p:spPr bwMode="auto">
                <a:xfrm>
                  <a:off x="3720" y="2316"/>
                  <a:ext cx="465" cy="537"/>
                </a:xfrm>
                <a:custGeom>
                  <a:avLst/>
                  <a:gdLst>
                    <a:gd name="T0" fmla="*/ 0 w 465"/>
                    <a:gd name="T1" fmla="*/ 134 h 537"/>
                    <a:gd name="T2" fmla="*/ 0 w 465"/>
                    <a:gd name="T3" fmla="*/ 403 h 537"/>
                    <a:gd name="T4" fmla="*/ 233 w 465"/>
                    <a:gd name="T5" fmla="*/ 537 h 537"/>
                    <a:gd name="T6" fmla="*/ 465 w 465"/>
                    <a:gd name="T7" fmla="*/ 403 h 537"/>
                    <a:gd name="T8" fmla="*/ 465 w 465"/>
                    <a:gd name="T9" fmla="*/ 134 h 537"/>
                    <a:gd name="T10" fmla="*/ 233 w 465"/>
                    <a:gd name="T11" fmla="*/ 0 h 537"/>
                    <a:gd name="T12" fmla="*/ 0 w 465"/>
                    <a:gd name="T13" fmla="*/ 134 h 537"/>
                  </a:gdLst>
                  <a:ahLst/>
                  <a:cxnLst>
                    <a:cxn ang="0">
                      <a:pos x="T0" y="T1"/>
                    </a:cxn>
                    <a:cxn ang="0">
                      <a:pos x="T2" y="T3"/>
                    </a:cxn>
                    <a:cxn ang="0">
                      <a:pos x="T4" y="T5"/>
                    </a:cxn>
                    <a:cxn ang="0">
                      <a:pos x="T6" y="T7"/>
                    </a:cxn>
                    <a:cxn ang="0">
                      <a:pos x="T8" y="T9"/>
                    </a:cxn>
                    <a:cxn ang="0">
                      <a:pos x="T10" y="T11"/>
                    </a:cxn>
                    <a:cxn ang="0">
                      <a:pos x="T12" y="T13"/>
                    </a:cxn>
                  </a:cxnLst>
                  <a:rect l="0" t="0" r="r" b="b"/>
                  <a:pathLst>
                    <a:path w="465" h="537">
                      <a:moveTo>
                        <a:pt x="0" y="134"/>
                      </a:moveTo>
                      <a:lnTo>
                        <a:pt x="0" y="403"/>
                      </a:lnTo>
                      <a:lnTo>
                        <a:pt x="233" y="537"/>
                      </a:lnTo>
                      <a:lnTo>
                        <a:pt x="465" y="403"/>
                      </a:lnTo>
                      <a:lnTo>
                        <a:pt x="465" y="134"/>
                      </a:lnTo>
                      <a:lnTo>
                        <a:pt x="233" y="0"/>
                      </a:lnTo>
                      <a:lnTo>
                        <a:pt x="0" y="13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238" name="Freeform 48">
                  <a:extLst>
                    <a:ext uri="{FF2B5EF4-FFF2-40B4-BE49-F238E27FC236}">
                      <a16:creationId xmlns:a16="http://schemas.microsoft.com/office/drawing/2014/main" id="{945F0DF5-8D0B-F91D-A4D8-BA5FF2EC4D8A}"/>
                    </a:ext>
                  </a:extLst>
                </p:cNvPr>
                <p:cNvSpPr>
                  <a:spLocks/>
                </p:cNvSpPr>
                <p:nvPr/>
              </p:nvSpPr>
              <p:spPr bwMode="auto">
                <a:xfrm>
                  <a:off x="3720" y="2450"/>
                  <a:ext cx="233" cy="269"/>
                </a:xfrm>
                <a:custGeom>
                  <a:avLst/>
                  <a:gdLst>
                    <a:gd name="T0" fmla="*/ 233 w 233"/>
                    <a:gd name="T1" fmla="*/ 135 h 269"/>
                    <a:gd name="T2" fmla="*/ 0 w 233"/>
                    <a:gd name="T3" fmla="*/ 0 h 269"/>
                    <a:gd name="T4" fmla="*/ 0 w 233"/>
                    <a:gd name="T5" fmla="*/ 269 h 269"/>
                    <a:gd name="T6" fmla="*/ 233 w 233"/>
                    <a:gd name="T7" fmla="*/ 135 h 269"/>
                  </a:gdLst>
                  <a:ahLst/>
                  <a:cxnLst>
                    <a:cxn ang="0">
                      <a:pos x="T0" y="T1"/>
                    </a:cxn>
                    <a:cxn ang="0">
                      <a:pos x="T2" y="T3"/>
                    </a:cxn>
                    <a:cxn ang="0">
                      <a:pos x="T4" y="T5"/>
                    </a:cxn>
                    <a:cxn ang="0">
                      <a:pos x="T6" y="T7"/>
                    </a:cxn>
                  </a:cxnLst>
                  <a:rect l="0" t="0" r="r" b="b"/>
                  <a:pathLst>
                    <a:path w="233" h="269">
                      <a:moveTo>
                        <a:pt x="233" y="135"/>
                      </a:moveTo>
                      <a:lnTo>
                        <a:pt x="0" y="0"/>
                      </a:lnTo>
                      <a:lnTo>
                        <a:pt x="0" y="269"/>
                      </a:lnTo>
                      <a:lnTo>
                        <a:pt x="233" y="135"/>
                      </a:lnTo>
                      <a:close/>
                    </a:path>
                  </a:pathLst>
                </a:custGeom>
                <a:solidFill>
                  <a:srgbClr val="F25E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239" name="Freeform 49">
                  <a:extLst>
                    <a:ext uri="{FF2B5EF4-FFF2-40B4-BE49-F238E27FC236}">
                      <a16:creationId xmlns:a16="http://schemas.microsoft.com/office/drawing/2014/main" id="{B84040CE-9079-1460-9B14-12CD2FB69343}"/>
                    </a:ext>
                  </a:extLst>
                </p:cNvPr>
                <p:cNvSpPr>
                  <a:spLocks/>
                </p:cNvSpPr>
                <p:nvPr/>
              </p:nvSpPr>
              <p:spPr bwMode="auto">
                <a:xfrm>
                  <a:off x="3720" y="2450"/>
                  <a:ext cx="233" cy="269"/>
                </a:xfrm>
                <a:custGeom>
                  <a:avLst/>
                  <a:gdLst>
                    <a:gd name="T0" fmla="*/ 233 w 233"/>
                    <a:gd name="T1" fmla="*/ 135 h 269"/>
                    <a:gd name="T2" fmla="*/ 0 w 233"/>
                    <a:gd name="T3" fmla="*/ 0 h 269"/>
                    <a:gd name="T4" fmla="*/ 0 w 233"/>
                    <a:gd name="T5" fmla="*/ 269 h 269"/>
                    <a:gd name="T6" fmla="*/ 233 w 233"/>
                    <a:gd name="T7" fmla="*/ 135 h 269"/>
                  </a:gdLst>
                  <a:ahLst/>
                  <a:cxnLst>
                    <a:cxn ang="0">
                      <a:pos x="T0" y="T1"/>
                    </a:cxn>
                    <a:cxn ang="0">
                      <a:pos x="T2" y="T3"/>
                    </a:cxn>
                    <a:cxn ang="0">
                      <a:pos x="T4" y="T5"/>
                    </a:cxn>
                    <a:cxn ang="0">
                      <a:pos x="T6" y="T7"/>
                    </a:cxn>
                  </a:cxnLst>
                  <a:rect l="0" t="0" r="r" b="b"/>
                  <a:pathLst>
                    <a:path w="233" h="269">
                      <a:moveTo>
                        <a:pt x="233" y="135"/>
                      </a:moveTo>
                      <a:lnTo>
                        <a:pt x="0" y="0"/>
                      </a:lnTo>
                      <a:lnTo>
                        <a:pt x="0" y="269"/>
                      </a:lnTo>
                      <a:lnTo>
                        <a:pt x="233" y="13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240" name="Freeform 50">
                  <a:extLst>
                    <a:ext uri="{FF2B5EF4-FFF2-40B4-BE49-F238E27FC236}">
                      <a16:creationId xmlns:a16="http://schemas.microsoft.com/office/drawing/2014/main" id="{1788B650-8A93-57D3-408C-FD121D00F97D}"/>
                    </a:ext>
                  </a:extLst>
                </p:cNvPr>
                <p:cNvSpPr>
                  <a:spLocks/>
                </p:cNvSpPr>
                <p:nvPr/>
              </p:nvSpPr>
              <p:spPr bwMode="auto">
                <a:xfrm>
                  <a:off x="3953" y="2585"/>
                  <a:ext cx="232" cy="268"/>
                </a:xfrm>
                <a:custGeom>
                  <a:avLst/>
                  <a:gdLst>
                    <a:gd name="T0" fmla="*/ 0 w 232"/>
                    <a:gd name="T1" fmla="*/ 0 h 268"/>
                    <a:gd name="T2" fmla="*/ 0 w 232"/>
                    <a:gd name="T3" fmla="*/ 268 h 268"/>
                    <a:gd name="T4" fmla="*/ 232 w 232"/>
                    <a:gd name="T5" fmla="*/ 134 h 268"/>
                    <a:gd name="T6" fmla="*/ 0 w 232"/>
                    <a:gd name="T7" fmla="*/ 0 h 268"/>
                  </a:gdLst>
                  <a:ahLst/>
                  <a:cxnLst>
                    <a:cxn ang="0">
                      <a:pos x="T0" y="T1"/>
                    </a:cxn>
                    <a:cxn ang="0">
                      <a:pos x="T2" y="T3"/>
                    </a:cxn>
                    <a:cxn ang="0">
                      <a:pos x="T4" y="T5"/>
                    </a:cxn>
                    <a:cxn ang="0">
                      <a:pos x="T6" y="T7"/>
                    </a:cxn>
                  </a:cxnLst>
                  <a:rect l="0" t="0" r="r" b="b"/>
                  <a:pathLst>
                    <a:path w="232" h="268">
                      <a:moveTo>
                        <a:pt x="0" y="0"/>
                      </a:moveTo>
                      <a:lnTo>
                        <a:pt x="0" y="268"/>
                      </a:lnTo>
                      <a:lnTo>
                        <a:pt x="232" y="134"/>
                      </a:lnTo>
                      <a:lnTo>
                        <a:pt x="0" y="0"/>
                      </a:lnTo>
                      <a:close/>
                    </a:path>
                  </a:pathLst>
                </a:custGeom>
                <a:solidFill>
                  <a:srgbClr val="F25E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241" name="Freeform 51">
                  <a:extLst>
                    <a:ext uri="{FF2B5EF4-FFF2-40B4-BE49-F238E27FC236}">
                      <a16:creationId xmlns:a16="http://schemas.microsoft.com/office/drawing/2014/main" id="{E606ED76-A302-E5CA-C233-D910B4B1EC5D}"/>
                    </a:ext>
                  </a:extLst>
                </p:cNvPr>
                <p:cNvSpPr>
                  <a:spLocks/>
                </p:cNvSpPr>
                <p:nvPr/>
              </p:nvSpPr>
              <p:spPr bwMode="auto">
                <a:xfrm>
                  <a:off x="3953" y="2585"/>
                  <a:ext cx="232" cy="268"/>
                </a:xfrm>
                <a:custGeom>
                  <a:avLst/>
                  <a:gdLst>
                    <a:gd name="T0" fmla="*/ 0 w 232"/>
                    <a:gd name="T1" fmla="*/ 0 h 268"/>
                    <a:gd name="T2" fmla="*/ 0 w 232"/>
                    <a:gd name="T3" fmla="*/ 268 h 268"/>
                    <a:gd name="T4" fmla="*/ 232 w 232"/>
                    <a:gd name="T5" fmla="*/ 134 h 268"/>
                    <a:gd name="T6" fmla="*/ 0 w 232"/>
                    <a:gd name="T7" fmla="*/ 0 h 268"/>
                  </a:gdLst>
                  <a:ahLst/>
                  <a:cxnLst>
                    <a:cxn ang="0">
                      <a:pos x="T0" y="T1"/>
                    </a:cxn>
                    <a:cxn ang="0">
                      <a:pos x="T2" y="T3"/>
                    </a:cxn>
                    <a:cxn ang="0">
                      <a:pos x="T4" y="T5"/>
                    </a:cxn>
                    <a:cxn ang="0">
                      <a:pos x="T6" y="T7"/>
                    </a:cxn>
                  </a:cxnLst>
                  <a:rect l="0" t="0" r="r" b="b"/>
                  <a:pathLst>
                    <a:path w="232" h="268">
                      <a:moveTo>
                        <a:pt x="0" y="0"/>
                      </a:moveTo>
                      <a:lnTo>
                        <a:pt x="0" y="268"/>
                      </a:lnTo>
                      <a:lnTo>
                        <a:pt x="232" y="13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242" name="Freeform 52">
                  <a:extLst>
                    <a:ext uri="{FF2B5EF4-FFF2-40B4-BE49-F238E27FC236}">
                      <a16:creationId xmlns:a16="http://schemas.microsoft.com/office/drawing/2014/main" id="{B8BDAD4C-3BCF-A7FF-E1BC-D87B808DA2CF}"/>
                    </a:ext>
                  </a:extLst>
                </p:cNvPr>
                <p:cNvSpPr>
                  <a:spLocks/>
                </p:cNvSpPr>
                <p:nvPr/>
              </p:nvSpPr>
              <p:spPr bwMode="auto">
                <a:xfrm>
                  <a:off x="3953" y="2316"/>
                  <a:ext cx="232" cy="269"/>
                </a:xfrm>
                <a:custGeom>
                  <a:avLst/>
                  <a:gdLst>
                    <a:gd name="T0" fmla="*/ 0 w 232"/>
                    <a:gd name="T1" fmla="*/ 269 h 269"/>
                    <a:gd name="T2" fmla="*/ 232 w 232"/>
                    <a:gd name="T3" fmla="*/ 134 h 269"/>
                    <a:gd name="T4" fmla="*/ 0 w 232"/>
                    <a:gd name="T5" fmla="*/ 0 h 269"/>
                    <a:gd name="T6" fmla="*/ 0 w 232"/>
                    <a:gd name="T7" fmla="*/ 269 h 269"/>
                  </a:gdLst>
                  <a:ahLst/>
                  <a:cxnLst>
                    <a:cxn ang="0">
                      <a:pos x="T0" y="T1"/>
                    </a:cxn>
                    <a:cxn ang="0">
                      <a:pos x="T2" y="T3"/>
                    </a:cxn>
                    <a:cxn ang="0">
                      <a:pos x="T4" y="T5"/>
                    </a:cxn>
                    <a:cxn ang="0">
                      <a:pos x="T6" y="T7"/>
                    </a:cxn>
                  </a:cxnLst>
                  <a:rect l="0" t="0" r="r" b="b"/>
                  <a:pathLst>
                    <a:path w="232" h="269">
                      <a:moveTo>
                        <a:pt x="0" y="269"/>
                      </a:moveTo>
                      <a:lnTo>
                        <a:pt x="232" y="134"/>
                      </a:lnTo>
                      <a:lnTo>
                        <a:pt x="0" y="0"/>
                      </a:lnTo>
                      <a:lnTo>
                        <a:pt x="0" y="269"/>
                      </a:lnTo>
                      <a:close/>
                    </a:path>
                  </a:pathLst>
                </a:custGeom>
                <a:solidFill>
                  <a:srgbClr val="F25E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243" name="Freeform 53">
                  <a:extLst>
                    <a:ext uri="{FF2B5EF4-FFF2-40B4-BE49-F238E27FC236}">
                      <a16:creationId xmlns:a16="http://schemas.microsoft.com/office/drawing/2014/main" id="{7DFD0D5F-7CE0-5D57-A829-6915BD3F669B}"/>
                    </a:ext>
                  </a:extLst>
                </p:cNvPr>
                <p:cNvSpPr>
                  <a:spLocks/>
                </p:cNvSpPr>
                <p:nvPr/>
              </p:nvSpPr>
              <p:spPr bwMode="auto">
                <a:xfrm>
                  <a:off x="3953" y="2316"/>
                  <a:ext cx="232" cy="269"/>
                </a:xfrm>
                <a:custGeom>
                  <a:avLst/>
                  <a:gdLst>
                    <a:gd name="T0" fmla="*/ 0 w 232"/>
                    <a:gd name="T1" fmla="*/ 269 h 269"/>
                    <a:gd name="T2" fmla="*/ 232 w 232"/>
                    <a:gd name="T3" fmla="*/ 134 h 269"/>
                    <a:gd name="T4" fmla="*/ 0 w 232"/>
                    <a:gd name="T5" fmla="*/ 0 h 269"/>
                    <a:gd name="T6" fmla="*/ 0 w 232"/>
                    <a:gd name="T7" fmla="*/ 269 h 269"/>
                  </a:gdLst>
                  <a:ahLst/>
                  <a:cxnLst>
                    <a:cxn ang="0">
                      <a:pos x="T0" y="T1"/>
                    </a:cxn>
                    <a:cxn ang="0">
                      <a:pos x="T2" y="T3"/>
                    </a:cxn>
                    <a:cxn ang="0">
                      <a:pos x="T4" y="T5"/>
                    </a:cxn>
                    <a:cxn ang="0">
                      <a:pos x="T6" y="T7"/>
                    </a:cxn>
                  </a:cxnLst>
                  <a:rect l="0" t="0" r="r" b="b"/>
                  <a:pathLst>
                    <a:path w="232" h="269">
                      <a:moveTo>
                        <a:pt x="0" y="269"/>
                      </a:moveTo>
                      <a:lnTo>
                        <a:pt x="232" y="134"/>
                      </a:lnTo>
                      <a:lnTo>
                        <a:pt x="0" y="0"/>
                      </a:lnTo>
                      <a:lnTo>
                        <a:pt x="0" y="26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244" name="Oval 54">
                  <a:extLst>
                    <a:ext uri="{FF2B5EF4-FFF2-40B4-BE49-F238E27FC236}">
                      <a16:creationId xmlns:a16="http://schemas.microsoft.com/office/drawing/2014/main" id="{0921CE9B-C6E0-2D7E-3418-1083755E2E1A}"/>
                    </a:ext>
                  </a:extLst>
                </p:cNvPr>
                <p:cNvSpPr>
                  <a:spLocks/>
                </p:cNvSpPr>
                <p:nvPr/>
              </p:nvSpPr>
              <p:spPr bwMode="auto">
                <a:xfrm>
                  <a:off x="2970" y="1342"/>
                  <a:ext cx="250" cy="251"/>
                </a:xfrm>
                <a:prstGeom prst="ellipse">
                  <a:avLst/>
                </a:prstGeom>
                <a:solidFill>
                  <a:srgbClr val="81B4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245" name="Oval 55">
                  <a:extLst>
                    <a:ext uri="{FF2B5EF4-FFF2-40B4-BE49-F238E27FC236}">
                      <a16:creationId xmlns:a16="http://schemas.microsoft.com/office/drawing/2014/main" id="{FDAC9818-2F6B-9F21-CE75-EC29352D5055}"/>
                    </a:ext>
                  </a:extLst>
                </p:cNvPr>
                <p:cNvSpPr>
                  <a:spLocks/>
                </p:cNvSpPr>
                <p:nvPr/>
              </p:nvSpPr>
              <p:spPr bwMode="auto">
                <a:xfrm>
                  <a:off x="3160" y="1342"/>
                  <a:ext cx="250" cy="251"/>
                </a:xfrm>
                <a:prstGeom prst="ellipse">
                  <a:avLst/>
                </a:prstGeom>
                <a:solidFill>
                  <a:srgbClr val="76A6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246" name="Oval 56">
                  <a:extLst>
                    <a:ext uri="{FF2B5EF4-FFF2-40B4-BE49-F238E27FC236}">
                      <a16:creationId xmlns:a16="http://schemas.microsoft.com/office/drawing/2014/main" id="{52CCBA92-783B-C2D6-4237-D519FDDCACF3}"/>
                    </a:ext>
                  </a:extLst>
                </p:cNvPr>
                <p:cNvSpPr>
                  <a:spLocks/>
                </p:cNvSpPr>
                <p:nvPr/>
              </p:nvSpPr>
              <p:spPr bwMode="auto">
                <a:xfrm>
                  <a:off x="3348" y="1342"/>
                  <a:ext cx="250" cy="251"/>
                </a:xfrm>
                <a:prstGeom prst="ellipse">
                  <a:avLst/>
                </a:prstGeom>
                <a:solidFill>
                  <a:srgbClr val="81B4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247" name="Oval 57">
                  <a:extLst>
                    <a:ext uri="{FF2B5EF4-FFF2-40B4-BE49-F238E27FC236}">
                      <a16:creationId xmlns:a16="http://schemas.microsoft.com/office/drawing/2014/main" id="{AD68BEAA-2266-075C-0C82-E2B2C132C860}"/>
                    </a:ext>
                  </a:extLst>
                </p:cNvPr>
                <p:cNvSpPr>
                  <a:spLocks/>
                </p:cNvSpPr>
                <p:nvPr/>
              </p:nvSpPr>
              <p:spPr bwMode="auto">
                <a:xfrm>
                  <a:off x="3538" y="1342"/>
                  <a:ext cx="250" cy="251"/>
                </a:xfrm>
                <a:prstGeom prst="ellipse">
                  <a:avLst/>
                </a:prstGeom>
                <a:solidFill>
                  <a:srgbClr val="76A6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248" name="Oval 58">
                  <a:extLst>
                    <a:ext uri="{FF2B5EF4-FFF2-40B4-BE49-F238E27FC236}">
                      <a16:creationId xmlns:a16="http://schemas.microsoft.com/office/drawing/2014/main" id="{1B6D5D6C-786C-97A0-581F-D403D4060172}"/>
                    </a:ext>
                  </a:extLst>
                </p:cNvPr>
                <p:cNvSpPr>
                  <a:spLocks/>
                </p:cNvSpPr>
                <p:nvPr/>
              </p:nvSpPr>
              <p:spPr bwMode="auto">
                <a:xfrm>
                  <a:off x="3728" y="1342"/>
                  <a:ext cx="251" cy="251"/>
                </a:xfrm>
                <a:prstGeom prst="ellipse">
                  <a:avLst/>
                </a:prstGeom>
                <a:solidFill>
                  <a:srgbClr val="81B4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249" name="Oval 59">
                  <a:extLst>
                    <a:ext uri="{FF2B5EF4-FFF2-40B4-BE49-F238E27FC236}">
                      <a16:creationId xmlns:a16="http://schemas.microsoft.com/office/drawing/2014/main" id="{26F508B0-FF79-B182-BC22-4D98B968B3BB}"/>
                    </a:ext>
                  </a:extLst>
                </p:cNvPr>
                <p:cNvSpPr>
                  <a:spLocks/>
                </p:cNvSpPr>
                <p:nvPr/>
              </p:nvSpPr>
              <p:spPr bwMode="auto">
                <a:xfrm>
                  <a:off x="3919" y="1342"/>
                  <a:ext cx="250" cy="251"/>
                </a:xfrm>
                <a:prstGeom prst="ellipse">
                  <a:avLst/>
                </a:prstGeom>
                <a:solidFill>
                  <a:srgbClr val="76A6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250" name="Oval 60">
                  <a:extLst>
                    <a:ext uri="{FF2B5EF4-FFF2-40B4-BE49-F238E27FC236}">
                      <a16:creationId xmlns:a16="http://schemas.microsoft.com/office/drawing/2014/main" id="{97A5169B-45EF-31F1-BE16-188DF3418670}"/>
                    </a:ext>
                  </a:extLst>
                </p:cNvPr>
                <p:cNvSpPr>
                  <a:spLocks/>
                </p:cNvSpPr>
                <p:nvPr/>
              </p:nvSpPr>
              <p:spPr bwMode="auto">
                <a:xfrm>
                  <a:off x="4107" y="1342"/>
                  <a:ext cx="250" cy="251"/>
                </a:xfrm>
                <a:prstGeom prst="ellipse">
                  <a:avLst/>
                </a:prstGeom>
                <a:solidFill>
                  <a:srgbClr val="81B4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251" name="Rectangle 61">
                  <a:extLst>
                    <a:ext uri="{FF2B5EF4-FFF2-40B4-BE49-F238E27FC236}">
                      <a16:creationId xmlns:a16="http://schemas.microsoft.com/office/drawing/2014/main" id="{374AEB8C-EBE8-BA3C-3F16-C6BE0AF18F4D}"/>
                    </a:ext>
                  </a:extLst>
                </p:cNvPr>
                <p:cNvSpPr>
                  <a:spLocks/>
                </p:cNvSpPr>
                <p:nvPr/>
              </p:nvSpPr>
              <p:spPr bwMode="auto">
                <a:xfrm>
                  <a:off x="4429" y="1290"/>
                  <a:ext cx="252" cy="3069"/>
                </a:xfrm>
                <a:prstGeom prst="rect">
                  <a:avLst/>
                </a:prstGeom>
                <a:solidFill>
                  <a:srgbClr val="BCBE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252" name="Rectangle 62">
                  <a:extLst>
                    <a:ext uri="{FF2B5EF4-FFF2-40B4-BE49-F238E27FC236}">
                      <a16:creationId xmlns:a16="http://schemas.microsoft.com/office/drawing/2014/main" id="{41DCC57B-6DE5-6B38-9036-3B40D67B0B5D}"/>
                    </a:ext>
                  </a:extLst>
                </p:cNvPr>
                <p:cNvSpPr>
                  <a:spLocks/>
                </p:cNvSpPr>
                <p:nvPr/>
              </p:nvSpPr>
              <p:spPr bwMode="auto">
                <a:xfrm>
                  <a:off x="4429" y="1290"/>
                  <a:ext cx="252" cy="30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253" name="Rectangle 63">
                  <a:extLst>
                    <a:ext uri="{FF2B5EF4-FFF2-40B4-BE49-F238E27FC236}">
                      <a16:creationId xmlns:a16="http://schemas.microsoft.com/office/drawing/2014/main" id="{38FBC1FF-C3C6-A071-6294-8D591AD0CF85}"/>
                    </a:ext>
                  </a:extLst>
                </p:cNvPr>
                <p:cNvSpPr>
                  <a:spLocks/>
                </p:cNvSpPr>
                <p:nvPr/>
              </p:nvSpPr>
              <p:spPr bwMode="auto">
                <a:xfrm>
                  <a:off x="3222" y="3851"/>
                  <a:ext cx="62" cy="508"/>
                </a:xfrm>
                <a:prstGeom prst="rect">
                  <a:avLst/>
                </a:prstGeom>
                <a:solidFill>
                  <a:srgbClr val="A7A9A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254" name="Freeform 64">
                  <a:extLst>
                    <a:ext uri="{FF2B5EF4-FFF2-40B4-BE49-F238E27FC236}">
                      <a16:creationId xmlns:a16="http://schemas.microsoft.com/office/drawing/2014/main" id="{64CBF28E-3445-1460-B2B5-81985FDE727C}"/>
                    </a:ext>
                  </a:extLst>
                </p:cNvPr>
                <p:cNvSpPr>
                  <a:spLocks/>
                </p:cNvSpPr>
                <p:nvPr/>
              </p:nvSpPr>
              <p:spPr bwMode="auto">
                <a:xfrm>
                  <a:off x="2807" y="1515"/>
                  <a:ext cx="2511" cy="537"/>
                </a:xfrm>
                <a:custGeom>
                  <a:avLst/>
                  <a:gdLst>
                    <a:gd name="T0" fmla="*/ 2511 w 2511"/>
                    <a:gd name="T1" fmla="*/ 0 h 537"/>
                    <a:gd name="T2" fmla="*/ 2511 w 2511"/>
                    <a:gd name="T3" fmla="*/ 537 h 537"/>
                    <a:gd name="T4" fmla="*/ 2249 w 2511"/>
                    <a:gd name="T5" fmla="*/ 489 h 537"/>
                    <a:gd name="T6" fmla="*/ 0 w 2511"/>
                    <a:gd name="T7" fmla="*/ 489 h 537"/>
                    <a:gd name="T8" fmla="*/ 0 w 2511"/>
                    <a:gd name="T9" fmla="*/ 48 h 537"/>
                    <a:gd name="T10" fmla="*/ 2249 w 2511"/>
                    <a:gd name="T11" fmla="*/ 48 h 537"/>
                    <a:gd name="T12" fmla="*/ 2511 w 2511"/>
                    <a:gd name="T13" fmla="*/ 0 h 537"/>
                  </a:gdLst>
                  <a:ahLst/>
                  <a:cxnLst>
                    <a:cxn ang="0">
                      <a:pos x="T0" y="T1"/>
                    </a:cxn>
                    <a:cxn ang="0">
                      <a:pos x="T2" y="T3"/>
                    </a:cxn>
                    <a:cxn ang="0">
                      <a:pos x="T4" y="T5"/>
                    </a:cxn>
                    <a:cxn ang="0">
                      <a:pos x="T6" y="T7"/>
                    </a:cxn>
                    <a:cxn ang="0">
                      <a:pos x="T8" y="T9"/>
                    </a:cxn>
                    <a:cxn ang="0">
                      <a:pos x="T10" y="T11"/>
                    </a:cxn>
                    <a:cxn ang="0">
                      <a:pos x="T12" y="T13"/>
                    </a:cxn>
                  </a:cxnLst>
                  <a:rect l="0" t="0" r="r" b="b"/>
                  <a:pathLst>
                    <a:path w="2511" h="537">
                      <a:moveTo>
                        <a:pt x="2511" y="0"/>
                      </a:moveTo>
                      <a:lnTo>
                        <a:pt x="2511" y="537"/>
                      </a:lnTo>
                      <a:lnTo>
                        <a:pt x="2249" y="489"/>
                      </a:lnTo>
                      <a:lnTo>
                        <a:pt x="0" y="489"/>
                      </a:lnTo>
                      <a:lnTo>
                        <a:pt x="0" y="48"/>
                      </a:lnTo>
                      <a:lnTo>
                        <a:pt x="2249" y="48"/>
                      </a:lnTo>
                      <a:lnTo>
                        <a:pt x="2511" y="0"/>
                      </a:lnTo>
                      <a:close/>
                    </a:path>
                  </a:pathLst>
                </a:custGeom>
                <a:solidFill>
                  <a:srgbClr val="A7A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255" name="Freeform 65">
                  <a:extLst>
                    <a:ext uri="{FF2B5EF4-FFF2-40B4-BE49-F238E27FC236}">
                      <a16:creationId xmlns:a16="http://schemas.microsoft.com/office/drawing/2014/main" id="{94E3A074-23CD-8013-835C-1FF4A15C9F9E}"/>
                    </a:ext>
                  </a:extLst>
                </p:cNvPr>
                <p:cNvSpPr>
                  <a:spLocks/>
                </p:cNvSpPr>
                <p:nvPr/>
              </p:nvSpPr>
              <p:spPr bwMode="auto">
                <a:xfrm>
                  <a:off x="2807" y="1515"/>
                  <a:ext cx="2511" cy="537"/>
                </a:xfrm>
                <a:custGeom>
                  <a:avLst/>
                  <a:gdLst>
                    <a:gd name="T0" fmla="*/ 2511 w 2511"/>
                    <a:gd name="T1" fmla="*/ 0 h 537"/>
                    <a:gd name="T2" fmla="*/ 2511 w 2511"/>
                    <a:gd name="T3" fmla="*/ 537 h 537"/>
                    <a:gd name="T4" fmla="*/ 2249 w 2511"/>
                    <a:gd name="T5" fmla="*/ 489 h 537"/>
                    <a:gd name="T6" fmla="*/ 0 w 2511"/>
                    <a:gd name="T7" fmla="*/ 489 h 537"/>
                    <a:gd name="T8" fmla="*/ 0 w 2511"/>
                    <a:gd name="T9" fmla="*/ 48 h 537"/>
                    <a:gd name="T10" fmla="*/ 2249 w 2511"/>
                    <a:gd name="T11" fmla="*/ 48 h 537"/>
                    <a:gd name="T12" fmla="*/ 2511 w 2511"/>
                    <a:gd name="T13" fmla="*/ 0 h 537"/>
                  </a:gdLst>
                  <a:ahLst/>
                  <a:cxnLst>
                    <a:cxn ang="0">
                      <a:pos x="T0" y="T1"/>
                    </a:cxn>
                    <a:cxn ang="0">
                      <a:pos x="T2" y="T3"/>
                    </a:cxn>
                    <a:cxn ang="0">
                      <a:pos x="T4" y="T5"/>
                    </a:cxn>
                    <a:cxn ang="0">
                      <a:pos x="T6" y="T7"/>
                    </a:cxn>
                    <a:cxn ang="0">
                      <a:pos x="T8" y="T9"/>
                    </a:cxn>
                    <a:cxn ang="0">
                      <a:pos x="T10" y="T11"/>
                    </a:cxn>
                    <a:cxn ang="0">
                      <a:pos x="T12" y="T13"/>
                    </a:cxn>
                  </a:cxnLst>
                  <a:rect l="0" t="0" r="r" b="b"/>
                  <a:pathLst>
                    <a:path w="2511" h="537">
                      <a:moveTo>
                        <a:pt x="2511" y="0"/>
                      </a:moveTo>
                      <a:lnTo>
                        <a:pt x="2511" y="537"/>
                      </a:lnTo>
                      <a:lnTo>
                        <a:pt x="2249" y="489"/>
                      </a:lnTo>
                      <a:lnTo>
                        <a:pt x="0" y="489"/>
                      </a:lnTo>
                      <a:lnTo>
                        <a:pt x="0" y="48"/>
                      </a:lnTo>
                      <a:lnTo>
                        <a:pt x="2249" y="48"/>
                      </a:lnTo>
                      <a:lnTo>
                        <a:pt x="251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256" name="Freeform 66">
                  <a:extLst>
                    <a:ext uri="{FF2B5EF4-FFF2-40B4-BE49-F238E27FC236}">
                      <a16:creationId xmlns:a16="http://schemas.microsoft.com/office/drawing/2014/main" id="{88ED13C5-2635-D8EE-CD89-6C0F745A59B0}"/>
                    </a:ext>
                  </a:extLst>
                </p:cNvPr>
                <p:cNvSpPr>
                  <a:spLocks/>
                </p:cNvSpPr>
                <p:nvPr/>
              </p:nvSpPr>
              <p:spPr bwMode="auto">
                <a:xfrm>
                  <a:off x="3198" y="4021"/>
                  <a:ext cx="110" cy="150"/>
                </a:xfrm>
                <a:custGeom>
                  <a:avLst/>
                  <a:gdLst>
                    <a:gd name="T0" fmla="*/ 52 w 55"/>
                    <a:gd name="T1" fmla="*/ 35 h 75"/>
                    <a:gd name="T2" fmla="*/ 51 w 55"/>
                    <a:gd name="T3" fmla="*/ 33 h 75"/>
                    <a:gd name="T4" fmla="*/ 49 w 55"/>
                    <a:gd name="T5" fmla="*/ 30 h 75"/>
                    <a:gd name="T6" fmla="*/ 28 w 55"/>
                    <a:gd name="T7" fmla="*/ 0 h 75"/>
                    <a:gd name="T8" fmla="*/ 6 w 55"/>
                    <a:gd name="T9" fmla="*/ 30 h 75"/>
                    <a:gd name="T10" fmla="*/ 4 w 55"/>
                    <a:gd name="T11" fmla="*/ 33 h 75"/>
                    <a:gd name="T12" fmla="*/ 3 w 55"/>
                    <a:gd name="T13" fmla="*/ 35 h 75"/>
                    <a:gd name="T14" fmla="*/ 0 w 55"/>
                    <a:gd name="T15" fmla="*/ 48 h 75"/>
                    <a:gd name="T16" fmla="*/ 28 w 55"/>
                    <a:gd name="T17" fmla="*/ 75 h 75"/>
                    <a:gd name="T18" fmla="*/ 55 w 55"/>
                    <a:gd name="T19" fmla="*/ 48 h 75"/>
                    <a:gd name="T20" fmla="*/ 52 w 55"/>
                    <a:gd name="T21" fmla="*/ 3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5" h="75">
                      <a:moveTo>
                        <a:pt x="52" y="35"/>
                      </a:moveTo>
                      <a:cubicBezTo>
                        <a:pt x="51" y="33"/>
                        <a:pt x="51" y="33"/>
                        <a:pt x="51" y="33"/>
                      </a:cubicBezTo>
                      <a:cubicBezTo>
                        <a:pt x="50" y="32"/>
                        <a:pt x="50" y="31"/>
                        <a:pt x="49" y="30"/>
                      </a:cubicBezTo>
                      <a:cubicBezTo>
                        <a:pt x="28" y="0"/>
                        <a:pt x="28" y="0"/>
                        <a:pt x="28" y="0"/>
                      </a:cubicBezTo>
                      <a:cubicBezTo>
                        <a:pt x="6" y="30"/>
                        <a:pt x="6" y="30"/>
                        <a:pt x="6" y="30"/>
                      </a:cubicBezTo>
                      <a:cubicBezTo>
                        <a:pt x="6" y="31"/>
                        <a:pt x="5" y="32"/>
                        <a:pt x="4" y="33"/>
                      </a:cubicBezTo>
                      <a:cubicBezTo>
                        <a:pt x="3" y="35"/>
                        <a:pt x="3" y="35"/>
                        <a:pt x="3" y="35"/>
                      </a:cubicBezTo>
                      <a:cubicBezTo>
                        <a:pt x="1" y="39"/>
                        <a:pt x="0" y="43"/>
                        <a:pt x="0" y="48"/>
                      </a:cubicBezTo>
                      <a:cubicBezTo>
                        <a:pt x="0" y="63"/>
                        <a:pt x="12" y="75"/>
                        <a:pt x="28" y="75"/>
                      </a:cubicBezTo>
                      <a:cubicBezTo>
                        <a:pt x="43" y="75"/>
                        <a:pt x="55" y="63"/>
                        <a:pt x="55" y="48"/>
                      </a:cubicBezTo>
                      <a:cubicBezTo>
                        <a:pt x="55" y="43"/>
                        <a:pt x="54" y="39"/>
                        <a:pt x="52" y="35"/>
                      </a:cubicBezTo>
                      <a:close/>
                    </a:path>
                  </a:pathLst>
                </a:custGeom>
                <a:solidFill>
                  <a:srgbClr val="25B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257" name="Freeform 67">
                  <a:extLst>
                    <a:ext uri="{FF2B5EF4-FFF2-40B4-BE49-F238E27FC236}">
                      <a16:creationId xmlns:a16="http://schemas.microsoft.com/office/drawing/2014/main" id="{EED16735-597C-C0C9-7C93-B6F562BF30A4}"/>
                    </a:ext>
                  </a:extLst>
                </p:cNvPr>
                <p:cNvSpPr>
                  <a:spLocks/>
                </p:cNvSpPr>
                <p:nvPr/>
              </p:nvSpPr>
              <p:spPr bwMode="auto">
                <a:xfrm>
                  <a:off x="1879" y="2837"/>
                  <a:ext cx="110" cy="150"/>
                </a:xfrm>
                <a:custGeom>
                  <a:avLst/>
                  <a:gdLst>
                    <a:gd name="T0" fmla="*/ 52 w 55"/>
                    <a:gd name="T1" fmla="*/ 34 h 75"/>
                    <a:gd name="T2" fmla="*/ 51 w 55"/>
                    <a:gd name="T3" fmla="*/ 33 h 75"/>
                    <a:gd name="T4" fmla="*/ 49 w 55"/>
                    <a:gd name="T5" fmla="*/ 30 h 75"/>
                    <a:gd name="T6" fmla="*/ 27 w 55"/>
                    <a:gd name="T7" fmla="*/ 0 h 75"/>
                    <a:gd name="T8" fmla="*/ 6 w 55"/>
                    <a:gd name="T9" fmla="*/ 30 h 75"/>
                    <a:gd name="T10" fmla="*/ 4 w 55"/>
                    <a:gd name="T11" fmla="*/ 33 h 75"/>
                    <a:gd name="T12" fmla="*/ 3 w 55"/>
                    <a:gd name="T13" fmla="*/ 34 h 75"/>
                    <a:gd name="T14" fmla="*/ 0 w 55"/>
                    <a:gd name="T15" fmla="*/ 47 h 75"/>
                    <a:gd name="T16" fmla="*/ 27 w 55"/>
                    <a:gd name="T17" fmla="*/ 75 h 75"/>
                    <a:gd name="T18" fmla="*/ 55 w 55"/>
                    <a:gd name="T19" fmla="*/ 47 h 75"/>
                    <a:gd name="T20" fmla="*/ 52 w 55"/>
                    <a:gd name="T21" fmla="*/ 34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5" h="75">
                      <a:moveTo>
                        <a:pt x="52" y="34"/>
                      </a:moveTo>
                      <a:cubicBezTo>
                        <a:pt x="51" y="33"/>
                        <a:pt x="51" y="33"/>
                        <a:pt x="51" y="33"/>
                      </a:cubicBezTo>
                      <a:cubicBezTo>
                        <a:pt x="50" y="32"/>
                        <a:pt x="49" y="31"/>
                        <a:pt x="49" y="30"/>
                      </a:cubicBezTo>
                      <a:cubicBezTo>
                        <a:pt x="27" y="0"/>
                        <a:pt x="27" y="0"/>
                        <a:pt x="27" y="0"/>
                      </a:cubicBezTo>
                      <a:cubicBezTo>
                        <a:pt x="6" y="30"/>
                        <a:pt x="6" y="30"/>
                        <a:pt x="6" y="30"/>
                      </a:cubicBezTo>
                      <a:cubicBezTo>
                        <a:pt x="5" y="31"/>
                        <a:pt x="5" y="32"/>
                        <a:pt x="4" y="33"/>
                      </a:cubicBezTo>
                      <a:cubicBezTo>
                        <a:pt x="3" y="34"/>
                        <a:pt x="3" y="34"/>
                        <a:pt x="3" y="34"/>
                      </a:cubicBezTo>
                      <a:cubicBezTo>
                        <a:pt x="1" y="38"/>
                        <a:pt x="0" y="43"/>
                        <a:pt x="0" y="47"/>
                      </a:cubicBezTo>
                      <a:cubicBezTo>
                        <a:pt x="0" y="62"/>
                        <a:pt x="12" y="75"/>
                        <a:pt x="27" y="75"/>
                      </a:cubicBezTo>
                      <a:cubicBezTo>
                        <a:pt x="43" y="75"/>
                        <a:pt x="55" y="62"/>
                        <a:pt x="55" y="47"/>
                      </a:cubicBezTo>
                      <a:cubicBezTo>
                        <a:pt x="55" y="43"/>
                        <a:pt x="54" y="38"/>
                        <a:pt x="52" y="34"/>
                      </a:cubicBezTo>
                      <a:close/>
                    </a:path>
                  </a:pathLst>
                </a:custGeom>
                <a:solidFill>
                  <a:srgbClr val="8A5B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258" name="Freeform 68">
                  <a:extLst>
                    <a:ext uri="{FF2B5EF4-FFF2-40B4-BE49-F238E27FC236}">
                      <a16:creationId xmlns:a16="http://schemas.microsoft.com/office/drawing/2014/main" id="{C1D67FB0-343A-DDE6-E730-D65309549169}"/>
                    </a:ext>
                  </a:extLst>
                </p:cNvPr>
                <p:cNvSpPr>
                  <a:spLocks/>
                </p:cNvSpPr>
                <p:nvPr/>
              </p:nvSpPr>
              <p:spPr bwMode="auto">
                <a:xfrm>
                  <a:off x="4539" y="3921"/>
                  <a:ext cx="609" cy="703"/>
                </a:xfrm>
                <a:custGeom>
                  <a:avLst/>
                  <a:gdLst>
                    <a:gd name="T0" fmla="*/ 0 w 609"/>
                    <a:gd name="T1" fmla="*/ 176 h 703"/>
                    <a:gd name="T2" fmla="*/ 0 w 609"/>
                    <a:gd name="T3" fmla="*/ 527 h 703"/>
                    <a:gd name="T4" fmla="*/ 305 w 609"/>
                    <a:gd name="T5" fmla="*/ 703 h 703"/>
                    <a:gd name="T6" fmla="*/ 609 w 609"/>
                    <a:gd name="T7" fmla="*/ 527 h 703"/>
                    <a:gd name="T8" fmla="*/ 609 w 609"/>
                    <a:gd name="T9" fmla="*/ 176 h 703"/>
                    <a:gd name="T10" fmla="*/ 305 w 609"/>
                    <a:gd name="T11" fmla="*/ 0 h 703"/>
                    <a:gd name="T12" fmla="*/ 0 w 609"/>
                    <a:gd name="T13" fmla="*/ 176 h 703"/>
                  </a:gdLst>
                  <a:ahLst/>
                  <a:cxnLst>
                    <a:cxn ang="0">
                      <a:pos x="T0" y="T1"/>
                    </a:cxn>
                    <a:cxn ang="0">
                      <a:pos x="T2" y="T3"/>
                    </a:cxn>
                    <a:cxn ang="0">
                      <a:pos x="T4" y="T5"/>
                    </a:cxn>
                    <a:cxn ang="0">
                      <a:pos x="T6" y="T7"/>
                    </a:cxn>
                    <a:cxn ang="0">
                      <a:pos x="T8" y="T9"/>
                    </a:cxn>
                    <a:cxn ang="0">
                      <a:pos x="T10" y="T11"/>
                    </a:cxn>
                    <a:cxn ang="0">
                      <a:pos x="T12" y="T13"/>
                    </a:cxn>
                  </a:cxnLst>
                  <a:rect l="0" t="0" r="r" b="b"/>
                  <a:pathLst>
                    <a:path w="609" h="703">
                      <a:moveTo>
                        <a:pt x="0" y="176"/>
                      </a:moveTo>
                      <a:lnTo>
                        <a:pt x="0" y="527"/>
                      </a:lnTo>
                      <a:lnTo>
                        <a:pt x="305" y="703"/>
                      </a:lnTo>
                      <a:lnTo>
                        <a:pt x="609" y="527"/>
                      </a:lnTo>
                      <a:lnTo>
                        <a:pt x="609" y="176"/>
                      </a:lnTo>
                      <a:lnTo>
                        <a:pt x="305" y="0"/>
                      </a:lnTo>
                      <a:lnTo>
                        <a:pt x="0" y="176"/>
                      </a:lnTo>
                      <a:close/>
                    </a:path>
                  </a:pathLst>
                </a:custGeom>
                <a:solidFill>
                  <a:srgbClr val="76A6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259" name="Freeform 69">
                  <a:extLst>
                    <a:ext uri="{FF2B5EF4-FFF2-40B4-BE49-F238E27FC236}">
                      <a16:creationId xmlns:a16="http://schemas.microsoft.com/office/drawing/2014/main" id="{8EC0445D-8094-18C3-1481-5AFDBEFFE39D}"/>
                    </a:ext>
                  </a:extLst>
                </p:cNvPr>
                <p:cNvSpPr>
                  <a:spLocks/>
                </p:cNvSpPr>
                <p:nvPr/>
              </p:nvSpPr>
              <p:spPr bwMode="auto">
                <a:xfrm>
                  <a:off x="4539" y="4095"/>
                  <a:ext cx="305" cy="353"/>
                </a:xfrm>
                <a:custGeom>
                  <a:avLst/>
                  <a:gdLst>
                    <a:gd name="T0" fmla="*/ 305 w 305"/>
                    <a:gd name="T1" fmla="*/ 176 h 353"/>
                    <a:gd name="T2" fmla="*/ 0 w 305"/>
                    <a:gd name="T3" fmla="*/ 0 h 353"/>
                    <a:gd name="T4" fmla="*/ 0 w 305"/>
                    <a:gd name="T5" fmla="*/ 353 h 353"/>
                    <a:gd name="T6" fmla="*/ 305 w 305"/>
                    <a:gd name="T7" fmla="*/ 176 h 353"/>
                  </a:gdLst>
                  <a:ahLst/>
                  <a:cxnLst>
                    <a:cxn ang="0">
                      <a:pos x="T0" y="T1"/>
                    </a:cxn>
                    <a:cxn ang="0">
                      <a:pos x="T2" y="T3"/>
                    </a:cxn>
                    <a:cxn ang="0">
                      <a:pos x="T4" y="T5"/>
                    </a:cxn>
                    <a:cxn ang="0">
                      <a:pos x="T6" y="T7"/>
                    </a:cxn>
                  </a:cxnLst>
                  <a:rect l="0" t="0" r="r" b="b"/>
                  <a:pathLst>
                    <a:path w="305" h="353">
                      <a:moveTo>
                        <a:pt x="305" y="176"/>
                      </a:moveTo>
                      <a:lnTo>
                        <a:pt x="0" y="0"/>
                      </a:lnTo>
                      <a:lnTo>
                        <a:pt x="0" y="353"/>
                      </a:lnTo>
                      <a:lnTo>
                        <a:pt x="305" y="176"/>
                      </a:lnTo>
                      <a:close/>
                    </a:path>
                  </a:pathLst>
                </a:custGeom>
                <a:solidFill>
                  <a:srgbClr val="81B4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260" name="Freeform 70">
                  <a:extLst>
                    <a:ext uri="{FF2B5EF4-FFF2-40B4-BE49-F238E27FC236}">
                      <a16:creationId xmlns:a16="http://schemas.microsoft.com/office/drawing/2014/main" id="{71C36B12-D73B-8FE8-F2B5-6A45B3DC7EE4}"/>
                    </a:ext>
                  </a:extLst>
                </p:cNvPr>
                <p:cNvSpPr>
                  <a:spLocks/>
                </p:cNvSpPr>
                <p:nvPr/>
              </p:nvSpPr>
              <p:spPr bwMode="auto">
                <a:xfrm>
                  <a:off x="4844" y="4273"/>
                  <a:ext cx="304" cy="351"/>
                </a:xfrm>
                <a:custGeom>
                  <a:avLst/>
                  <a:gdLst>
                    <a:gd name="T0" fmla="*/ 0 w 304"/>
                    <a:gd name="T1" fmla="*/ 0 h 351"/>
                    <a:gd name="T2" fmla="*/ 0 w 304"/>
                    <a:gd name="T3" fmla="*/ 351 h 351"/>
                    <a:gd name="T4" fmla="*/ 304 w 304"/>
                    <a:gd name="T5" fmla="*/ 175 h 351"/>
                    <a:gd name="T6" fmla="*/ 0 w 304"/>
                    <a:gd name="T7" fmla="*/ 0 h 351"/>
                  </a:gdLst>
                  <a:ahLst/>
                  <a:cxnLst>
                    <a:cxn ang="0">
                      <a:pos x="T0" y="T1"/>
                    </a:cxn>
                    <a:cxn ang="0">
                      <a:pos x="T2" y="T3"/>
                    </a:cxn>
                    <a:cxn ang="0">
                      <a:pos x="T4" y="T5"/>
                    </a:cxn>
                    <a:cxn ang="0">
                      <a:pos x="T6" y="T7"/>
                    </a:cxn>
                  </a:cxnLst>
                  <a:rect l="0" t="0" r="r" b="b"/>
                  <a:pathLst>
                    <a:path w="304" h="351">
                      <a:moveTo>
                        <a:pt x="0" y="0"/>
                      </a:moveTo>
                      <a:lnTo>
                        <a:pt x="0" y="351"/>
                      </a:lnTo>
                      <a:lnTo>
                        <a:pt x="304" y="175"/>
                      </a:lnTo>
                      <a:lnTo>
                        <a:pt x="0" y="0"/>
                      </a:lnTo>
                      <a:close/>
                    </a:path>
                  </a:pathLst>
                </a:custGeom>
                <a:solidFill>
                  <a:srgbClr val="81B4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261" name="Freeform 71">
                  <a:extLst>
                    <a:ext uri="{FF2B5EF4-FFF2-40B4-BE49-F238E27FC236}">
                      <a16:creationId xmlns:a16="http://schemas.microsoft.com/office/drawing/2014/main" id="{EC3E95E1-17E2-ABDD-1349-5A513BC295A6}"/>
                    </a:ext>
                  </a:extLst>
                </p:cNvPr>
                <p:cNvSpPr>
                  <a:spLocks/>
                </p:cNvSpPr>
                <p:nvPr/>
              </p:nvSpPr>
              <p:spPr bwMode="auto">
                <a:xfrm>
                  <a:off x="4844" y="3921"/>
                  <a:ext cx="304" cy="350"/>
                </a:xfrm>
                <a:custGeom>
                  <a:avLst/>
                  <a:gdLst>
                    <a:gd name="T0" fmla="*/ 0 w 304"/>
                    <a:gd name="T1" fmla="*/ 350 h 350"/>
                    <a:gd name="T2" fmla="*/ 304 w 304"/>
                    <a:gd name="T3" fmla="*/ 176 h 350"/>
                    <a:gd name="T4" fmla="*/ 0 w 304"/>
                    <a:gd name="T5" fmla="*/ 0 h 350"/>
                    <a:gd name="T6" fmla="*/ 0 w 304"/>
                    <a:gd name="T7" fmla="*/ 350 h 350"/>
                  </a:gdLst>
                  <a:ahLst/>
                  <a:cxnLst>
                    <a:cxn ang="0">
                      <a:pos x="T0" y="T1"/>
                    </a:cxn>
                    <a:cxn ang="0">
                      <a:pos x="T2" y="T3"/>
                    </a:cxn>
                    <a:cxn ang="0">
                      <a:pos x="T4" y="T5"/>
                    </a:cxn>
                    <a:cxn ang="0">
                      <a:pos x="T6" y="T7"/>
                    </a:cxn>
                  </a:cxnLst>
                  <a:rect l="0" t="0" r="r" b="b"/>
                  <a:pathLst>
                    <a:path w="304" h="350">
                      <a:moveTo>
                        <a:pt x="0" y="350"/>
                      </a:moveTo>
                      <a:lnTo>
                        <a:pt x="304" y="176"/>
                      </a:lnTo>
                      <a:lnTo>
                        <a:pt x="0" y="0"/>
                      </a:lnTo>
                      <a:lnTo>
                        <a:pt x="0" y="350"/>
                      </a:lnTo>
                      <a:close/>
                    </a:path>
                  </a:pathLst>
                </a:custGeom>
                <a:solidFill>
                  <a:srgbClr val="81B4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262" name="Freeform 72">
                  <a:extLst>
                    <a:ext uri="{FF2B5EF4-FFF2-40B4-BE49-F238E27FC236}">
                      <a16:creationId xmlns:a16="http://schemas.microsoft.com/office/drawing/2014/main" id="{278ABD4B-B88A-D99C-3013-F7FF314D08F0}"/>
                    </a:ext>
                  </a:extLst>
                </p:cNvPr>
                <p:cNvSpPr>
                  <a:spLocks/>
                </p:cNvSpPr>
                <p:nvPr/>
              </p:nvSpPr>
              <p:spPr bwMode="auto">
                <a:xfrm>
                  <a:off x="4844" y="3702"/>
                  <a:ext cx="366" cy="423"/>
                </a:xfrm>
                <a:custGeom>
                  <a:avLst/>
                  <a:gdLst>
                    <a:gd name="T0" fmla="*/ 0 w 366"/>
                    <a:gd name="T1" fmla="*/ 107 h 423"/>
                    <a:gd name="T2" fmla="*/ 0 w 366"/>
                    <a:gd name="T3" fmla="*/ 319 h 423"/>
                    <a:gd name="T4" fmla="*/ 182 w 366"/>
                    <a:gd name="T5" fmla="*/ 423 h 423"/>
                    <a:gd name="T6" fmla="*/ 366 w 366"/>
                    <a:gd name="T7" fmla="*/ 319 h 423"/>
                    <a:gd name="T8" fmla="*/ 366 w 366"/>
                    <a:gd name="T9" fmla="*/ 107 h 423"/>
                    <a:gd name="T10" fmla="*/ 182 w 366"/>
                    <a:gd name="T11" fmla="*/ 0 h 423"/>
                    <a:gd name="T12" fmla="*/ 0 w 366"/>
                    <a:gd name="T13" fmla="*/ 107 h 423"/>
                  </a:gdLst>
                  <a:ahLst/>
                  <a:cxnLst>
                    <a:cxn ang="0">
                      <a:pos x="T0" y="T1"/>
                    </a:cxn>
                    <a:cxn ang="0">
                      <a:pos x="T2" y="T3"/>
                    </a:cxn>
                    <a:cxn ang="0">
                      <a:pos x="T4" y="T5"/>
                    </a:cxn>
                    <a:cxn ang="0">
                      <a:pos x="T6" y="T7"/>
                    </a:cxn>
                    <a:cxn ang="0">
                      <a:pos x="T8" y="T9"/>
                    </a:cxn>
                    <a:cxn ang="0">
                      <a:pos x="T10" y="T11"/>
                    </a:cxn>
                    <a:cxn ang="0">
                      <a:pos x="T12" y="T13"/>
                    </a:cxn>
                  </a:cxnLst>
                  <a:rect l="0" t="0" r="r" b="b"/>
                  <a:pathLst>
                    <a:path w="366" h="423">
                      <a:moveTo>
                        <a:pt x="0" y="107"/>
                      </a:moveTo>
                      <a:lnTo>
                        <a:pt x="0" y="319"/>
                      </a:lnTo>
                      <a:lnTo>
                        <a:pt x="182" y="423"/>
                      </a:lnTo>
                      <a:lnTo>
                        <a:pt x="366" y="319"/>
                      </a:lnTo>
                      <a:lnTo>
                        <a:pt x="366" y="107"/>
                      </a:lnTo>
                      <a:lnTo>
                        <a:pt x="182" y="0"/>
                      </a:lnTo>
                      <a:lnTo>
                        <a:pt x="0" y="107"/>
                      </a:lnTo>
                      <a:close/>
                    </a:path>
                  </a:pathLst>
                </a:custGeom>
                <a:solidFill>
                  <a:srgbClr val="76A6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263" name="Freeform 73">
                  <a:extLst>
                    <a:ext uri="{FF2B5EF4-FFF2-40B4-BE49-F238E27FC236}">
                      <a16:creationId xmlns:a16="http://schemas.microsoft.com/office/drawing/2014/main" id="{C35A9BAF-5836-938C-D90C-37D174322747}"/>
                    </a:ext>
                  </a:extLst>
                </p:cNvPr>
                <p:cNvSpPr>
                  <a:spLocks/>
                </p:cNvSpPr>
                <p:nvPr/>
              </p:nvSpPr>
              <p:spPr bwMode="auto">
                <a:xfrm>
                  <a:off x="4844" y="3809"/>
                  <a:ext cx="182" cy="212"/>
                </a:xfrm>
                <a:custGeom>
                  <a:avLst/>
                  <a:gdLst>
                    <a:gd name="T0" fmla="*/ 182 w 182"/>
                    <a:gd name="T1" fmla="*/ 106 h 212"/>
                    <a:gd name="T2" fmla="*/ 0 w 182"/>
                    <a:gd name="T3" fmla="*/ 0 h 212"/>
                    <a:gd name="T4" fmla="*/ 0 w 182"/>
                    <a:gd name="T5" fmla="*/ 212 h 212"/>
                    <a:gd name="T6" fmla="*/ 182 w 182"/>
                    <a:gd name="T7" fmla="*/ 106 h 212"/>
                  </a:gdLst>
                  <a:ahLst/>
                  <a:cxnLst>
                    <a:cxn ang="0">
                      <a:pos x="T0" y="T1"/>
                    </a:cxn>
                    <a:cxn ang="0">
                      <a:pos x="T2" y="T3"/>
                    </a:cxn>
                    <a:cxn ang="0">
                      <a:pos x="T4" y="T5"/>
                    </a:cxn>
                    <a:cxn ang="0">
                      <a:pos x="T6" y="T7"/>
                    </a:cxn>
                  </a:cxnLst>
                  <a:rect l="0" t="0" r="r" b="b"/>
                  <a:pathLst>
                    <a:path w="182" h="212">
                      <a:moveTo>
                        <a:pt x="182" y="106"/>
                      </a:moveTo>
                      <a:lnTo>
                        <a:pt x="0" y="0"/>
                      </a:lnTo>
                      <a:lnTo>
                        <a:pt x="0" y="212"/>
                      </a:lnTo>
                      <a:lnTo>
                        <a:pt x="182" y="106"/>
                      </a:lnTo>
                      <a:close/>
                    </a:path>
                  </a:pathLst>
                </a:custGeom>
                <a:solidFill>
                  <a:srgbClr val="81B4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264" name="Freeform 74">
                  <a:extLst>
                    <a:ext uri="{FF2B5EF4-FFF2-40B4-BE49-F238E27FC236}">
                      <a16:creationId xmlns:a16="http://schemas.microsoft.com/office/drawing/2014/main" id="{99E75E95-2F6D-B7EC-79B7-E63F69DEA68E}"/>
                    </a:ext>
                  </a:extLst>
                </p:cNvPr>
                <p:cNvSpPr>
                  <a:spLocks/>
                </p:cNvSpPr>
                <p:nvPr/>
              </p:nvSpPr>
              <p:spPr bwMode="auto">
                <a:xfrm>
                  <a:off x="5026" y="3915"/>
                  <a:ext cx="184" cy="212"/>
                </a:xfrm>
                <a:custGeom>
                  <a:avLst/>
                  <a:gdLst>
                    <a:gd name="T0" fmla="*/ 0 w 184"/>
                    <a:gd name="T1" fmla="*/ 0 h 212"/>
                    <a:gd name="T2" fmla="*/ 0 w 184"/>
                    <a:gd name="T3" fmla="*/ 212 h 212"/>
                    <a:gd name="T4" fmla="*/ 184 w 184"/>
                    <a:gd name="T5" fmla="*/ 106 h 212"/>
                    <a:gd name="T6" fmla="*/ 0 w 184"/>
                    <a:gd name="T7" fmla="*/ 0 h 212"/>
                  </a:gdLst>
                  <a:ahLst/>
                  <a:cxnLst>
                    <a:cxn ang="0">
                      <a:pos x="T0" y="T1"/>
                    </a:cxn>
                    <a:cxn ang="0">
                      <a:pos x="T2" y="T3"/>
                    </a:cxn>
                    <a:cxn ang="0">
                      <a:pos x="T4" y="T5"/>
                    </a:cxn>
                    <a:cxn ang="0">
                      <a:pos x="T6" y="T7"/>
                    </a:cxn>
                  </a:cxnLst>
                  <a:rect l="0" t="0" r="r" b="b"/>
                  <a:pathLst>
                    <a:path w="184" h="212">
                      <a:moveTo>
                        <a:pt x="0" y="0"/>
                      </a:moveTo>
                      <a:lnTo>
                        <a:pt x="0" y="212"/>
                      </a:lnTo>
                      <a:lnTo>
                        <a:pt x="184" y="106"/>
                      </a:lnTo>
                      <a:lnTo>
                        <a:pt x="0" y="0"/>
                      </a:lnTo>
                      <a:close/>
                    </a:path>
                  </a:pathLst>
                </a:custGeom>
                <a:solidFill>
                  <a:srgbClr val="81B4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265" name="Freeform 75">
                  <a:extLst>
                    <a:ext uri="{FF2B5EF4-FFF2-40B4-BE49-F238E27FC236}">
                      <a16:creationId xmlns:a16="http://schemas.microsoft.com/office/drawing/2014/main" id="{28DF9F7D-9216-8C00-16D9-84E99EB55972}"/>
                    </a:ext>
                  </a:extLst>
                </p:cNvPr>
                <p:cNvSpPr>
                  <a:spLocks/>
                </p:cNvSpPr>
                <p:nvPr/>
              </p:nvSpPr>
              <p:spPr bwMode="auto">
                <a:xfrm>
                  <a:off x="5026" y="3702"/>
                  <a:ext cx="184" cy="213"/>
                </a:xfrm>
                <a:custGeom>
                  <a:avLst/>
                  <a:gdLst>
                    <a:gd name="T0" fmla="*/ 0 w 184"/>
                    <a:gd name="T1" fmla="*/ 213 h 213"/>
                    <a:gd name="T2" fmla="*/ 184 w 184"/>
                    <a:gd name="T3" fmla="*/ 107 h 213"/>
                    <a:gd name="T4" fmla="*/ 0 w 184"/>
                    <a:gd name="T5" fmla="*/ 0 h 213"/>
                    <a:gd name="T6" fmla="*/ 0 w 184"/>
                    <a:gd name="T7" fmla="*/ 213 h 213"/>
                  </a:gdLst>
                  <a:ahLst/>
                  <a:cxnLst>
                    <a:cxn ang="0">
                      <a:pos x="T0" y="T1"/>
                    </a:cxn>
                    <a:cxn ang="0">
                      <a:pos x="T2" y="T3"/>
                    </a:cxn>
                    <a:cxn ang="0">
                      <a:pos x="T4" y="T5"/>
                    </a:cxn>
                    <a:cxn ang="0">
                      <a:pos x="T6" y="T7"/>
                    </a:cxn>
                  </a:cxnLst>
                  <a:rect l="0" t="0" r="r" b="b"/>
                  <a:pathLst>
                    <a:path w="184" h="213">
                      <a:moveTo>
                        <a:pt x="0" y="213"/>
                      </a:moveTo>
                      <a:lnTo>
                        <a:pt x="184" y="107"/>
                      </a:lnTo>
                      <a:lnTo>
                        <a:pt x="0" y="0"/>
                      </a:lnTo>
                      <a:lnTo>
                        <a:pt x="0" y="213"/>
                      </a:lnTo>
                      <a:close/>
                    </a:path>
                  </a:pathLst>
                </a:custGeom>
                <a:solidFill>
                  <a:srgbClr val="81B4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266" name="Freeform 76">
                  <a:extLst>
                    <a:ext uri="{FF2B5EF4-FFF2-40B4-BE49-F238E27FC236}">
                      <a16:creationId xmlns:a16="http://schemas.microsoft.com/office/drawing/2014/main" id="{26AEF83E-98C3-84CE-C472-7CADCCCE2783}"/>
                    </a:ext>
                  </a:extLst>
                </p:cNvPr>
                <p:cNvSpPr>
                  <a:spLocks/>
                </p:cNvSpPr>
                <p:nvPr/>
              </p:nvSpPr>
              <p:spPr bwMode="auto">
                <a:xfrm>
                  <a:off x="2461" y="3284"/>
                  <a:ext cx="1117" cy="266"/>
                </a:xfrm>
                <a:custGeom>
                  <a:avLst/>
                  <a:gdLst>
                    <a:gd name="T0" fmla="*/ 426 w 558"/>
                    <a:gd name="T1" fmla="*/ 0 h 133"/>
                    <a:gd name="T2" fmla="*/ 130 w 558"/>
                    <a:gd name="T3" fmla="*/ 0 h 133"/>
                    <a:gd name="T4" fmla="*/ 0 w 558"/>
                    <a:gd name="T5" fmla="*/ 130 h 133"/>
                    <a:gd name="T6" fmla="*/ 9 w 558"/>
                    <a:gd name="T7" fmla="*/ 133 h 133"/>
                    <a:gd name="T8" fmla="*/ 552 w 558"/>
                    <a:gd name="T9" fmla="*/ 133 h 133"/>
                    <a:gd name="T10" fmla="*/ 558 w 558"/>
                    <a:gd name="T11" fmla="*/ 132 h 133"/>
                    <a:gd name="T12" fmla="*/ 426 w 558"/>
                    <a:gd name="T13" fmla="*/ 0 h 133"/>
                  </a:gdLst>
                  <a:ahLst/>
                  <a:cxnLst>
                    <a:cxn ang="0">
                      <a:pos x="T0" y="T1"/>
                    </a:cxn>
                    <a:cxn ang="0">
                      <a:pos x="T2" y="T3"/>
                    </a:cxn>
                    <a:cxn ang="0">
                      <a:pos x="T4" y="T5"/>
                    </a:cxn>
                    <a:cxn ang="0">
                      <a:pos x="T6" y="T7"/>
                    </a:cxn>
                    <a:cxn ang="0">
                      <a:pos x="T8" y="T9"/>
                    </a:cxn>
                    <a:cxn ang="0">
                      <a:pos x="T10" y="T11"/>
                    </a:cxn>
                    <a:cxn ang="0">
                      <a:pos x="T12" y="T13"/>
                    </a:cxn>
                  </a:cxnLst>
                  <a:rect l="0" t="0" r="r" b="b"/>
                  <a:pathLst>
                    <a:path w="558" h="133">
                      <a:moveTo>
                        <a:pt x="426" y="0"/>
                      </a:moveTo>
                      <a:cubicBezTo>
                        <a:pt x="130" y="0"/>
                        <a:pt x="130" y="0"/>
                        <a:pt x="130" y="0"/>
                      </a:cubicBezTo>
                      <a:cubicBezTo>
                        <a:pt x="0" y="130"/>
                        <a:pt x="0" y="130"/>
                        <a:pt x="0" y="130"/>
                      </a:cubicBezTo>
                      <a:cubicBezTo>
                        <a:pt x="3" y="132"/>
                        <a:pt x="6" y="133"/>
                        <a:pt x="9" y="133"/>
                      </a:cubicBezTo>
                      <a:cubicBezTo>
                        <a:pt x="552" y="133"/>
                        <a:pt x="552" y="133"/>
                        <a:pt x="552" y="133"/>
                      </a:cubicBezTo>
                      <a:cubicBezTo>
                        <a:pt x="554" y="133"/>
                        <a:pt x="556" y="133"/>
                        <a:pt x="558" y="132"/>
                      </a:cubicBezTo>
                      <a:cubicBezTo>
                        <a:pt x="426" y="0"/>
                        <a:pt x="426" y="0"/>
                        <a:pt x="426" y="0"/>
                      </a:cubicBezTo>
                    </a:path>
                  </a:pathLst>
                </a:custGeom>
                <a:solidFill>
                  <a:srgbClr val="D7D8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267" name="Freeform 77">
                  <a:extLst>
                    <a:ext uri="{FF2B5EF4-FFF2-40B4-BE49-F238E27FC236}">
                      <a16:creationId xmlns:a16="http://schemas.microsoft.com/office/drawing/2014/main" id="{5F87F3A1-AFC0-EE53-4486-C6B3446B849A}"/>
                    </a:ext>
                  </a:extLst>
                </p:cNvPr>
                <p:cNvSpPr>
                  <a:spLocks/>
                </p:cNvSpPr>
                <p:nvPr/>
              </p:nvSpPr>
              <p:spPr bwMode="auto">
                <a:xfrm>
                  <a:off x="2461" y="3017"/>
                  <a:ext cx="1117" cy="267"/>
                </a:xfrm>
                <a:custGeom>
                  <a:avLst/>
                  <a:gdLst>
                    <a:gd name="T0" fmla="*/ 552 w 558"/>
                    <a:gd name="T1" fmla="*/ 0 h 133"/>
                    <a:gd name="T2" fmla="*/ 9 w 558"/>
                    <a:gd name="T3" fmla="*/ 0 h 133"/>
                    <a:gd name="T4" fmla="*/ 0 w 558"/>
                    <a:gd name="T5" fmla="*/ 3 h 133"/>
                    <a:gd name="T6" fmla="*/ 130 w 558"/>
                    <a:gd name="T7" fmla="*/ 133 h 133"/>
                    <a:gd name="T8" fmla="*/ 130 w 558"/>
                    <a:gd name="T9" fmla="*/ 133 h 133"/>
                    <a:gd name="T10" fmla="*/ 426 w 558"/>
                    <a:gd name="T11" fmla="*/ 133 h 133"/>
                    <a:gd name="T12" fmla="*/ 426 w 558"/>
                    <a:gd name="T13" fmla="*/ 133 h 133"/>
                    <a:gd name="T14" fmla="*/ 558 w 558"/>
                    <a:gd name="T15" fmla="*/ 1 h 133"/>
                    <a:gd name="T16" fmla="*/ 552 w 558"/>
                    <a:gd name="T17"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8" h="133">
                      <a:moveTo>
                        <a:pt x="552" y="0"/>
                      </a:moveTo>
                      <a:cubicBezTo>
                        <a:pt x="9" y="0"/>
                        <a:pt x="9" y="0"/>
                        <a:pt x="9" y="0"/>
                      </a:cubicBezTo>
                      <a:cubicBezTo>
                        <a:pt x="6" y="0"/>
                        <a:pt x="3" y="1"/>
                        <a:pt x="0" y="3"/>
                      </a:cubicBezTo>
                      <a:cubicBezTo>
                        <a:pt x="130" y="133"/>
                        <a:pt x="130" y="133"/>
                        <a:pt x="130" y="133"/>
                      </a:cubicBezTo>
                      <a:cubicBezTo>
                        <a:pt x="130" y="133"/>
                        <a:pt x="130" y="133"/>
                        <a:pt x="130" y="133"/>
                      </a:cubicBezTo>
                      <a:cubicBezTo>
                        <a:pt x="426" y="133"/>
                        <a:pt x="426" y="133"/>
                        <a:pt x="426" y="133"/>
                      </a:cubicBezTo>
                      <a:cubicBezTo>
                        <a:pt x="426" y="133"/>
                        <a:pt x="426" y="133"/>
                        <a:pt x="426" y="133"/>
                      </a:cubicBezTo>
                      <a:cubicBezTo>
                        <a:pt x="558" y="1"/>
                        <a:pt x="558" y="1"/>
                        <a:pt x="558" y="1"/>
                      </a:cubicBezTo>
                      <a:cubicBezTo>
                        <a:pt x="556" y="1"/>
                        <a:pt x="554" y="0"/>
                        <a:pt x="552" y="0"/>
                      </a:cubicBezTo>
                    </a:path>
                  </a:pathLst>
                </a:custGeom>
                <a:solidFill>
                  <a:srgbClr val="CACB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268" name="Freeform 78">
                  <a:extLst>
                    <a:ext uri="{FF2B5EF4-FFF2-40B4-BE49-F238E27FC236}">
                      <a16:creationId xmlns:a16="http://schemas.microsoft.com/office/drawing/2014/main" id="{3701A4B4-E6AA-04FE-4CF7-16F24E8DAE75}"/>
                    </a:ext>
                  </a:extLst>
                </p:cNvPr>
                <p:cNvSpPr>
                  <a:spLocks/>
                </p:cNvSpPr>
                <p:nvPr/>
              </p:nvSpPr>
              <p:spPr bwMode="auto">
                <a:xfrm>
                  <a:off x="2445" y="3023"/>
                  <a:ext cx="276" cy="521"/>
                </a:xfrm>
                <a:custGeom>
                  <a:avLst/>
                  <a:gdLst>
                    <a:gd name="T0" fmla="*/ 8 w 138"/>
                    <a:gd name="T1" fmla="*/ 0 h 260"/>
                    <a:gd name="T2" fmla="*/ 0 w 138"/>
                    <a:gd name="T3" fmla="*/ 14 h 260"/>
                    <a:gd name="T4" fmla="*/ 0 w 138"/>
                    <a:gd name="T5" fmla="*/ 246 h 260"/>
                    <a:gd name="T6" fmla="*/ 8 w 138"/>
                    <a:gd name="T7" fmla="*/ 260 h 260"/>
                    <a:gd name="T8" fmla="*/ 138 w 138"/>
                    <a:gd name="T9" fmla="*/ 130 h 260"/>
                    <a:gd name="T10" fmla="*/ 138 w 138"/>
                    <a:gd name="T11" fmla="*/ 130 h 260"/>
                    <a:gd name="T12" fmla="*/ 8 w 138"/>
                    <a:gd name="T13" fmla="*/ 0 h 260"/>
                  </a:gdLst>
                  <a:ahLst/>
                  <a:cxnLst>
                    <a:cxn ang="0">
                      <a:pos x="T0" y="T1"/>
                    </a:cxn>
                    <a:cxn ang="0">
                      <a:pos x="T2" y="T3"/>
                    </a:cxn>
                    <a:cxn ang="0">
                      <a:pos x="T4" y="T5"/>
                    </a:cxn>
                    <a:cxn ang="0">
                      <a:pos x="T6" y="T7"/>
                    </a:cxn>
                    <a:cxn ang="0">
                      <a:pos x="T8" y="T9"/>
                    </a:cxn>
                    <a:cxn ang="0">
                      <a:pos x="T10" y="T11"/>
                    </a:cxn>
                    <a:cxn ang="0">
                      <a:pos x="T12" y="T13"/>
                    </a:cxn>
                  </a:cxnLst>
                  <a:rect l="0" t="0" r="r" b="b"/>
                  <a:pathLst>
                    <a:path w="138" h="260">
                      <a:moveTo>
                        <a:pt x="8" y="0"/>
                      </a:moveTo>
                      <a:cubicBezTo>
                        <a:pt x="3" y="3"/>
                        <a:pt x="0" y="8"/>
                        <a:pt x="0" y="14"/>
                      </a:cubicBezTo>
                      <a:cubicBezTo>
                        <a:pt x="0" y="246"/>
                        <a:pt x="0" y="246"/>
                        <a:pt x="0" y="246"/>
                      </a:cubicBezTo>
                      <a:cubicBezTo>
                        <a:pt x="0" y="252"/>
                        <a:pt x="3" y="257"/>
                        <a:pt x="8" y="260"/>
                      </a:cubicBezTo>
                      <a:cubicBezTo>
                        <a:pt x="138" y="130"/>
                        <a:pt x="138" y="130"/>
                        <a:pt x="138" y="130"/>
                      </a:cubicBezTo>
                      <a:cubicBezTo>
                        <a:pt x="138" y="130"/>
                        <a:pt x="138" y="130"/>
                        <a:pt x="138" y="130"/>
                      </a:cubicBezTo>
                      <a:cubicBezTo>
                        <a:pt x="8" y="0"/>
                        <a:pt x="8" y="0"/>
                        <a:pt x="8" y="0"/>
                      </a:cubicBezTo>
                    </a:path>
                  </a:pathLst>
                </a:custGeom>
                <a:solidFill>
                  <a:srgbClr val="C4C5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269" name="Freeform 79">
                  <a:extLst>
                    <a:ext uri="{FF2B5EF4-FFF2-40B4-BE49-F238E27FC236}">
                      <a16:creationId xmlns:a16="http://schemas.microsoft.com/office/drawing/2014/main" id="{107CDD2C-2900-0007-5BB7-C4B993D74572}"/>
                    </a:ext>
                  </a:extLst>
                </p:cNvPr>
                <p:cNvSpPr>
                  <a:spLocks/>
                </p:cNvSpPr>
                <p:nvPr/>
              </p:nvSpPr>
              <p:spPr bwMode="auto">
                <a:xfrm>
                  <a:off x="3314" y="3019"/>
                  <a:ext cx="286" cy="529"/>
                </a:xfrm>
                <a:custGeom>
                  <a:avLst/>
                  <a:gdLst>
                    <a:gd name="T0" fmla="*/ 132 w 143"/>
                    <a:gd name="T1" fmla="*/ 0 h 264"/>
                    <a:gd name="T2" fmla="*/ 0 w 143"/>
                    <a:gd name="T3" fmla="*/ 132 h 264"/>
                    <a:gd name="T4" fmla="*/ 132 w 143"/>
                    <a:gd name="T5" fmla="*/ 264 h 264"/>
                    <a:gd name="T6" fmla="*/ 143 w 143"/>
                    <a:gd name="T7" fmla="*/ 248 h 264"/>
                    <a:gd name="T8" fmla="*/ 143 w 143"/>
                    <a:gd name="T9" fmla="*/ 16 h 264"/>
                    <a:gd name="T10" fmla="*/ 132 w 143"/>
                    <a:gd name="T11" fmla="*/ 0 h 264"/>
                  </a:gdLst>
                  <a:ahLst/>
                  <a:cxnLst>
                    <a:cxn ang="0">
                      <a:pos x="T0" y="T1"/>
                    </a:cxn>
                    <a:cxn ang="0">
                      <a:pos x="T2" y="T3"/>
                    </a:cxn>
                    <a:cxn ang="0">
                      <a:pos x="T4" y="T5"/>
                    </a:cxn>
                    <a:cxn ang="0">
                      <a:pos x="T6" y="T7"/>
                    </a:cxn>
                    <a:cxn ang="0">
                      <a:pos x="T8" y="T9"/>
                    </a:cxn>
                    <a:cxn ang="0">
                      <a:pos x="T10" y="T11"/>
                    </a:cxn>
                  </a:cxnLst>
                  <a:rect l="0" t="0" r="r" b="b"/>
                  <a:pathLst>
                    <a:path w="143" h="264">
                      <a:moveTo>
                        <a:pt x="132" y="0"/>
                      </a:moveTo>
                      <a:cubicBezTo>
                        <a:pt x="0" y="132"/>
                        <a:pt x="0" y="132"/>
                        <a:pt x="0" y="132"/>
                      </a:cubicBezTo>
                      <a:cubicBezTo>
                        <a:pt x="132" y="264"/>
                        <a:pt x="132" y="264"/>
                        <a:pt x="132" y="264"/>
                      </a:cubicBezTo>
                      <a:cubicBezTo>
                        <a:pt x="138" y="262"/>
                        <a:pt x="143" y="255"/>
                        <a:pt x="143" y="248"/>
                      </a:cubicBezTo>
                      <a:cubicBezTo>
                        <a:pt x="143" y="16"/>
                        <a:pt x="143" y="16"/>
                        <a:pt x="143" y="16"/>
                      </a:cubicBezTo>
                      <a:cubicBezTo>
                        <a:pt x="143" y="9"/>
                        <a:pt x="138" y="2"/>
                        <a:pt x="132" y="0"/>
                      </a:cubicBezTo>
                    </a:path>
                  </a:pathLst>
                </a:custGeom>
                <a:solidFill>
                  <a:srgbClr val="D0D1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270" name="Freeform 80">
                  <a:extLst>
                    <a:ext uri="{FF2B5EF4-FFF2-40B4-BE49-F238E27FC236}">
                      <a16:creationId xmlns:a16="http://schemas.microsoft.com/office/drawing/2014/main" id="{CC3BFBFB-8299-A313-334A-095BDA5C88C4}"/>
                    </a:ext>
                  </a:extLst>
                </p:cNvPr>
                <p:cNvSpPr>
                  <a:spLocks/>
                </p:cNvSpPr>
                <p:nvPr/>
              </p:nvSpPr>
              <p:spPr bwMode="auto">
                <a:xfrm>
                  <a:off x="729" y="1965"/>
                  <a:ext cx="807" cy="411"/>
                </a:xfrm>
                <a:custGeom>
                  <a:avLst/>
                  <a:gdLst>
                    <a:gd name="T0" fmla="*/ 14 w 403"/>
                    <a:gd name="T1" fmla="*/ 0 h 205"/>
                    <a:gd name="T2" fmla="*/ 0 w 403"/>
                    <a:gd name="T3" fmla="*/ 17 h 205"/>
                    <a:gd name="T4" fmla="*/ 0 w 403"/>
                    <a:gd name="T5" fmla="*/ 189 h 205"/>
                    <a:gd name="T6" fmla="*/ 14 w 403"/>
                    <a:gd name="T7" fmla="*/ 205 h 205"/>
                    <a:gd name="T8" fmla="*/ 14 w 403"/>
                    <a:gd name="T9" fmla="*/ 0 h 205"/>
                    <a:gd name="T10" fmla="*/ 389 w 403"/>
                    <a:gd name="T11" fmla="*/ 0 h 205"/>
                    <a:gd name="T12" fmla="*/ 389 w 403"/>
                    <a:gd name="T13" fmla="*/ 205 h 205"/>
                    <a:gd name="T14" fmla="*/ 403 w 403"/>
                    <a:gd name="T15" fmla="*/ 189 h 205"/>
                    <a:gd name="T16" fmla="*/ 403 w 403"/>
                    <a:gd name="T17" fmla="*/ 17 h 205"/>
                    <a:gd name="T18" fmla="*/ 389 w 403"/>
                    <a:gd name="T19" fmla="*/ 0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3" h="205">
                      <a:moveTo>
                        <a:pt x="14" y="0"/>
                      </a:moveTo>
                      <a:cubicBezTo>
                        <a:pt x="6" y="2"/>
                        <a:pt x="0" y="9"/>
                        <a:pt x="0" y="17"/>
                      </a:cubicBezTo>
                      <a:cubicBezTo>
                        <a:pt x="0" y="189"/>
                        <a:pt x="0" y="189"/>
                        <a:pt x="0" y="189"/>
                      </a:cubicBezTo>
                      <a:cubicBezTo>
                        <a:pt x="0" y="197"/>
                        <a:pt x="6" y="204"/>
                        <a:pt x="14" y="205"/>
                      </a:cubicBezTo>
                      <a:cubicBezTo>
                        <a:pt x="14" y="0"/>
                        <a:pt x="14" y="0"/>
                        <a:pt x="14" y="0"/>
                      </a:cubicBezTo>
                      <a:moveTo>
                        <a:pt x="389" y="0"/>
                      </a:moveTo>
                      <a:cubicBezTo>
                        <a:pt x="389" y="205"/>
                        <a:pt x="389" y="205"/>
                        <a:pt x="389" y="205"/>
                      </a:cubicBezTo>
                      <a:cubicBezTo>
                        <a:pt x="397" y="204"/>
                        <a:pt x="403" y="197"/>
                        <a:pt x="403" y="189"/>
                      </a:cubicBezTo>
                      <a:cubicBezTo>
                        <a:pt x="403" y="17"/>
                        <a:pt x="403" y="17"/>
                        <a:pt x="403" y="17"/>
                      </a:cubicBezTo>
                      <a:cubicBezTo>
                        <a:pt x="403" y="9"/>
                        <a:pt x="397" y="2"/>
                        <a:pt x="389" y="0"/>
                      </a:cubicBezTo>
                    </a:path>
                  </a:pathLst>
                </a:custGeom>
                <a:solidFill>
                  <a:srgbClr val="CEE5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271" name="Freeform 81">
                  <a:extLst>
                    <a:ext uri="{FF2B5EF4-FFF2-40B4-BE49-F238E27FC236}">
                      <a16:creationId xmlns:a16="http://schemas.microsoft.com/office/drawing/2014/main" id="{E7F1E4E4-2497-126D-DDEA-74EBE79956BE}"/>
                    </a:ext>
                  </a:extLst>
                </p:cNvPr>
                <p:cNvSpPr>
                  <a:spLocks/>
                </p:cNvSpPr>
                <p:nvPr/>
              </p:nvSpPr>
              <p:spPr bwMode="auto">
                <a:xfrm>
                  <a:off x="765" y="1965"/>
                  <a:ext cx="743" cy="411"/>
                </a:xfrm>
                <a:custGeom>
                  <a:avLst/>
                  <a:gdLst>
                    <a:gd name="T0" fmla="*/ 368 w 371"/>
                    <a:gd name="T1" fmla="*/ 0 h 205"/>
                    <a:gd name="T2" fmla="*/ 356 w 371"/>
                    <a:gd name="T3" fmla="*/ 0 h 205"/>
                    <a:gd name="T4" fmla="*/ 183 w 371"/>
                    <a:gd name="T5" fmla="*/ 99 h 205"/>
                    <a:gd name="T6" fmla="*/ 183 w 371"/>
                    <a:gd name="T7" fmla="*/ 0 h 205"/>
                    <a:gd name="T8" fmla="*/ 12 w 371"/>
                    <a:gd name="T9" fmla="*/ 0 h 205"/>
                    <a:gd name="T10" fmla="*/ 183 w 371"/>
                    <a:gd name="T11" fmla="*/ 99 h 205"/>
                    <a:gd name="T12" fmla="*/ 0 w 371"/>
                    <a:gd name="T13" fmla="*/ 205 h 205"/>
                    <a:gd name="T14" fmla="*/ 183 w 371"/>
                    <a:gd name="T15" fmla="*/ 205 h 205"/>
                    <a:gd name="T16" fmla="*/ 183 w 371"/>
                    <a:gd name="T17" fmla="*/ 99 h 205"/>
                    <a:gd name="T18" fmla="*/ 368 w 371"/>
                    <a:gd name="T19" fmla="*/ 205 h 205"/>
                    <a:gd name="T20" fmla="*/ 368 w 371"/>
                    <a:gd name="T21" fmla="*/ 205 h 205"/>
                    <a:gd name="T22" fmla="*/ 371 w 371"/>
                    <a:gd name="T23" fmla="*/ 205 h 205"/>
                    <a:gd name="T24" fmla="*/ 371 w 371"/>
                    <a:gd name="T25" fmla="*/ 0 h 205"/>
                    <a:gd name="T26" fmla="*/ 368 w 371"/>
                    <a:gd name="T27" fmla="*/ 0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1" h="205">
                      <a:moveTo>
                        <a:pt x="368" y="0"/>
                      </a:moveTo>
                      <a:cubicBezTo>
                        <a:pt x="356" y="0"/>
                        <a:pt x="356" y="0"/>
                        <a:pt x="356" y="0"/>
                      </a:cubicBezTo>
                      <a:cubicBezTo>
                        <a:pt x="183" y="99"/>
                        <a:pt x="183" y="99"/>
                        <a:pt x="183" y="99"/>
                      </a:cubicBezTo>
                      <a:cubicBezTo>
                        <a:pt x="183" y="0"/>
                        <a:pt x="183" y="0"/>
                        <a:pt x="183" y="0"/>
                      </a:cubicBezTo>
                      <a:cubicBezTo>
                        <a:pt x="12" y="0"/>
                        <a:pt x="12" y="0"/>
                        <a:pt x="12" y="0"/>
                      </a:cubicBezTo>
                      <a:cubicBezTo>
                        <a:pt x="183" y="99"/>
                        <a:pt x="183" y="99"/>
                        <a:pt x="183" y="99"/>
                      </a:cubicBezTo>
                      <a:cubicBezTo>
                        <a:pt x="0" y="205"/>
                        <a:pt x="0" y="205"/>
                        <a:pt x="0" y="205"/>
                      </a:cubicBezTo>
                      <a:cubicBezTo>
                        <a:pt x="183" y="205"/>
                        <a:pt x="183" y="205"/>
                        <a:pt x="183" y="205"/>
                      </a:cubicBezTo>
                      <a:cubicBezTo>
                        <a:pt x="183" y="99"/>
                        <a:pt x="183" y="99"/>
                        <a:pt x="183" y="99"/>
                      </a:cubicBezTo>
                      <a:cubicBezTo>
                        <a:pt x="368" y="205"/>
                        <a:pt x="368" y="205"/>
                        <a:pt x="368" y="205"/>
                      </a:cubicBezTo>
                      <a:cubicBezTo>
                        <a:pt x="368" y="205"/>
                        <a:pt x="368" y="205"/>
                        <a:pt x="368" y="205"/>
                      </a:cubicBezTo>
                      <a:cubicBezTo>
                        <a:pt x="369" y="205"/>
                        <a:pt x="370" y="205"/>
                        <a:pt x="371" y="205"/>
                      </a:cubicBezTo>
                      <a:cubicBezTo>
                        <a:pt x="371" y="0"/>
                        <a:pt x="371" y="0"/>
                        <a:pt x="371" y="0"/>
                      </a:cubicBezTo>
                      <a:cubicBezTo>
                        <a:pt x="370" y="0"/>
                        <a:pt x="369" y="0"/>
                        <a:pt x="368" y="0"/>
                      </a:cubicBezTo>
                    </a:path>
                  </a:pathLst>
                </a:custGeom>
                <a:solidFill>
                  <a:srgbClr val="BBD3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272" name="Freeform 82">
                  <a:extLst>
                    <a:ext uri="{FF2B5EF4-FFF2-40B4-BE49-F238E27FC236}">
                      <a16:creationId xmlns:a16="http://schemas.microsoft.com/office/drawing/2014/main" id="{27DF274E-ACD5-9B6A-DE6A-205D0FB5F41F}"/>
                    </a:ext>
                  </a:extLst>
                </p:cNvPr>
                <p:cNvSpPr>
                  <a:spLocks/>
                </p:cNvSpPr>
                <p:nvPr/>
              </p:nvSpPr>
              <p:spPr bwMode="auto">
                <a:xfrm>
                  <a:off x="757" y="1965"/>
                  <a:ext cx="375" cy="411"/>
                </a:xfrm>
                <a:custGeom>
                  <a:avLst/>
                  <a:gdLst>
                    <a:gd name="T0" fmla="*/ 16 w 187"/>
                    <a:gd name="T1" fmla="*/ 0 h 205"/>
                    <a:gd name="T2" fmla="*/ 3 w 187"/>
                    <a:gd name="T3" fmla="*/ 0 h 205"/>
                    <a:gd name="T4" fmla="*/ 0 w 187"/>
                    <a:gd name="T5" fmla="*/ 0 h 205"/>
                    <a:gd name="T6" fmla="*/ 0 w 187"/>
                    <a:gd name="T7" fmla="*/ 205 h 205"/>
                    <a:gd name="T8" fmla="*/ 3 w 187"/>
                    <a:gd name="T9" fmla="*/ 205 h 205"/>
                    <a:gd name="T10" fmla="*/ 4 w 187"/>
                    <a:gd name="T11" fmla="*/ 205 h 205"/>
                    <a:gd name="T12" fmla="*/ 187 w 187"/>
                    <a:gd name="T13" fmla="*/ 99 h 205"/>
                    <a:gd name="T14" fmla="*/ 16 w 187"/>
                    <a:gd name="T15" fmla="*/ 0 h 2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205">
                      <a:moveTo>
                        <a:pt x="16" y="0"/>
                      </a:moveTo>
                      <a:cubicBezTo>
                        <a:pt x="3" y="0"/>
                        <a:pt x="3" y="0"/>
                        <a:pt x="3" y="0"/>
                      </a:cubicBezTo>
                      <a:cubicBezTo>
                        <a:pt x="2" y="0"/>
                        <a:pt x="1" y="0"/>
                        <a:pt x="0" y="0"/>
                      </a:cubicBezTo>
                      <a:cubicBezTo>
                        <a:pt x="0" y="205"/>
                        <a:pt x="0" y="205"/>
                        <a:pt x="0" y="205"/>
                      </a:cubicBezTo>
                      <a:cubicBezTo>
                        <a:pt x="1" y="205"/>
                        <a:pt x="2" y="205"/>
                        <a:pt x="3" y="205"/>
                      </a:cubicBezTo>
                      <a:cubicBezTo>
                        <a:pt x="4" y="205"/>
                        <a:pt x="4" y="205"/>
                        <a:pt x="4" y="205"/>
                      </a:cubicBezTo>
                      <a:cubicBezTo>
                        <a:pt x="187" y="99"/>
                        <a:pt x="187" y="99"/>
                        <a:pt x="187" y="99"/>
                      </a:cubicBezTo>
                      <a:cubicBezTo>
                        <a:pt x="16" y="0"/>
                        <a:pt x="16" y="0"/>
                        <a:pt x="16" y="0"/>
                      </a:cubicBezTo>
                    </a:path>
                  </a:pathLst>
                </a:custGeom>
                <a:solidFill>
                  <a:srgbClr val="C0DA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273" name="Freeform 83">
                  <a:extLst>
                    <a:ext uri="{FF2B5EF4-FFF2-40B4-BE49-F238E27FC236}">
                      <a16:creationId xmlns:a16="http://schemas.microsoft.com/office/drawing/2014/main" id="{FFFD62D0-8BA5-449C-6A55-5F65764598E9}"/>
                    </a:ext>
                  </a:extLst>
                </p:cNvPr>
                <p:cNvSpPr>
                  <a:spLocks/>
                </p:cNvSpPr>
                <p:nvPr/>
              </p:nvSpPr>
              <p:spPr bwMode="auto">
                <a:xfrm>
                  <a:off x="1132" y="2164"/>
                  <a:ext cx="370" cy="212"/>
                </a:xfrm>
                <a:custGeom>
                  <a:avLst/>
                  <a:gdLst>
                    <a:gd name="T0" fmla="*/ 0 w 370"/>
                    <a:gd name="T1" fmla="*/ 0 h 212"/>
                    <a:gd name="T2" fmla="*/ 0 w 370"/>
                    <a:gd name="T3" fmla="*/ 212 h 212"/>
                    <a:gd name="T4" fmla="*/ 370 w 370"/>
                    <a:gd name="T5" fmla="*/ 212 h 212"/>
                    <a:gd name="T6" fmla="*/ 0 w 370"/>
                    <a:gd name="T7" fmla="*/ 0 h 212"/>
                  </a:gdLst>
                  <a:ahLst/>
                  <a:cxnLst>
                    <a:cxn ang="0">
                      <a:pos x="T0" y="T1"/>
                    </a:cxn>
                    <a:cxn ang="0">
                      <a:pos x="T2" y="T3"/>
                    </a:cxn>
                    <a:cxn ang="0">
                      <a:pos x="T4" y="T5"/>
                    </a:cxn>
                    <a:cxn ang="0">
                      <a:pos x="T6" y="T7"/>
                    </a:cxn>
                  </a:cxnLst>
                  <a:rect l="0" t="0" r="r" b="b"/>
                  <a:pathLst>
                    <a:path w="370" h="212">
                      <a:moveTo>
                        <a:pt x="0" y="0"/>
                      </a:moveTo>
                      <a:lnTo>
                        <a:pt x="0" y="212"/>
                      </a:lnTo>
                      <a:lnTo>
                        <a:pt x="370" y="212"/>
                      </a:lnTo>
                      <a:lnTo>
                        <a:pt x="0" y="0"/>
                      </a:lnTo>
                      <a:close/>
                    </a:path>
                  </a:pathLst>
                </a:custGeom>
                <a:solidFill>
                  <a:srgbClr val="C0DA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274" name="Freeform 84">
                  <a:extLst>
                    <a:ext uri="{FF2B5EF4-FFF2-40B4-BE49-F238E27FC236}">
                      <a16:creationId xmlns:a16="http://schemas.microsoft.com/office/drawing/2014/main" id="{D2F3E2D5-61CF-201F-7A78-F0A1281DCA78}"/>
                    </a:ext>
                  </a:extLst>
                </p:cNvPr>
                <p:cNvSpPr>
                  <a:spLocks/>
                </p:cNvSpPr>
                <p:nvPr/>
              </p:nvSpPr>
              <p:spPr bwMode="auto">
                <a:xfrm>
                  <a:off x="1132" y="2164"/>
                  <a:ext cx="370" cy="212"/>
                </a:xfrm>
                <a:custGeom>
                  <a:avLst/>
                  <a:gdLst>
                    <a:gd name="T0" fmla="*/ 0 w 370"/>
                    <a:gd name="T1" fmla="*/ 0 h 212"/>
                    <a:gd name="T2" fmla="*/ 0 w 370"/>
                    <a:gd name="T3" fmla="*/ 212 h 212"/>
                    <a:gd name="T4" fmla="*/ 370 w 370"/>
                    <a:gd name="T5" fmla="*/ 212 h 212"/>
                    <a:gd name="T6" fmla="*/ 0 w 370"/>
                    <a:gd name="T7" fmla="*/ 0 h 212"/>
                  </a:gdLst>
                  <a:ahLst/>
                  <a:cxnLst>
                    <a:cxn ang="0">
                      <a:pos x="T0" y="T1"/>
                    </a:cxn>
                    <a:cxn ang="0">
                      <a:pos x="T2" y="T3"/>
                    </a:cxn>
                    <a:cxn ang="0">
                      <a:pos x="T4" y="T5"/>
                    </a:cxn>
                    <a:cxn ang="0">
                      <a:pos x="T6" y="T7"/>
                    </a:cxn>
                  </a:cxnLst>
                  <a:rect l="0" t="0" r="r" b="b"/>
                  <a:pathLst>
                    <a:path w="370" h="212">
                      <a:moveTo>
                        <a:pt x="0" y="0"/>
                      </a:moveTo>
                      <a:lnTo>
                        <a:pt x="0" y="212"/>
                      </a:lnTo>
                      <a:lnTo>
                        <a:pt x="370" y="21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275" name="Freeform 85">
                  <a:extLst>
                    <a:ext uri="{FF2B5EF4-FFF2-40B4-BE49-F238E27FC236}">
                      <a16:creationId xmlns:a16="http://schemas.microsoft.com/office/drawing/2014/main" id="{640BD5A2-D375-1763-DA67-1C1DF167A317}"/>
                    </a:ext>
                  </a:extLst>
                </p:cNvPr>
                <p:cNvSpPr>
                  <a:spLocks/>
                </p:cNvSpPr>
                <p:nvPr/>
              </p:nvSpPr>
              <p:spPr bwMode="auto">
                <a:xfrm>
                  <a:off x="1132" y="1965"/>
                  <a:ext cx="346" cy="199"/>
                </a:xfrm>
                <a:custGeom>
                  <a:avLst/>
                  <a:gdLst>
                    <a:gd name="T0" fmla="*/ 346 w 346"/>
                    <a:gd name="T1" fmla="*/ 0 h 199"/>
                    <a:gd name="T2" fmla="*/ 0 w 346"/>
                    <a:gd name="T3" fmla="*/ 0 h 199"/>
                    <a:gd name="T4" fmla="*/ 0 w 346"/>
                    <a:gd name="T5" fmla="*/ 199 h 199"/>
                    <a:gd name="T6" fmla="*/ 346 w 346"/>
                    <a:gd name="T7" fmla="*/ 0 h 199"/>
                  </a:gdLst>
                  <a:ahLst/>
                  <a:cxnLst>
                    <a:cxn ang="0">
                      <a:pos x="T0" y="T1"/>
                    </a:cxn>
                    <a:cxn ang="0">
                      <a:pos x="T2" y="T3"/>
                    </a:cxn>
                    <a:cxn ang="0">
                      <a:pos x="T4" y="T5"/>
                    </a:cxn>
                    <a:cxn ang="0">
                      <a:pos x="T6" y="T7"/>
                    </a:cxn>
                  </a:cxnLst>
                  <a:rect l="0" t="0" r="r" b="b"/>
                  <a:pathLst>
                    <a:path w="346" h="199">
                      <a:moveTo>
                        <a:pt x="346" y="0"/>
                      </a:moveTo>
                      <a:lnTo>
                        <a:pt x="0" y="0"/>
                      </a:lnTo>
                      <a:lnTo>
                        <a:pt x="0" y="199"/>
                      </a:lnTo>
                      <a:lnTo>
                        <a:pt x="346" y="0"/>
                      </a:lnTo>
                      <a:close/>
                    </a:path>
                  </a:pathLst>
                </a:custGeom>
                <a:solidFill>
                  <a:srgbClr val="C0DA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276" name="Freeform 86">
                  <a:extLst>
                    <a:ext uri="{FF2B5EF4-FFF2-40B4-BE49-F238E27FC236}">
                      <a16:creationId xmlns:a16="http://schemas.microsoft.com/office/drawing/2014/main" id="{D60D7B84-5328-E62A-C9A0-3A2693B846EE}"/>
                    </a:ext>
                  </a:extLst>
                </p:cNvPr>
                <p:cNvSpPr>
                  <a:spLocks/>
                </p:cNvSpPr>
                <p:nvPr/>
              </p:nvSpPr>
              <p:spPr bwMode="auto">
                <a:xfrm>
                  <a:off x="1132" y="1965"/>
                  <a:ext cx="346" cy="199"/>
                </a:xfrm>
                <a:custGeom>
                  <a:avLst/>
                  <a:gdLst>
                    <a:gd name="T0" fmla="*/ 346 w 346"/>
                    <a:gd name="T1" fmla="*/ 0 h 199"/>
                    <a:gd name="T2" fmla="*/ 0 w 346"/>
                    <a:gd name="T3" fmla="*/ 0 h 199"/>
                    <a:gd name="T4" fmla="*/ 0 w 346"/>
                    <a:gd name="T5" fmla="*/ 199 h 199"/>
                    <a:gd name="T6" fmla="*/ 346 w 346"/>
                    <a:gd name="T7" fmla="*/ 0 h 199"/>
                  </a:gdLst>
                  <a:ahLst/>
                  <a:cxnLst>
                    <a:cxn ang="0">
                      <a:pos x="T0" y="T1"/>
                    </a:cxn>
                    <a:cxn ang="0">
                      <a:pos x="T2" y="T3"/>
                    </a:cxn>
                    <a:cxn ang="0">
                      <a:pos x="T4" y="T5"/>
                    </a:cxn>
                    <a:cxn ang="0">
                      <a:pos x="T6" y="T7"/>
                    </a:cxn>
                  </a:cxnLst>
                  <a:rect l="0" t="0" r="r" b="b"/>
                  <a:pathLst>
                    <a:path w="346" h="199">
                      <a:moveTo>
                        <a:pt x="346" y="0"/>
                      </a:moveTo>
                      <a:lnTo>
                        <a:pt x="0" y="0"/>
                      </a:lnTo>
                      <a:lnTo>
                        <a:pt x="0" y="199"/>
                      </a:lnTo>
                      <a:lnTo>
                        <a:pt x="3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277" name="Freeform 87">
                  <a:extLst>
                    <a:ext uri="{FF2B5EF4-FFF2-40B4-BE49-F238E27FC236}">
                      <a16:creationId xmlns:a16="http://schemas.microsoft.com/office/drawing/2014/main" id="{CDD60320-17AD-2113-F9D4-E25FEE6A738F}"/>
                    </a:ext>
                  </a:extLst>
                </p:cNvPr>
                <p:cNvSpPr>
                  <a:spLocks/>
                </p:cNvSpPr>
                <p:nvPr/>
              </p:nvSpPr>
              <p:spPr bwMode="auto">
                <a:xfrm>
                  <a:off x="3540" y="3791"/>
                  <a:ext cx="807" cy="510"/>
                </a:xfrm>
                <a:custGeom>
                  <a:avLst/>
                  <a:gdLst>
                    <a:gd name="T0" fmla="*/ 387 w 403"/>
                    <a:gd name="T1" fmla="*/ 0 h 255"/>
                    <a:gd name="T2" fmla="*/ 170 w 403"/>
                    <a:gd name="T3" fmla="*/ 0 h 255"/>
                    <a:gd name="T4" fmla="*/ 170 w 403"/>
                    <a:gd name="T5" fmla="*/ 30 h 255"/>
                    <a:gd name="T6" fmla="*/ 170 w 403"/>
                    <a:gd name="T7" fmla="*/ 30 h 255"/>
                    <a:gd name="T8" fmla="*/ 170 w 403"/>
                    <a:gd name="T9" fmla="*/ 30 h 255"/>
                    <a:gd name="T10" fmla="*/ 0 w 403"/>
                    <a:gd name="T11" fmla="*/ 30 h 255"/>
                    <a:gd name="T12" fmla="*/ 0 w 403"/>
                    <a:gd name="T13" fmla="*/ 239 h 255"/>
                    <a:gd name="T14" fmla="*/ 17 w 403"/>
                    <a:gd name="T15" fmla="*/ 255 h 255"/>
                    <a:gd name="T16" fmla="*/ 387 w 403"/>
                    <a:gd name="T17" fmla="*/ 255 h 255"/>
                    <a:gd name="T18" fmla="*/ 403 w 403"/>
                    <a:gd name="T19" fmla="*/ 239 h 255"/>
                    <a:gd name="T20" fmla="*/ 403 w 403"/>
                    <a:gd name="T21" fmla="*/ 16 h 255"/>
                    <a:gd name="T22" fmla="*/ 387 w 403"/>
                    <a:gd name="T23"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3" h="255">
                      <a:moveTo>
                        <a:pt x="387" y="0"/>
                      </a:moveTo>
                      <a:cubicBezTo>
                        <a:pt x="170" y="0"/>
                        <a:pt x="170" y="0"/>
                        <a:pt x="170" y="0"/>
                      </a:cubicBezTo>
                      <a:cubicBezTo>
                        <a:pt x="170" y="30"/>
                        <a:pt x="170" y="30"/>
                        <a:pt x="170" y="30"/>
                      </a:cubicBezTo>
                      <a:cubicBezTo>
                        <a:pt x="170" y="30"/>
                        <a:pt x="170" y="30"/>
                        <a:pt x="170" y="30"/>
                      </a:cubicBezTo>
                      <a:cubicBezTo>
                        <a:pt x="170" y="30"/>
                        <a:pt x="170" y="30"/>
                        <a:pt x="170" y="30"/>
                      </a:cubicBezTo>
                      <a:cubicBezTo>
                        <a:pt x="0" y="30"/>
                        <a:pt x="0" y="30"/>
                        <a:pt x="0" y="30"/>
                      </a:cubicBezTo>
                      <a:cubicBezTo>
                        <a:pt x="0" y="239"/>
                        <a:pt x="0" y="239"/>
                        <a:pt x="0" y="239"/>
                      </a:cubicBezTo>
                      <a:cubicBezTo>
                        <a:pt x="0" y="248"/>
                        <a:pt x="8" y="255"/>
                        <a:pt x="17" y="255"/>
                      </a:cubicBezTo>
                      <a:cubicBezTo>
                        <a:pt x="387" y="255"/>
                        <a:pt x="387" y="255"/>
                        <a:pt x="387" y="255"/>
                      </a:cubicBezTo>
                      <a:cubicBezTo>
                        <a:pt x="396" y="255"/>
                        <a:pt x="403" y="248"/>
                        <a:pt x="403" y="239"/>
                      </a:cubicBezTo>
                      <a:cubicBezTo>
                        <a:pt x="403" y="16"/>
                        <a:pt x="403" y="16"/>
                        <a:pt x="403" y="16"/>
                      </a:cubicBezTo>
                      <a:cubicBezTo>
                        <a:pt x="403" y="7"/>
                        <a:pt x="396" y="0"/>
                        <a:pt x="387" y="0"/>
                      </a:cubicBezTo>
                    </a:path>
                  </a:pathLst>
                </a:custGeom>
                <a:solidFill>
                  <a:srgbClr val="CEE5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278" name="Freeform 88">
                  <a:extLst>
                    <a:ext uri="{FF2B5EF4-FFF2-40B4-BE49-F238E27FC236}">
                      <a16:creationId xmlns:a16="http://schemas.microsoft.com/office/drawing/2014/main" id="{3562D166-C280-F6AA-D3D4-826C014D283E}"/>
                    </a:ext>
                  </a:extLst>
                </p:cNvPr>
                <p:cNvSpPr>
                  <a:spLocks/>
                </p:cNvSpPr>
                <p:nvPr/>
              </p:nvSpPr>
              <p:spPr bwMode="auto">
                <a:xfrm>
                  <a:off x="3540" y="3791"/>
                  <a:ext cx="341" cy="60"/>
                </a:xfrm>
                <a:custGeom>
                  <a:avLst/>
                  <a:gdLst>
                    <a:gd name="T0" fmla="*/ 139 w 170"/>
                    <a:gd name="T1" fmla="*/ 0 h 30"/>
                    <a:gd name="T2" fmla="*/ 17 w 170"/>
                    <a:gd name="T3" fmla="*/ 0 h 30"/>
                    <a:gd name="T4" fmla="*/ 0 w 170"/>
                    <a:gd name="T5" fmla="*/ 16 h 30"/>
                    <a:gd name="T6" fmla="*/ 0 w 170"/>
                    <a:gd name="T7" fmla="*/ 30 h 30"/>
                    <a:gd name="T8" fmla="*/ 170 w 170"/>
                    <a:gd name="T9" fmla="*/ 30 h 30"/>
                    <a:gd name="T10" fmla="*/ 170 w 170"/>
                    <a:gd name="T11" fmla="*/ 30 h 30"/>
                    <a:gd name="T12" fmla="*/ 139 w 170"/>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170" h="30">
                      <a:moveTo>
                        <a:pt x="139" y="0"/>
                      </a:moveTo>
                      <a:cubicBezTo>
                        <a:pt x="17" y="0"/>
                        <a:pt x="17" y="0"/>
                        <a:pt x="17" y="0"/>
                      </a:cubicBezTo>
                      <a:cubicBezTo>
                        <a:pt x="8" y="0"/>
                        <a:pt x="0" y="7"/>
                        <a:pt x="0" y="16"/>
                      </a:cubicBezTo>
                      <a:cubicBezTo>
                        <a:pt x="0" y="30"/>
                        <a:pt x="0" y="30"/>
                        <a:pt x="0" y="30"/>
                      </a:cubicBezTo>
                      <a:cubicBezTo>
                        <a:pt x="170" y="30"/>
                        <a:pt x="170" y="30"/>
                        <a:pt x="170" y="30"/>
                      </a:cubicBezTo>
                      <a:cubicBezTo>
                        <a:pt x="170" y="30"/>
                        <a:pt x="170" y="30"/>
                        <a:pt x="170" y="30"/>
                      </a:cubicBezTo>
                      <a:cubicBezTo>
                        <a:pt x="139" y="0"/>
                        <a:pt x="139" y="0"/>
                        <a:pt x="139" y="0"/>
                      </a:cubicBezTo>
                    </a:path>
                  </a:pathLst>
                </a:custGeom>
                <a:solidFill>
                  <a:srgbClr val="DEDF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279" name="Freeform 89">
                  <a:extLst>
                    <a:ext uri="{FF2B5EF4-FFF2-40B4-BE49-F238E27FC236}">
                      <a16:creationId xmlns:a16="http://schemas.microsoft.com/office/drawing/2014/main" id="{C6963330-0512-4E84-5697-1235E73305FE}"/>
                    </a:ext>
                  </a:extLst>
                </p:cNvPr>
                <p:cNvSpPr>
                  <a:spLocks/>
                </p:cNvSpPr>
                <p:nvPr/>
              </p:nvSpPr>
              <p:spPr bwMode="auto">
                <a:xfrm>
                  <a:off x="3819" y="3791"/>
                  <a:ext cx="62" cy="60"/>
                </a:xfrm>
                <a:custGeom>
                  <a:avLst/>
                  <a:gdLst>
                    <a:gd name="T0" fmla="*/ 62 w 62"/>
                    <a:gd name="T1" fmla="*/ 0 h 60"/>
                    <a:gd name="T2" fmla="*/ 0 w 62"/>
                    <a:gd name="T3" fmla="*/ 0 h 60"/>
                    <a:gd name="T4" fmla="*/ 62 w 62"/>
                    <a:gd name="T5" fmla="*/ 60 h 60"/>
                    <a:gd name="T6" fmla="*/ 62 w 62"/>
                    <a:gd name="T7" fmla="*/ 60 h 60"/>
                    <a:gd name="T8" fmla="*/ 62 w 62"/>
                    <a:gd name="T9" fmla="*/ 0 h 60"/>
                  </a:gdLst>
                  <a:ahLst/>
                  <a:cxnLst>
                    <a:cxn ang="0">
                      <a:pos x="T0" y="T1"/>
                    </a:cxn>
                    <a:cxn ang="0">
                      <a:pos x="T2" y="T3"/>
                    </a:cxn>
                    <a:cxn ang="0">
                      <a:pos x="T4" y="T5"/>
                    </a:cxn>
                    <a:cxn ang="0">
                      <a:pos x="T6" y="T7"/>
                    </a:cxn>
                    <a:cxn ang="0">
                      <a:pos x="T8" y="T9"/>
                    </a:cxn>
                  </a:cxnLst>
                  <a:rect l="0" t="0" r="r" b="b"/>
                  <a:pathLst>
                    <a:path w="62" h="60">
                      <a:moveTo>
                        <a:pt x="62" y="0"/>
                      </a:moveTo>
                      <a:lnTo>
                        <a:pt x="0" y="0"/>
                      </a:lnTo>
                      <a:lnTo>
                        <a:pt x="62" y="60"/>
                      </a:lnTo>
                      <a:lnTo>
                        <a:pt x="62" y="60"/>
                      </a:lnTo>
                      <a:lnTo>
                        <a:pt x="62" y="0"/>
                      </a:lnTo>
                      <a:close/>
                    </a:path>
                  </a:pathLst>
                </a:custGeom>
                <a:solidFill>
                  <a:srgbClr val="D8D9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280" name="Freeform 90">
                  <a:extLst>
                    <a:ext uri="{FF2B5EF4-FFF2-40B4-BE49-F238E27FC236}">
                      <a16:creationId xmlns:a16="http://schemas.microsoft.com/office/drawing/2014/main" id="{57474830-C21C-B505-6FC3-031E8A3D9B69}"/>
                    </a:ext>
                  </a:extLst>
                </p:cNvPr>
                <p:cNvSpPr>
                  <a:spLocks/>
                </p:cNvSpPr>
                <p:nvPr/>
              </p:nvSpPr>
              <p:spPr bwMode="auto">
                <a:xfrm>
                  <a:off x="3819" y="3791"/>
                  <a:ext cx="62" cy="60"/>
                </a:xfrm>
                <a:custGeom>
                  <a:avLst/>
                  <a:gdLst>
                    <a:gd name="T0" fmla="*/ 62 w 62"/>
                    <a:gd name="T1" fmla="*/ 0 h 60"/>
                    <a:gd name="T2" fmla="*/ 0 w 62"/>
                    <a:gd name="T3" fmla="*/ 0 h 60"/>
                    <a:gd name="T4" fmla="*/ 62 w 62"/>
                    <a:gd name="T5" fmla="*/ 60 h 60"/>
                    <a:gd name="T6" fmla="*/ 62 w 62"/>
                    <a:gd name="T7" fmla="*/ 60 h 60"/>
                    <a:gd name="T8" fmla="*/ 62 w 62"/>
                    <a:gd name="T9" fmla="*/ 0 h 60"/>
                  </a:gdLst>
                  <a:ahLst/>
                  <a:cxnLst>
                    <a:cxn ang="0">
                      <a:pos x="T0" y="T1"/>
                    </a:cxn>
                    <a:cxn ang="0">
                      <a:pos x="T2" y="T3"/>
                    </a:cxn>
                    <a:cxn ang="0">
                      <a:pos x="T4" y="T5"/>
                    </a:cxn>
                    <a:cxn ang="0">
                      <a:pos x="T6" y="T7"/>
                    </a:cxn>
                    <a:cxn ang="0">
                      <a:pos x="T8" y="T9"/>
                    </a:cxn>
                  </a:cxnLst>
                  <a:rect l="0" t="0" r="r" b="b"/>
                  <a:pathLst>
                    <a:path w="62" h="60">
                      <a:moveTo>
                        <a:pt x="62" y="0"/>
                      </a:moveTo>
                      <a:lnTo>
                        <a:pt x="0" y="0"/>
                      </a:lnTo>
                      <a:lnTo>
                        <a:pt x="62" y="60"/>
                      </a:lnTo>
                      <a:lnTo>
                        <a:pt x="62" y="60"/>
                      </a:lnTo>
                      <a:lnTo>
                        <a:pt x="6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281" name="Freeform 91">
                  <a:extLst>
                    <a:ext uri="{FF2B5EF4-FFF2-40B4-BE49-F238E27FC236}">
                      <a16:creationId xmlns:a16="http://schemas.microsoft.com/office/drawing/2014/main" id="{2098C318-9117-6CDB-4DCA-E31787FF7F77}"/>
                    </a:ext>
                  </a:extLst>
                </p:cNvPr>
                <p:cNvSpPr>
                  <a:spLocks/>
                </p:cNvSpPr>
                <p:nvPr/>
              </p:nvSpPr>
              <p:spPr bwMode="auto">
                <a:xfrm>
                  <a:off x="3590" y="2242"/>
                  <a:ext cx="707" cy="441"/>
                </a:xfrm>
                <a:custGeom>
                  <a:avLst/>
                  <a:gdLst>
                    <a:gd name="T0" fmla="*/ 336 w 353"/>
                    <a:gd name="T1" fmla="*/ 0 h 220"/>
                    <a:gd name="T2" fmla="*/ 17 w 353"/>
                    <a:gd name="T3" fmla="*/ 0 h 220"/>
                    <a:gd name="T4" fmla="*/ 0 w 353"/>
                    <a:gd name="T5" fmla="*/ 17 h 220"/>
                    <a:gd name="T6" fmla="*/ 0 w 353"/>
                    <a:gd name="T7" fmla="*/ 203 h 220"/>
                    <a:gd name="T8" fmla="*/ 17 w 353"/>
                    <a:gd name="T9" fmla="*/ 220 h 220"/>
                    <a:gd name="T10" fmla="*/ 65 w 353"/>
                    <a:gd name="T11" fmla="*/ 220 h 220"/>
                    <a:gd name="T12" fmla="*/ 65 w 353"/>
                    <a:gd name="T13" fmla="*/ 104 h 220"/>
                    <a:gd name="T14" fmla="*/ 65 w 353"/>
                    <a:gd name="T15" fmla="*/ 104 h 220"/>
                    <a:gd name="T16" fmla="*/ 65 w 353"/>
                    <a:gd name="T17" fmla="*/ 104 h 220"/>
                    <a:gd name="T18" fmla="*/ 181 w 353"/>
                    <a:gd name="T19" fmla="*/ 37 h 220"/>
                    <a:gd name="T20" fmla="*/ 181 w 353"/>
                    <a:gd name="T21" fmla="*/ 37 h 220"/>
                    <a:gd name="T22" fmla="*/ 181 w 353"/>
                    <a:gd name="T23" fmla="*/ 37 h 220"/>
                    <a:gd name="T24" fmla="*/ 282 w 353"/>
                    <a:gd name="T25" fmla="*/ 96 h 220"/>
                    <a:gd name="T26" fmla="*/ 297 w 353"/>
                    <a:gd name="T27" fmla="*/ 104 h 220"/>
                    <a:gd name="T28" fmla="*/ 297 w 353"/>
                    <a:gd name="T29" fmla="*/ 104 h 220"/>
                    <a:gd name="T30" fmla="*/ 297 w 353"/>
                    <a:gd name="T31" fmla="*/ 104 h 220"/>
                    <a:gd name="T32" fmla="*/ 297 w 353"/>
                    <a:gd name="T33" fmla="*/ 104 h 220"/>
                    <a:gd name="T34" fmla="*/ 297 w 353"/>
                    <a:gd name="T35" fmla="*/ 220 h 220"/>
                    <a:gd name="T36" fmla="*/ 336 w 353"/>
                    <a:gd name="T37" fmla="*/ 220 h 220"/>
                    <a:gd name="T38" fmla="*/ 353 w 353"/>
                    <a:gd name="T39" fmla="*/ 203 h 220"/>
                    <a:gd name="T40" fmla="*/ 353 w 353"/>
                    <a:gd name="T41" fmla="*/ 17 h 220"/>
                    <a:gd name="T42" fmla="*/ 336 w 353"/>
                    <a:gd name="T43" fmla="*/ 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3" h="220">
                      <a:moveTo>
                        <a:pt x="336" y="0"/>
                      </a:moveTo>
                      <a:cubicBezTo>
                        <a:pt x="17" y="0"/>
                        <a:pt x="17" y="0"/>
                        <a:pt x="17" y="0"/>
                      </a:cubicBezTo>
                      <a:cubicBezTo>
                        <a:pt x="8" y="0"/>
                        <a:pt x="0" y="8"/>
                        <a:pt x="0" y="17"/>
                      </a:cubicBezTo>
                      <a:cubicBezTo>
                        <a:pt x="0" y="203"/>
                        <a:pt x="0" y="203"/>
                        <a:pt x="0" y="203"/>
                      </a:cubicBezTo>
                      <a:cubicBezTo>
                        <a:pt x="0" y="212"/>
                        <a:pt x="8" y="220"/>
                        <a:pt x="17" y="220"/>
                      </a:cubicBezTo>
                      <a:cubicBezTo>
                        <a:pt x="65" y="220"/>
                        <a:pt x="65" y="220"/>
                        <a:pt x="65" y="220"/>
                      </a:cubicBezTo>
                      <a:cubicBezTo>
                        <a:pt x="65" y="104"/>
                        <a:pt x="65" y="104"/>
                        <a:pt x="65" y="104"/>
                      </a:cubicBezTo>
                      <a:cubicBezTo>
                        <a:pt x="65" y="104"/>
                        <a:pt x="65" y="104"/>
                        <a:pt x="65" y="104"/>
                      </a:cubicBezTo>
                      <a:cubicBezTo>
                        <a:pt x="65" y="104"/>
                        <a:pt x="65" y="104"/>
                        <a:pt x="65" y="104"/>
                      </a:cubicBezTo>
                      <a:cubicBezTo>
                        <a:pt x="181" y="37"/>
                        <a:pt x="181" y="37"/>
                        <a:pt x="181" y="37"/>
                      </a:cubicBezTo>
                      <a:cubicBezTo>
                        <a:pt x="181" y="37"/>
                        <a:pt x="181" y="37"/>
                        <a:pt x="181" y="37"/>
                      </a:cubicBezTo>
                      <a:cubicBezTo>
                        <a:pt x="181" y="37"/>
                        <a:pt x="181" y="37"/>
                        <a:pt x="181" y="37"/>
                      </a:cubicBezTo>
                      <a:cubicBezTo>
                        <a:pt x="282" y="96"/>
                        <a:pt x="282" y="96"/>
                        <a:pt x="282" y="96"/>
                      </a:cubicBezTo>
                      <a:cubicBezTo>
                        <a:pt x="297" y="104"/>
                        <a:pt x="297" y="104"/>
                        <a:pt x="297" y="104"/>
                      </a:cubicBezTo>
                      <a:cubicBezTo>
                        <a:pt x="297" y="104"/>
                        <a:pt x="297" y="104"/>
                        <a:pt x="297" y="104"/>
                      </a:cubicBezTo>
                      <a:cubicBezTo>
                        <a:pt x="297" y="104"/>
                        <a:pt x="297" y="104"/>
                        <a:pt x="297" y="104"/>
                      </a:cubicBezTo>
                      <a:cubicBezTo>
                        <a:pt x="297" y="104"/>
                        <a:pt x="297" y="104"/>
                        <a:pt x="297" y="104"/>
                      </a:cubicBezTo>
                      <a:cubicBezTo>
                        <a:pt x="297" y="220"/>
                        <a:pt x="297" y="220"/>
                        <a:pt x="297" y="220"/>
                      </a:cubicBezTo>
                      <a:cubicBezTo>
                        <a:pt x="336" y="220"/>
                        <a:pt x="336" y="220"/>
                        <a:pt x="336" y="220"/>
                      </a:cubicBezTo>
                      <a:cubicBezTo>
                        <a:pt x="346" y="220"/>
                        <a:pt x="353" y="212"/>
                        <a:pt x="353" y="203"/>
                      </a:cubicBezTo>
                      <a:cubicBezTo>
                        <a:pt x="353" y="17"/>
                        <a:pt x="353" y="17"/>
                        <a:pt x="353" y="17"/>
                      </a:cubicBezTo>
                      <a:cubicBezTo>
                        <a:pt x="353" y="8"/>
                        <a:pt x="346" y="0"/>
                        <a:pt x="336" y="0"/>
                      </a:cubicBezTo>
                    </a:path>
                  </a:pathLst>
                </a:custGeom>
                <a:solidFill>
                  <a:srgbClr val="CEE5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282" name="Freeform 92">
                  <a:extLst>
                    <a:ext uri="{FF2B5EF4-FFF2-40B4-BE49-F238E27FC236}">
                      <a16:creationId xmlns:a16="http://schemas.microsoft.com/office/drawing/2014/main" id="{A99CE042-A458-6BB7-B0BE-2C70D5376700}"/>
                    </a:ext>
                  </a:extLst>
                </p:cNvPr>
                <p:cNvSpPr>
                  <a:spLocks/>
                </p:cNvSpPr>
                <p:nvPr/>
              </p:nvSpPr>
              <p:spPr bwMode="auto">
                <a:xfrm>
                  <a:off x="3720" y="2316"/>
                  <a:ext cx="465" cy="367"/>
                </a:xfrm>
                <a:custGeom>
                  <a:avLst/>
                  <a:gdLst>
                    <a:gd name="T0" fmla="*/ 435 w 465"/>
                    <a:gd name="T1" fmla="*/ 118 h 367"/>
                    <a:gd name="T2" fmla="*/ 465 w 465"/>
                    <a:gd name="T3" fmla="*/ 134 h 367"/>
                    <a:gd name="T4" fmla="*/ 465 w 465"/>
                    <a:gd name="T5" fmla="*/ 134 h 367"/>
                    <a:gd name="T6" fmla="*/ 435 w 465"/>
                    <a:gd name="T7" fmla="*/ 118 h 367"/>
                    <a:gd name="T8" fmla="*/ 233 w 465"/>
                    <a:gd name="T9" fmla="*/ 0 h 367"/>
                    <a:gd name="T10" fmla="*/ 0 w 465"/>
                    <a:gd name="T11" fmla="*/ 134 h 367"/>
                    <a:gd name="T12" fmla="*/ 233 w 465"/>
                    <a:gd name="T13" fmla="*/ 269 h 367"/>
                    <a:gd name="T14" fmla="*/ 62 w 465"/>
                    <a:gd name="T15" fmla="*/ 367 h 367"/>
                    <a:gd name="T16" fmla="*/ 233 w 465"/>
                    <a:gd name="T17" fmla="*/ 367 h 367"/>
                    <a:gd name="T18" fmla="*/ 233 w 465"/>
                    <a:gd name="T19" fmla="*/ 269 h 367"/>
                    <a:gd name="T20" fmla="*/ 403 w 465"/>
                    <a:gd name="T21" fmla="*/ 367 h 367"/>
                    <a:gd name="T22" fmla="*/ 465 w 465"/>
                    <a:gd name="T23" fmla="*/ 367 h 367"/>
                    <a:gd name="T24" fmla="*/ 465 w 465"/>
                    <a:gd name="T25" fmla="*/ 134 h 367"/>
                    <a:gd name="T26" fmla="*/ 233 w 465"/>
                    <a:gd name="T27" fmla="*/ 269 h 367"/>
                    <a:gd name="T28" fmla="*/ 233 w 465"/>
                    <a:gd name="T29" fmla="*/ 0 h 367"/>
                    <a:gd name="T30" fmla="*/ 233 w 465"/>
                    <a:gd name="T31" fmla="*/ 0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65" h="367">
                      <a:moveTo>
                        <a:pt x="435" y="118"/>
                      </a:moveTo>
                      <a:lnTo>
                        <a:pt x="465" y="134"/>
                      </a:lnTo>
                      <a:lnTo>
                        <a:pt x="465" y="134"/>
                      </a:lnTo>
                      <a:lnTo>
                        <a:pt x="435" y="118"/>
                      </a:lnTo>
                      <a:close/>
                      <a:moveTo>
                        <a:pt x="233" y="0"/>
                      </a:moveTo>
                      <a:lnTo>
                        <a:pt x="0" y="134"/>
                      </a:lnTo>
                      <a:lnTo>
                        <a:pt x="233" y="269"/>
                      </a:lnTo>
                      <a:lnTo>
                        <a:pt x="62" y="367"/>
                      </a:lnTo>
                      <a:lnTo>
                        <a:pt x="233" y="367"/>
                      </a:lnTo>
                      <a:lnTo>
                        <a:pt x="233" y="269"/>
                      </a:lnTo>
                      <a:lnTo>
                        <a:pt x="403" y="367"/>
                      </a:lnTo>
                      <a:lnTo>
                        <a:pt x="465" y="367"/>
                      </a:lnTo>
                      <a:lnTo>
                        <a:pt x="465" y="134"/>
                      </a:lnTo>
                      <a:lnTo>
                        <a:pt x="233" y="269"/>
                      </a:lnTo>
                      <a:lnTo>
                        <a:pt x="233" y="0"/>
                      </a:lnTo>
                      <a:lnTo>
                        <a:pt x="233" y="0"/>
                      </a:lnTo>
                      <a:close/>
                    </a:path>
                  </a:pathLst>
                </a:custGeom>
                <a:solidFill>
                  <a:srgbClr val="EEAB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283" name="Freeform 93">
                  <a:extLst>
                    <a:ext uri="{FF2B5EF4-FFF2-40B4-BE49-F238E27FC236}">
                      <a16:creationId xmlns:a16="http://schemas.microsoft.com/office/drawing/2014/main" id="{C4A85B74-92B9-12AC-1905-5C60DBDE5DD7}"/>
                    </a:ext>
                  </a:extLst>
                </p:cNvPr>
                <p:cNvSpPr>
                  <a:spLocks/>
                </p:cNvSpPr>
                <p:nvPr/>
              </p:nvSpPr>
              <p:spPr bwMode="auto">
                <a:xfrm>
                  <a:off x="3720" y="2316"/>
                  <a:ext cx="465" cy="367"/>
                </a:xfrm>
                <a:custGeom>
                  <a:avLst/>
                  <a:gdLst>
                    <a:gd name="T0" fmla="*/ 435 w 465"/>
                    <a:gd name="T1" fmla="*/ 118 h 367"/>
                    <a:gd name="T2" fmla="*/ 465 w 465"/>
                    <a:gd name="T3" fmla="*/ 134 h 367"/>
                    <a:gd name="T4" fmla="*/ 465 w 465"/>
                    <a:gd name="T5" fmla="*/ 134 h 367"/>
                    <a:gd name="T6" fmla="*/ 435 w 465"/>
                    <a:gd name="T7" fmla="*/ 118 h 367"/>
                    <a:gd name="T8" fmla="*/ 233 w 465"/>
                    <a:gd name="T9" fmla="*/ 0 h 367"/>
                    <a:gd name="T10" fmla="*/ 0 w 465"/>
                    <a:gd name="T11" fmla="*/ 134 h 367"/>
                    <a:gd name="T12" fmla="*/ 233 w 465"/>
                    <a:gd name="T13" fmla="*/ 269 h 367"/>
                    <a:gd name="T14" fmla="*/ 62 w 465"/>
                    <a:gd name="T15" fmla="*/ 367 h 367"/>
                    <a:gd name="T16" fmla="*/ 233 w 465"/>
                    <a:gd name="T17" fmla="*/ 367 h 367"/>
                    <a:gd name="T18" fmla="*/ 233 w 465"/>
                    <a:gd name="T19" fmla="*/ 269 h 367"/>
                    <a:gd name="T20" fmla="*/ 403 w 465"/>
                    <a:gd name="T21" fmla="*/ 367 h 367"/>
                    <a:gd name="T22" fmla="*/ 465 w 465"/>
                    <a:gd name="T23" fmla="*/ 367 h 367"/>
                    <a:gd name="T24" fmla="*/ 465 w 465"/>
                    <a:gd name="T25" fmla="*/ 134 h 367"/>
                    <a:gd name="T26" fmla="*/ 233 w 465"/>
                    <a:gd name="T27" fmla="*/ 269 h 367"/>
                    <a:gd name="T28" fmla="*/ 233 w 465"/>
                    <a:gd name="T29" fmla="*/ 0 h 367"/>
                    <a:gd name="T30" fmla="*/ 233 w 465"/>
                    <a:gd name="T31" fmla="*/ 0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65" h="367">
                      <a:moveTo>
                        <a:pt x="435" y="118"/>
                      </a:moveTo>
                      <a:lnTo>
                        <a:pt x="465" y="134"/>
                      </a:lnTo>
                      <a:lnTo>
                        <a:pt x="465" y="134"/>
                      </a:lnTo>
                      <a:lnTo>
                        <a:pt x="435" y="118"/>
                      </a:lnTo>
                      <a:moveTo>
                        <a:pt x="233" y="0"/>
                      </a:moveTo>
                      <a:lnTo>
                        <a:pt x="0" y="134"/>
                      </a:lnTo>
                      <a:lnTo>
                        <a:pt x="233" y="269"/>
                      </a:lnTo>
                      <a:lnTo>
                        <a:pt x="62" y="367"/>
                      </a:lnTo>
                      <a:lnTo>
                        <a:pt x="233" y="367"/>
                      </a:lnTo>
                      <a:lnTo>
                        <a:pt x="233" y="269"/>
                      </a:lnTo>
                      <a:lnTo>
                        <a:pt x="403" y="367"/>
                      </a:lnTo>
                      <a:lnTo>
                        <a:pt x="465" y="367"/>
                      </a:lnTo>
                      <a:lnTo>
                        <a:pt x="465" y="134"/>
                      </a:lnTo>
                      <a:lnTo>
                        <a:pt x="233" y="269"/>
                      </a:lnTo>
                      <a:lnTo>
                        <a:pt x="233" y="0"/>
                      </a:lnTo>
                      <a:lnTo>
                        <a:pt x="23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284" name="Freeform 94">
                  <a:extLst>
                    <a:ext uri="{FF2B5EF4-FFF2-40B4-BE49-F238E27FC236}">
                      <a16:creationId xmlns:a16="http://schemas.microsoft.com/office/drawing/2014/main" id="{6C2FD48F-2273-03E7-068F-72AB0E5647C3}"/>
                    </a:ext>
                  </a:extLst>
                </p:cNvPr>
                <p:cNvSpPr>
                  <a:spLocks/>
                </p:cNvSpPr>
                <p:nvPr/>
              </p:nvSpPr>
              <p:spPr bwMode="auto">
                <a:xfrm>
                  <a:off x="3720" y="2450"/>
                  <a:ext cx="233" cy="233"/>
                </a:xfrm>
                <a:custGeom>
                  <a:avLst/>
                  <a:gdLst>
                    <a:gd name="T0" fmla="*/ 0 w 233"/>
                    <a:gd name="T1" fmla="*/ 0 h 233"/>
                    <a:gd name="T2" fmla="*/ 0 w 233"/>
                    <a:gd name="T3" fmla="*/ 0 h 233"/>
                    <a:gd name="T4" fmla="*/ 0 w 233"/>
                    <a:gd name="T5" fmla="*/ 233 h 233"/>
                    <a:gd name="T6" fmla="*/ 62 w 233"/>
                    <a:gd name="T7" fmla="*/ 233 h 233"/>
                    <a:gd name="T8" fmla="*/ 233 w 233"/>
                    <a:gd name="T9" fmla="*/ 135 h 233"/>
                    <a:gd name="T10" fmla="*/ 0 w 233"/>
                    <a:gd name="T11" fmla="*/ 0 h 233"/>
                    <a:gd name="T12" fmla="*/ 0 w 233"/>
                    <a:gd name="T13" fmla="*/ 0 h 233"/>
                  </a:gdLst>
                  <a:ahLst/>
                  <a:cxnLst>
                    <a:cxn ang="0">
                      <a:pos x="T0" y="T1"/>
                    </a:cxn>
                    <a:cxn ang="0">
                      <a:pos x="T2" y="T3"/>
                    </a:cxn>
                    <a:cxn ang="0">
                      <a:pos x="T4" y="T5"/>
                    </a:cxn>
                    <a:cxn ang="0">
                      <a:pos x="T6" y="T7"/>
                    </a:cxn>
                    <a:cxn ang="0">
                      <a:pos x="T8" y="T9"/>
                    </a:cxn>
                    <a:cxn ang="0">
                      <a:pos x="T10" y="T11"/>
                    </a:cxn>
                    <a:cxn ang="0">
                      <a:pos x="T12" y="T13"/>
                    </a:cxn>
                  </a:cxnLst>
                  <a:rect l="0" t="0" r="r" b="b"/>
                  <a:pathLst>
                    <a:path w="233" h="233">
                      <a:moveTo>
                        <a:pt x="0" y="0"/>
                      </a:moveTo>
                      <a:lnTo>
                        <a:pt x="0" y="0"/>
                      </a:lnTo>
                      <a:lnTo>
                        <a:pt x="0" y="233"/>
                      </a:lnTo>
                      <a:lnTo>
                        <a:pt x="62" y="233"/>
                      </a:lnTo>
                      <a:lnTo>
                        <a:pt x="233" y="135"/>
                      </a:lnTo>
                      <a:lnTo>
                        <a:pt x="0" y="0"/>
                      </a:lnTo>
                      <a:lnTo>
                        <a:pt x="0" y="0"/>
                      </a:lnTo>
                      <a:close/>
                    </a:path>
                  </a:pathLst>
                </a:custGeom>
                <a:solidFill>
                  <a:srgbClr val="F9AF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285" name="Freeform 95">
                  <a:extLst>
                    <a:ext uri="{FF2B5EF4-FFF2-40B4-BE49-F238E27FC236}">
                      <a16:creationId xmlns:a16="http://schemas.microsoft.com/office/drawing/2014/main" id="{32CB2401-0A3B-D3DE-2ED2-5A17116DDE53}"/>
                    </a:ext>
                  </a:extLst>
                </p:cNvPr>
                <p:cNvSpPr>
                  <a:spLocks/>
                </p:cNvSpPr>
                <p:nvPr/>
              </p:nvSpPr>
              <p:spPr bwMode="auto">
                <a:xfrm>
                  <a:off x="3720" y="2450"/>
                  <a:ext cx="233" cy="233"/>
                </a:xfrm>
                <a:custGeom>
                  <a:avLst/>
                  <a:gdLst>
                    <a:gd name="T0" fmla="*/ 0 w 233"/>
                    <a:gd name="T1" fmla="*/ 0 h 233"/>
                    <a:gd name="T2" fmla="*/ 0 w 233"/>
                    <a:gd name="T3" fmla="*/ 0 h 233"/>
                    <a:gd name="T4" fmla="*/ 0 w 233"/>
                    <a:gd name="T5" fmla="*/ 233 h 233"/>
                    <a:gd name="T6" fmla="*/ 62 w 233"/>
                    <a:gd name="T7" fmla="*/ 233 h 233"/>
                    <a:gd name="T8" fmla="*/ 233 w 233"/>
                    <a:gd name="T9" fmla="*/ 135 h 233"/>
                    <a:gd name="T10" fmla="*/ 0 w 233"/>
                    <a:gd name="T11" fmla="*/ 0 h 233"/>
                    <a:gd name="T12" fmla="*/ 0 w 233"/>
                    <a:gd name="T13" fmla="*/ 0 h 233"/>
                  </a:gdLst>
                  <a:ahLst/>
                  <a:cxnLst>
                    <a:cxn ang="0">
                      <a:pos x="T0" y="T1"/>
                    </a:cxn>
                    <a:cxn ang="0">
                      <a:pos x="T2" y="T3"/>
                    </a:cxn>
                    <a:cxn ang="0">
                      <a:pos x="T4" y="T5"/>
                    </a:cxn>
                    <a:cxn ang="0">
                      <a:pos x="T6" y="T7"/>
                    </a:cxn>
                    <a:cxn ang="0">
                      <a:pos x="T8" y="T9"/>
                    </a:cxn>
                    <a:cxn ang="0">
                      <a:pos x="T10" y="T11"/>
                    </a:cxn>
                    <a:cxn ang="0">
                      <a:pos x="T12" y="T13"/>
                    </a:cxn>
                  </a:cxnLst>
                  <a:rect l="0" t="0" r="r" b="b"/>
                  <a:pathLst>
                    <a:path w="233" h="233">
                      <a:moveTo>
                        <a:pt x="0" y="0"/>
                      </a:moveTo>
                      <a:lnTo>
                        <a:pt x="0" y="0"/>
                      </a:lnTo>
                      <a:lnTo>
                        <a:pt x="0" y="233"/>
                      </a:lnTo>
                      <a:lnTo>
                        <a:pt x="62" y="233"/>
                      </a:lnTo>
                      <a:lnTo>
                        <a:pt x="233" y="135"/>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286" name="Freeform 96">
                  <a:extLst>
                    <a:ext uri="{FF2B5EF4-FFF2-40B4-BE49-F238E27FC236}">
                      <a16:creationId xmlns:a16="http://schemas.microsoft.com/office/drawing/2014/main" id="{C6692F3E-1E33-8724-528F-ECBDF1A5901F}"/>
                    </a:ext>
                  </a:extLst>
                </p:cNvPr>
                <p:cNvSpPr>
                  <a:spLocks/>
                </p:cNvSpPr>
                <p:nvPr/>
              </p:nvSpPr>
              <p:spPr bwMode="auto">
                <a:xfrm>
                  <a:off x="3953" y="2585"/>
                  <a:ext cx="170" cy="98"/>
                </a:xfrm>
                <a:custGeom>
                  <a:avLst/>
                  <a:gdLst>
                    <a:gd name="T0" fmla="*/ 0 w 170"/>
                    <a:gd name="T1" fmla="*/ 0 h 98"/>
                    <a:gd name="T2" fmla="*/ 0 w 170"/>
                    <a:gd name="T3" fmla="*/ 98 h 98"/>
                    <a:gd name="T4" fmla="*/ 170 w 170"/>
                    <a:gd name="T5" fmla="*/ 98 h 98"/>
                    <a:gd name="T6" fmla="*/ 0 w 170"/>
                    <a:gd name="T7" fmla="*/ 0 h 98"/>
                  </a:gdLst>
                  <a:ahLst/>
                  <a:cxnLst>
                    <a:cxn ang="0">
                      <a:pos x="T0" y="T1"/>
                    </a:cxn>
                    <a:cxn ang="0">
                      <a:pos x="T2" y="T3"/>
                    </a:cxn>
                    <a:cxn ang="0">
                      <a:pos x="T4" y="T5"/>
                    </a:cxn>
                    <a:cxn ang="0">
                      <a:pos x="T6" y="T7"/>
                    </a:cxn>
                  </a:cxnLst>
                  <a:rect l="0" t="0" r="r" b="b"/>
                  <a:pathLst>
                    <a:path w="170" h="98">
                      <a:moveTo>
                        <a:pt x="0" y="0"/>
                      </a:moveTo>
                      <a:lnTo>
                        <a:pt x="0" y="98"/>
                      </a:lnTo>
                      <a:lnTo>
                        <a:pt x="170" y="98"/>
                      </a:lnTo>
                      <a:lnTo>
                        <a:pt x="0" y="0"/>
                      </a:lnTo>
                      <a:close/>
                    </a:path>
                  </a:pathLst>
                </a:custGeom>
                <a:solidFill>
                  <a:srgbClr val="F9AF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287" name="Freeform 97">
                  <a:extLst>
                    <a:ext uri="{FF2B5EF4-FFF2-40B4-BE49-F238E27FC236}">
                      <a16:creationId xmlns:a16="http://schemas.microsoft.com/office/drawing/2014/main" id="{6EACCB51-A39A-3D22-591B-1F8ABCA5BD25}"/>
                    </a:ext>
                  </a:extLst>
                </p:cNvPr>
                <p:cNvSpPr>
                  <a:spLocks/>
                </p:cNvSpPr>
                <p:nvPr/>
              </p:nvSpPr>
              <p:spPr bwMode="auto">
                <a:xfrm>
                  <a:off x="3953" y="2585"/>
                  <a:ext cx="170" cy="98"/>
                </a:xfrm>
                <a:custGeom>
                  <a:avLst/>
                  <a:gdLst>
                    <a:gd name="T0" fmla="*/ 0 w 170"/>
                    <a:gd name="T1" fmla="*/ 0 h 98"/>
                    <a:gd name="T2" fmla="*/ 0 w 170"/>
                    <a:gd name="T3" fmla="*/ 98 h 98"/>
                    <a:gd name="T4" fmla="*/ 170 w 170"/>
                    <a:gd name="T5" fmla="*/ 98 h 98"/>
                    <a:gd name="T6" fmla="*/ 0 w 170"/>
                    <a:gd name="T7" fmla="*/ 0 h 98"/>
                  </a:gdLst>
                  <a:ahLst/>
                  <a:cxnLst>
                    <a:cxn ang="0">
                      <a:pos x="T0" y="T1"/>
                    </a:cxn>
                    <a:cxn ang="0">
                      <a:pos x="T2" y="T3"/>
                    </a:cxn>
                    <a:cxn ang="0">
                      <a:pos x="T4" y="T5"/>
                    </a:cxn>
                    <a:cxn ang="0">
                      <a:pos x="T6" y="T7"/>
                    </a:cxn>
                  </a:cxnLst>
                  <a:rect l="0" t="0" r="r" b="b"/>
                  <a:pathLst>
                    <a:path w="170" h="98">
                      <a:moveTo>
                        <a:pt x="0" y="0"/>
                      </a:moveTo>
                      <a:lnTo>
                        <a:pt x="0" y="98"/>
                      </a:lnTo>
                      <a:lnTo>
                        <a:pt x="170" y="9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288" name="Freeform 98">
                  <a:extLst>
                    <a:ext uri="{FF2B5EF4-FFF2-40B4-BE49-F238E27FC236}">
                      <a16:creationId xmlns:a16="http://schemas.microsoft.com/office/drawing/2014/main" id="{9872A463-8716-759A-C776-0BFDA13A4DE0}"/>
                    </a:ext>
                  </a:extLst>
                </p:cNvPr>
                <p:cNvSpPr>
                  <a:spLocks/>
                </p:cNvSpPr>
                <p:nvPr/>
              </p:nvSpPr>
              <p:spPr bwMode="auto">
                <a:xfrm>
                  <a:off x="3953" y="2316"/>
                  <a:ext cx="232" cy="269"/>
                </a:xfrm>
                <a:custGeom>
                  <a:avLst/>
                  <a:gdLst>
                    <a:gd name="T0" fmla="*/ 0 w 232"/>
                    <a:gd name="T1" fmla="*/ 0 h 269"/>
                    <a:gd name="T2" fmla="*/ 0 w 232"/>
                    <a:gd name="T3" fmla="*/ 0 h 269"/>
                    <a:gd name="T4" fmla="*/ 0 w 232"/>
                    <a:gd name="T5" fmla="*/ 269 h 269"/>
                    <a:gd name="T6" fmla="*/ 232 w 232"/>
                    <a:gd name="T7" fmla="*/ 134 h 269"/>
                    <a:gd name="T8" fmla="*/ 232 w 232"/>
                    <a:gd name="T9" fmla="*/ 134 h 269"/>
                    <a:gd name="T10" fmla="*/ 232 w 232"/>
                    <a:gd name="T11" fmla="*/ 134 h 269"/>
                    <a:gd name="T12" fmla="*/ 202 w 232"/>
                    <a:gd name="T13" fmla="*/ 118 h 269"/>
                    <a:gd name="T14" fmla="*/ 0 w 232"/>
                    <a:gd name="T15" fmla="*/ 0 h 2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269">
                      <a:moveTo>
                        <a:pt x="0" y="0"/>
                      </a:moveTo>
                      <a:lnTo>
                        <a:pt x="0" y="0"/>
                      </a:lnTo>
                      <a:lnTo>
                        <a:pt x="0" y="269"/>
                      </a:lnTo>
                      <a:lnTo>
                        <a:pt x="232" y="134"/>
                      </a:lnTo>
                      <a:lnTo>
                        <a:pt x="232" y="134"/>
                      </a:lnTo>
                      <a:lnTo>
                        <a:pt x="232" y="134"/>
                      </a:lnTo>
                      <a:lnTo>
                        <a:pt x="202" y="118"/>
                      </a:lnTo>
                      <a:lnTo>
                        <a:pt x="0" y="0"/>
                      </a:lnTo>
                      <a:close/>
                    </a:path>
                  </a:pathLst>
                </a:custGeom>
                <a:solidFill>
                  <a:srgbClr val="F9AF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289" name="Freeform 99">
                  <a:extLst>
                    <a:ext uri="{FF2B5EF4-FFF2-40B4-BE49-F238E27FC236}">
                      <a16:creationId xmlns:a16="http://schemas.microsoft.com/office/drawing/2014/main" id="{D7F32027-C637-0470-4B7E-7A0A29EE7A42}"/>
                    </a:ext>
                  </a:extLst>
                </p:cNvPr>
                <p:cNvSpPr>
                  <a:spLocks/>
                </p:cNvSpPr>
                <p:nvPr/>
              </p:nvSpPr>
              <p:spPr bwMode="auto">
                <a:xfrm>
                  <a:off x="3953" y="2316"/>
                  <a:ext cx="232" cy="269"/>
                </a:xfrm>
                <a:custGeom>
                  <a:avLst/>
                  <a:gdLst>
                    <a:gd name="T0" fmla="*/ 0 w 232"/>
                    <a:gd name="T1" fmla="*/ 0 h 269"/>
                    <a:gd name="T2" fmla="*/ 0 w 232"/>
                    <a:gd name="T3" fmla="*/ 0 h 269"/>
                    <a:gd name="T4" fmla="*/ 0 w 232"/>
                    <a:gd name="T5" fmla="*/ 269 h 269"/>
                    <a:gd name="T6" fmla="*/ 232 w 232"/>
                    <a:gd name="T7" fmla="*/ 134 h 269"/>
                    <a:gd name="T8" fmla="*/ 232 w 232"/>
                    <a:gd name="T9" fmla="*/ 134 h 269"/>
                    <a:gd name="T10" fmla="*/ 232 w 232"/>
                    <a:gd name="T11" fmla="*/ 134 h 269"/>
                    <a:gd name="T12" fmla="*/ 202 w 232"/>
                    <a:gd name="T13" fmla="*/ 118 h 269"/>
                    <a:gd name="T14" fmla="*/ 0 w 232"/>
                    <a:gd name="T15" fmla="*/ 0 h 2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269">
                      <a:moveTo>
                        <a:pt x="0" y="0"/>
                      </a:moveTo>
                      <a:lnTo>
                        <a:pt x="0" y="0"/>
                      </a:lnTo>
                      <a:lnTo>
                        <a:pt x="0" y="269"/>
                      </a:lnTo>
                      <a:lnTo>
                        <a:pt x="232" y="134"/>
                      </a:lnTo>
                      <a:lnTo>
                        <a:pt x="232" y="134"/>
                      </a:lnTo>
                      <a:lnTo>
                        <a:pt x="232" y="134"/>
                      </a:lnTo>
                      <a:lnTo>
                        <a:pt x="202" y="11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291" name="Rectangle 101">
                  <a:extLst>
                    <a:ext uri="{FF2B5EF4-FFF2-40B4-BE49-F238E27FC236}">
                      <a16:creationId xmlns:a16="http://schemas.microsoft.com/office/drawing/2014/main" id="{61EEB9FB-2830-DC62-3C1D-28107C5E9791}"/>
                    </a:ext>
                  </a:extLst>
                </p:cNvPr>
                <p:cNvSpPr>
                  <a:spLocks/>
                </p:cNvSpPr>
                <p:nvPr/>
              </p:nvSpPr>
              <p:spPr bwMode="auto">
                <a:xfrm>
                  <a:off x="3722" y="2420"/>
                  <a:ext cx="0" cy="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986912"/>
                  <a:endParaRPr lang="en-US" altLang="en-US" sz="1079" dirty="0"/>
                </a:p>
              </p:txBody>
            </p:sp>
            <p:sp>
              <p:nvSpPr>
                <p:cNvPr id="1292" name="Rectangle 102">
                  <a:extLst>
                    <a:ext uri="{FF2B5EF4-FFF2-40B4-BE49-F238E27FC236}">
                      <a16:creationId xmlns:a16="http://schemas.microsoft.com/office/drawing/2014/main" id="{3C2033CE-2D44-EA47-EC96-98596B6BE531}"/>
                    </a:ext>
                  </a:extLst>
                </p:cNvPr>
                <p:cNvSpPr>
                  <a:spLocks/>
                </p:cNvSpPr>
                <p:nvPr/>
              </p:nvSpPr>
              <p:spPr bwMode="auto">
                <a:xfrm>
                  <a:off x="3772" y="2537"/>
                  <a:ext cx="0" cy="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986912"/>
                  <a:endParaRPr lang="en-US" altLang="en-US" sz="1079" dirty="0"/>
                </a:p>
              </p:txBody>
            </p:sp>
            <p:sp>
              <p:nvSpPr>
                <p:cNvPr id="1293" name="Freeform 103">
                  <a:extLst>
                    <a:ext uri="{FF2B5EF4-FFF2-40B4-BE49-F238E27FC236}">
                      <a16:creationId xmlns:a16="http://schemas.microsoft.com/office/drawing/2014/main" id="{474134A9-7D6E-B467-5C0B-DCBEF5898C29}"/>
                    </a:ext>
                  </a:extLst>
                </p:cNvPr>
                <p:cNvSpPr>
                  <a:spLocks/>
                </p:cNvSpPr>
                <p:nvPr/>
              </p:nvSpPr>
              <p:spPr bwMode="auto">
                <a:xfrm>
                  <a:off x="745" y="2823"/>
                  <a:ext cx="923" cy="521"/>
                </a:xfrm>
                <a:custGeom>
                  <a:avLst/>
                  <a:gdLst>
                    <a:gd name="T0" fmla="*/ 444 w 461"/>
                    <a:gd name="T1" fmla="*/ 0 h 260"/>
                    <a:gd name="T2" fmla="*/ 17 w 461"/>
                    <a:gd name="T3" fmla="*/ 0 h 260"/>
                    <a:gd name="T4" fmla="*/ 0 w 461"/>
                    <a:gd name="T5" fmla="*/ 17 h 260"/>
                    <a:gd name="T6" fmla="*/ 0 w 461"/>
                    <a:gd name="T7" fmla="*/ 243 h 260"/>
                    <a:gd name="T8" fmla="*/ 17 w 461"/>
                    <a:gd name="T9" fmla="*/ 260 h 260"/>
                    <a:gd name="T10" fmla="*/ 444 w 461"/>
                    <a:gd name="T11" fmla="*/ 260 h 260"/>
                    <a:gd name="T12" fmla="*/ 461 w 461"/>
                    <a:gd name="T13" fmla="*/ 243 h 260"/>
                    <a:gd name="T14" fmla="*/ 461 w 461"/>
                    <a:gd name="T15" fmla="*/ 63 h 260"/>
                    <a:gd name="T16" fmla="*/ 209 w 461"/>
                    <a:gd name="T17" fmla="*/ 63 h 260"/>
                    <a:gd name="T18" fmla="*/ 209 w 461"/>
                    <a:gd name="T19" fmla="*/ 25 h 260"/>
                    <a:gd name="T20" fmla="*/ 461 w 461"/>
                    <a:gd name="T21" fmla="*/ 25 h 260"/>
                    <a:gd name="T22" fmla="*/ 461 w 461"/>
                    <a:gd name="T23" fmla="*/ 17 h 260"/>
                    <a:gd name="T24" fmla="*/ 444 w 461"/>
                    <a:gd name="T25" fmla="*/ 0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1" h="260">
                      <a:moveTo>
                        <a:pt x="444" y="0"/>
                      </a:moveTo>
                      <a:cubicBezTo>
                        <a:pt x="17" y="0"/>
                        <a:pt x="17" y="0"/>
                        <a:pt x="17" y="0"/>
                      </a:cubicBezTo>
                      <a:cubicBezTo>
                        <a:pt x="8" y="0"/>
                        <a:pt x="0" y="8"/>
                        <a:pt x="0" y="17"/>
                      </a:cubicBezTo>
                      <a:cubicBezTo>
                        <a:pt x="0" y="243"/>
                        <a:pt x="0" y="243"/>
                        <a:pt x="0" y="243"/>
                      </a:cubicBezTo>
                      <a:cubicBezTo>
                        <a:pt x="0" y="252"/>
                        <a:pt x="8" y="260"/>
                        <a:pt x="17" y="260"/>
                      </a:cubicBezTo>
                      <a:cubicBezTo>
                        <a:pt x="444" y="260"/>
                        <a:pt x="444" y="260"/>
                        <a:pt x="444" y="260"/>
                      </a:cubicBezTo>
                      <a:cubicBezTo>
                        <a:pt x="453" y="260"/>
                        <a:pt x="461" y="252"/>
                        <a:pt x="461" y="243"/>
                      </a:cubicBezTo>
                      <a:cubicBezTo>
                        <a:pt x="461" y="63"/>
                        <a:pt x="461" y="63"/>
                        <a:pt x="461" y="63"/>
                      </a:cubicBezTo>
                      <a:cubicBezTo>
                        <a:pt x="209" y="63"/>
                        <a:pt x="209" y="63"/>
                        <a:pt x="209" y="63"/>
                      </a:cubicBezTo>
                      <a:cubicBezTo>
                        <a:pt x="209" y="25"/>
                        <a:pt x="209" y="25"/>
                        <a:pt x="209" y="25"/>
                      </a:cubicBezTo>
                      <a:cubicBezTo>
                        <a:pt x="461" y="25"/>
                        <a:pt x="461" y="25"/>
                        <a:pt x="461" y="25"/>
                      </a:cubicBezTo>
                      <a:cubicBezTo>
                        <a:pt x="461" y="17"/>
                        <a:pt x="461" y="17"/>
                        <a:pt x="461" y="17"/>
                      </a:cubicBezTo>
                      <a:cubicBezTo>
                        <a:pt x="461" y="8"/>
                        <a:pt x="453" y="0"/>
                        <a:pt x="444" y="0"/>
                      </a:cubicBezTo>
                    </a:path>
                  </a:pathLst>
                </a:custGeom>
                <a:solidFill>
                  <a:srgbClr val="BDD69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294" name="Rectangle 104">
                  <a:extLst>
                    <a:ext uri="{FF2B5EF4-FFF2-40B4-BE49-F238E27FC236}">
                      <a16:creationId xmlns:a16="http://schemas.microsoft.com/office/drawing/2014/main" id="{82F9AD13-ACC9-A03D-4F75-71DC0A0ABFBD}"/>
                    </a:ext>
                  </a:extLst>
                </p:cNvPr>
                <p:cNvSpPr>
                  <a:spLocks/>
                </p:cNvSpPr>
                <p:nvPr/>
              </p:nvSpPr>
              <p:spPr bwMode="auto">
                <a:xfrm>
                  <a:off x="1164" y="2873"/>
                  <a:ext cx="504" cy="76"/>
                </a:xfrm>
                <a:prstGeom prst="rect">
                  <a:avLst/>
                </a:prstGeom>
                <a:solidFill>
                  <a:srgbClr val="BDD69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295" name="Rectangle 105">
                  <a:extLst>
                    <a:ext uri="{FF2B5EF4-FFF2-40B4-BE49-F238E27FC236}">
                      <a16:creationId xmlns:a16="http://schemas.microsoft.com/office/drawing/2014/main" id="{BBDF917C-AF04-BF8A-140E-AAF3C72AB53C}"/>
                    </a:ext>
                  </a:extLst>
                </p:cNvPr>
                <p:cNvSpPr>
                  <a:spLocks/>
                </p:cNvSpPr>
                <p:nvPr/>
              </p:nvSpPr>
              <p:spPr bwMode="auto">
                <a:xfrm>
                  <a:off x="1164" y="2873"/>
                  <a:ext cx="504" cy="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296" name="Freeform 106">
                  <a:extLst>
                    <a:ext uri="{FF2B5EF4-FFF2-40B4-BE49-F238E27FC236}">
                      <a16:creationId xmlns:a16="http://schemas.microsoft.com/office/drawing/2014/main" id="{3A04602C-BF62-3C43-89D4-8558CC94A3AE}"/>
                    </a:ext>
                  </a:extLst>
                </p:cNvPr>
                <p:cNvSpPr>
                  <a:spLocks/>
                </p:cNvSpPr>
                <p:nvPr/>
              </p:nvSpPr>
              <p:spPr bwMode="auto">
                <a:xfrm>
                  <a:off x="990" y="3686"/>
                  <a:ext cx="923" cy="425"/>
                </a:xfrm>
                <a:custGeom>
                  <a:avLst/>
                  <a:gdLst>
                    <a:gd name="T0" fmla="*/ 444 w 461"/>
                    <a:gd name="T1" fmla="*/ 0 h 212"/>
                    <a:gd name="T2" fmla="*/ 17 w 461"/>
                    <a:gd name="T3" fmla="*/ 0 h 212"/>
                    <a:gd name="T4" fmla="*/ 0 w 461"/>
                    <a:gd name="T5" fmla="*/ 17 h 212"/>
                    <a:gd name="T6" fmla="*/ 0 w 461"/>
                    <a:gd name="T7" fmla="*/ 101 h 212"/>
                    <a:gd name="T8" fmla="*/ 4 w 461"/>
                    <a:gd name="T9" fmla="*/ 105 h 212"/>
                    <a:gd name="T10" fmla="*/ 2 w 461"/>
                    <a:gd name="T11" fmla="*/ 106 h 212"/>
                    <a:gd name="T12" fmla="*/ 11 w 461"/>
                    <a:gd name="T13" fmla="*/ 114 h 212"/>
                    <a:gd name="T14" fmla="*/ 12 w 461"/>
                    <a:gd name="T15" fmla="*/ 113 h 212"/>
                    <a:gd name="T16" fmla="*/ 20 w 461"/>
                    <a:gd name="T17" fmla="*/ 121 h 212"/>
                    <a:gd name="T18" fmla="*/ 19 w 461"/>
                    <a:gd name="T19" fmla="*/ 123 h 212"/>
                    <a:gd name="T20" fmla="*/ 27 w 461"/>
                    <a:gd name="T21" fmla="*/ 131 h 212"/>
                    <a:gd name="T22" fmla="*/ 29 w 461"/>
                    <a:gd name="T23" fmla="*/ 130 h 212"/>
                    <a:gd name="T24" fmla="*/ 37 w 461"/>
                    <a:gd name="T25" fmla="*/ 138 h 212"/>
                    <a:gd name="T26" fmla="*/ 36 w 461"/>
                    <a:gd name="T27" fmla="*/ 140 h 212"/>
                    <a:gd name="T28" fmla="*/ 44 w 461"/>
                    <a:gd name="T29" fmla="*/ 148 h 212"/>
                    <a:gd name="T30" fmla="*/ 45 w 461"/>
                    <a:gd name="T31" fmla="*/ 146 h 212"/>
                    <a:gd name="T32" fmla="*/ 54 w 461"/>
                    <a:gd name="T33" fmla="*/ 155 h 212"/>
                    <a:gd name="T34" fmla="*/ 52 w 461"/>
                    <a:gd name="T35" fmla="*/ 156 h 212"/>
                    <a:gd name="T36" fmla="*/ 61 w 461"/>
                    <a:gd name="T37" fmla="*/ 165 h 212"/>
                    <a:gd name="T38" fmla="*/ 62 w 461"/>
                    <a:gd name="T39" fmla="*/ 163 h 212"/>
                    <a:gd name="T40" fmla="*/ 70 w 461"/>
                    <a:gd name="T41" fmla="*/ 171 h 212"/>
                    <a:gd name="T42" fmla="*/ 69 w 461"/>
                    <a:gd name="T43" fmla="*/ 173 h 212"/>
                    <a:gd name="T44" fmla="*/ 77 w 461"/>
                    <a:gd name="T45" fmla="*/ 181 h 212"/>
                    <a:gd name="T46" fmla="*/ 79 w 461"/>
                    <a:gd name="T47" fmla="*/ 180 h 212"/>
                    <a:gd name="T48" fmla="*/ 87 w 461"/>
                    <a:gd name="T49" fmla="*/ 188 h 212"/>
                    <a:gd name="T50" fmla="*/ 86 w 461"/>
                    <a:gd name="T51" fmla="*/ 190 h 212"/>
                    <a:gd name="T52" fmla="*/ 94 w 461"/>
                    <a:gd name="T53" fmla="*/ 198 h 212"/>
                    <a:gd name="T54" fmla="*/ 95 w 461"/>
                    <a:gd name="T55" fmla="*/ 197 h 212"/>
                    <a:gd name="T56" fmla="*/ 104 w 461"/>
                    <a:gd name="T57" fmla="*/ 205 h 212"/>
                    <a:gd name="T58" fmla="*/ 102 w 461"/>
                    <a:gd name="T59" fmla="*/ 206 h 212"/>
                    <a:gd name="T60" fmla="*/ 108 w 461"/>
                    <a:gd name="T61" fmla="*/ 212 h 212"/>
                    <a:gd name="T62" fmla="*/ 444 w 461"/>
                    <a:gd name="T63" fmla="*/ 212 h 212"/>
                    <a:gd name="T64" fmla="*/ 461 w 461"/>
                    <a:gd name="T65" fmla="*/ 195 h 212"/>
                    <a:gd name="T66" fmla="*/ 461 w 461"/>
                    <a:gd name="T67" fmla="*/ 17 h 212"/>
                    <a:gd name="T68" fmla="*/ 444 w 461"/>
                    <a:gd name="T69"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61" h="212">
                      <a:moveTo>
                        <a:pt x="444" y="0"/>
                      </a:moveTo>
                      <a:cubicBezTo>
                        <a:pt x="17" y="0"/>
                        <a:pt x="17" y="0"/>
                        <a:pt x="17" y="0"/>
                      </a:cubicBezTo>
                      <a:cubicBezTo>
                        <a:pt x="8" y="0"/>
                        <a:pt x="0" y="8"/>
                        <a:pt x="0" y="17"/>
                      </a:cubicBezTo>
                      <a:cubicBezTo>
                        <a:pt x="0" y="101"/>
                        <a:pt x="0" y="101"/>
                        <a:pt x="0" y="101"/>
                      </a:cubicBezTo>
                      <a:cubicBezTo>
                        <a:pt x="4" y="105"/>
                        <a:pt x="4" y="105"/>
                        <a:pt x="4" y="105"/>
                      </a:cubicBezTo>
                      <a:cubicBezTo>
                        <a:pt x="2" y="106"/>
                        <a:pt x="2" y="106"/>
                        <a:pt x="2" y="106"/>
                      </a:cubicBezTo>
                      <a:cubicBezTo>
                        <a:pt x="11" y="114"/>
                        <a:pt x="11" y="114"/>
                        <a:pt x="11" y="114"/>
                      </a:cubicBezTo>
                      <a:cubicBezTo>
                        <a:pt x="12" y="113"/>
                        <a:pt x="12" y="113"/>
                        <a:pt x="12" y="113"/>
                      </a:cubicBezTo>
                      <a:cubicBezTo>
                        <a:pt x="20" y="121"/>
                        <a:pt x="20" y="121"/>
                        <a:pt x="20" y="121"/>
                      </a:cubicBezTo>
                      <a:cubicBezTo>
                        <a:pt x="19" y="123"/>
                        <a:pt x="19" y="123"/>
                        <a:pt x="19" y="123"/>
                      </a:cubicBezTo>
                      <a:cubicBezTo>
                        <a:pt x="27" y="131"/>
                        <a:pt x="27" y="131"/>
                        <a:pt x="27" y="131"/>
                      </a:cubicBezTo>
                      <a:cubicBezTo>
                        <a:pt x="29" y="130"/>
                        <a:pt x="29" y="130"/>
                        <a:pt x="29" y="130"/>
                      </a:cubicBezTo>
                      <a:cubicBezTo>
                        <a:pt x="37" y="138"/>
                        <a:pt x="37" y="138"/>
                        <a:pt x="37" y="138"/>
                      </a:cubicBezTo>
                      <a:cubicBezTo>
                        <a:pt x="36" y="140"/>
                        <a:pt x="36" y="140"/>
                        <a:pt x="36" y="140"/>
                      </a:cubicBezTo>
                      <a:cubicBezTo>
                        <a:pt x="44" y="148"/>
                        <a:pt x="44" y="148"/>
                        <a:pt x="44" y="148"/>
                      </a:cubicBezTo>
                      <a:cubicBezTo>
                        <a:pt x="45" y="146"/>
                        <a:pt x="45" y="146"/>
                        <a:pt x="45" y="146"/>
                      </a:cubicBezTo>
                      <a:cubicBezTo>
                        <a:pt x="54" y="155"/>
                        <a:pt x="54" y="155"/>
                        <a:pt x="54" y="155"/>
                      </a:cubicBezTo>
                      <a:cubicBezTo>
                        <a:pt x="52" y="156"/>
                        <a:pt x="52" y="156"/>
                        <a:pt x="52" y="156"/>
                      </a:cubicBezTo>
                      <a:cubicBezTo>
                        <a:pt x="61" y="165"/>
                        <a:pt x="61" y="165"/>
                        <a:pt x="61" y="165"/>
                      </a:cubicBezTo>
                      <a:cubicBezTo>
                        <a:pt x="62" y="163"/>
                        <a:pt x="62" y="163"/>
                        <a:pt x="62" y="163"/>
                      </a:cubicBezTo>
                      <a:cubicBezTo>
                        <a:pt x="70" y="171"/>
                        <a:pt x="70" y="171"/>
                        <a:pt x="70" y="171"/>
                      </a:cubicBezTo>
                      <a:cubicBezTo>
                        <a:pt x="69" y="173"/>
                        <a:pt x="69" y="173"/>
                        <a:pt x="69" y="173"/>
                      </a:cubicBezTo>
                      <a:cubicBezTo>
                        <a:pt x="77" y="181"/>
                        <a:pt x="77" y="181"/>
                        <a:pt x="77" y="181"/>
                      </a:cubicBezTo>
                      <a:cubicBezTo>
                        <a:pt x="79" y="180"/>
                        <a:pt x="79" y="180"/>
                        <a:pt x="79" y="180"/>
                      </a:cubicBezTo>
                      <a:cubicBezTo>
                        <a:pt x="87" y="188"/>
                        <a:pt x="87" y="188"/>
                        <a:pt x="87" y="188"/>
                      </a:cubicBezTo>
                      <a:cubicBezTo>
                        <a:pt x="86" y="190"/>
                        <a:pt x="86" y="190"/>
                        <a:pt x="86" y="190"/>
                      </a:cubicBezTo>
                      <a:cubicBezTo>
                        <a:pt x="94" y="198"/>
                        <a:pt x="94" y="198"/>
                        <a:pt x="94" y="198"/>
                      </a:cubicBezTo>
                      <a:cubicBezTo>
                        <a:pt x="95" y="197"/>
                        <a:pt x="95" y="197"/>
                        <a:pt x="95" y="197"/>
                      </a:cubicBezTo>
                      <a:cubicBezTo>
                        <a:pt x="104" y="205"/>
                        <a:pt x="104" y="205"/>
                        <a:pt x="104" y="205"/>
                      </a:cubicBezTo>
                      <a:cubicBezTo>
                        <a:pt x="102" y="206"/>
                        <a:pt x="102" y="206"/>
                        <a:pt x="102" y="206"/>
                      </a:cubicBezTo>
                      <a:cubicBezTo>
                        <a:pt x="108" y="212"/>
                        <a:pt x="108" y="212"/>
                        <a:pt x="108" y="212"/>
                      </a:cubicBezTo>
                      <a:cubicBezTo>
                        <a:pt x="444" y="212"/>
                        <a:pt x="444" y="212"/>
                        <a:pt x="444" y="212"/>
                      </a:cubicBezTo>
                      <a:cubicBezTo>
                        <a:pt x="453" y="212"/>
                        <a:pt x="461" y="204"/>
                        <a:pt x="461" y="195"/>
                      </a:cubicBezTo>
                      <a:cubicBezTo>
                        <a:pt x="461" y="17"/>
                        <a:pt x="461" y="17"/>
                        <a:pt x="461" y="17"/>
                      </a:cubicBezTo>
                      <a:cubicBezTo>
                        <a:pt x="461" y="8"/>
                        <a:pt x="453" y="0"/>
                        <a:pt x="444" y="0"/>
                      </a:cubicBezTo>
                    </a:path>
                  </a:pathLst>
                </a:custGeom>
                <a:solidFill>
                  <a:srgbClr val="CEE5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297" name="Freeform 107">
                  <a:extLst>
                    <a:ext uri="{FF2B5EF4-FFF2-40B4-BE49-F238E27FC236}">
                      <a16:creationId xmlns:a16="http://schemas.microsoft.com/office/drawing/2014/main" id="{9651EE87-E5BB-EA1C-DFEC-7E5F6B2C424A}"/>
                    </a:ext>
                  </a:extLst>
                </p:cNvPr>
                <p:cNvSpPr>
                  <a:spLocks/>
                </p:cNvSpPr>
                <p:nvPr/>
              </p:nvSpPr>
              <p:spPr bwMode="auto">
                <a:xfrm>
                  <a:off x="990" y="3899"/>
                  <a:ext cx="216" cy="212"/>
                </a:xfrm>
                <a:custGeom>
                  <a:avLst/>
                  <a:gdLst>
                    <a:gd name="T0" fmla="*/ 2 w 108"/>
                    <a:gd name="T1" fmla="*/ 0 h 106"/>
                    <a:gd name="T2" fmla="*/ 1 w 108"/>
                    <a:gd name="T3" fmla="*/ 2 h 106"/>
                    <a:gd name="T4" fmla="*/ 0 w 108"/>
                    <a:gd name="T5" fmla="*/ 1 h 106"/>
                    <a:gd name="T6" fmla="*/ 0 w 108"/>
                    <a:gd name="T7" fmla="*/ 89 h 106"/>
                    <a:gd name="T8" fmla="*/ 17 w 108"/>
                    <a:gd name="T9" fmla="*/ 106 h 106"/>
                    <a:gd name="T10" fmla="*/ 108 w 108"/>
                    <a:gd name="T11" fmla="*/ 106 h 106"/>
                    <a:gd name="T12" fmla="*/ 102 w 108"/>
                    <a:gd name="T13" fmla="*/ 100 h 106"/>
                    <a:gd name="T14" fmla="*/ 101 w 108"/>
                    <a:gd name="T15" fmla="*/ 102 h 106"/>
                    <a:gd name="T16" fmla="*/ 93 w 108"/>
                    <a:gd name="T17" fmla="*/ 93 h 106"/>
                    <a:gd name="T18" fmla="*/ 94 w 108"/>
                    <a:gd name="T19" fmla="*/ 92 h 106"/>
                    <a:gd name="T20" fmla="*/ 86 w 108"/>
                    <a:gd name="T21" fmla="*/ 84 h 106"/>
                    <a:gd name="T22" fmla="*/ 84 w 108"/>
                    <a:gd name="T23" fmla="*/ 85 h 106"/>
                    <a:gd name="T24" fmla="*/ 76 w 108"/>
                    <a:gd name="T25" fmla="*/ 77 h 106"/>
                    <a:gd name="T26" fmla="*/ 77 w 108"/>
                    <a:gd name="T27" fmla="*/ 75 h 106"/>
                    <a:gd name="T28" fmla="*/ 69 w 108"/>
                    <a:gd name="T29" fmla="*/ 67 h 106"/>
                    <a:gd name="T30" fmla="*/ 68 w 108"/>
                    <a:gd name="T31" fmla="*/ 68 h 106"/>
                    <a:gd name="T32" fmla="*/ 59 w 108"/>
                    <a:gd name="T33" fmla="*/ 60 h 106"/>
                    <a:gd name="T34" fmla="*/ 61 w 108"/>
                    <a:gd name="T35" fmla="*/ 59 h 106"/>
                    <a:gd name="T36" fmla="*/ 52 w 108"/>
                    <a:gd name="T37" fmla="*/ 50 h 106"/>
                    <a:gd name="T38" fmla="*/ 51 w 108"/>
                    <a:gd name="T39" fmla="*/ 52 h 106"/>
                    <a:gd name="T40" fmla="*/ 43 w 108"/>
                    <a:gd name="T41" fmla="*/ 43 h 106"/>
                    <a:gd name="T42" fmla="*/ 44 w 108"/>
                    <a:gd name="T43" fmla="*/ 42 h 106"/>
                    <a:gd name="T44" fmla="*/ 36 w 108"/>
                    <a:gd name="T45" fmla="*/ 34 h 106"/>
                    <a:gd name="T46" fmla="*/ 34 w 108"/>
                    <a:gd name="T47" fmla="*/ 35 h 106"/>
                    <a:gd name="T48" fmla="*/ 26 w 108"/>
                    <a:gd name="T49" fmla="*/ 27 h 106"/>
                    <a:gd name="T50" fmla="*/ 27 w 108"/>
                    <a:gd name="T51" fmla="*/ 25 h 106"/>
                    <a:gd name="T52" fmla="*/ 19 w 108"/>
                    <a:gd name="T53" fmla="*/ 17 h 106"/>
                    <a:gd name="T54" fmla="*/ 17 w 108"/>
                    <a:gd name="T55" fmla="*/ 18 h 106"/>
                    <a:gd name="T56" fmla="*/ 9 w 108"/>
                    <a:gd name="T57" fmla="*/ 10 h 106"/>
                    <a:gd name="T58" fmla="*/ 11 w 108"/>
                    <a:gd name="T59" fmla="*/ 8 h 106"/>
                    <a:gd name="T60" fmla="*/ 2 w 108"/>
                    <a:gd name="T61"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8" h="106">
                      <a:moveTo>
                        <a:pt x="2" y="0"/>
                      </a:moveTo>
                      <a:cubicBezTo>
                        <a:pt x="1" y="2"/>
                        <a:pt x="1" y="2"/>
                        <a:pt x="1" y="2"/>
                      </a:cubicBezTo>
                      <a:cubicBezTo>
                        <a:pt x="0" y="1"/>
                        <a:pt x="0" y="1"/>
                        <a:pt x="0" y="1"/>
                      </a:cubicBezTo>
                      <a:cubicBezTo>
                        <a:pt x="0" y="89"/>
                        <a:pt x="0" y="89"/>
                        <a:pt x="0" y="89"/>
                      </a:cubicBezTo>
                      <a:cubicBezTo>
                        <a:pt x="0" y="98"/>
                        <a:pt x="8" y="106"/>
                        <a:pt x="17" y="106"/>
                      </a:cubicBezTo>
                      <a:cubicBezTo>
                        <a:pt x="108" y="106"/>
                        <a:pt x="108" y="106"/>
                        <a:pt x="108" y="106"/>
                      </a:cubicBezTo>
                      <a:cubicBezTo>
                        <a:pt x="102" y="100"/>
                        <a:pt x="102" y="100"/>
                        <a:pt x="102" y="100"/>
                      </a:cubicBezTo>
                      <a:cubicBezTo>
                        <a:pt x="101" y="102"/>
                        <a:pt x="101" y="102"/>
                        <a:pt x="101" y="102"/>
                      </a:cubicBezTo>
                      <a:cubicBezTo>
                        <a:pt x="93" y="93"/>
                        <a:pt x="93" y="93"/>
                        <a:pt x="93" y="93"/>
                      </a:cubicBezTo>
                      <a:cubicBezTo>
                        <a:pt x="94" y="92"/>
                        <a:pt x="94" y="92"/>
                        <a:pt x="94" y="92"/>
                      </a:cubicBezTo>
                      <a:cubicBezTo>
                        <a:pt x="86" y="84"/>
                        <a:pt x="86" y="84"/>
                        <a:pt x="86" y="84"/>
                      </a:cubicBezTo>
                      <a:cubicBezTo>
                        <a:pt x="84" y="85"/>
                        <a:pt x="84" y="85"/>
                        <a:pt x="84" y="85"/>
                      </a:cubicBezTo>
                      <a:cubicBezTo>
                        <a:pt x="76" y="77"/>
                        <a:pt x="76" y="77"/>
                        <a:pt x="76" y="77"/>
                      </a:cubicBezTo>
                      <a:cubicBezTo>
                        <a:pt x="77" y="75"/>
                        <a:pt x="77" y="75"/>
                        <a:pt x="77" y="75"/>
                      </a:cubicBezTo>
                      <a:cubicBezTo>
                        <a:pt x="69" y="67"/>
                        <a:pt x="69" y="67"/>
                        <a:pt x="69" y="67"/>
                      </a:cubicBezTo>
                      <a:cubicBezTo>
                        <a:pt x="68" y="68"/>
                        <a:pt x="68" y="68"/>
                        <a:pt x="68" y="68"/>
                      </a:cubicBezTo>
                      <a:cubicBezTo>
                        <a:pt x="59" y="60"/>
                        <a:pt x="59" y="60"/>
                        <a:pt x="59" y="60"/>
                      </a:cubicBezTo>
                      <a:cubicBezTo>
                        <a:pt x="61" y="59"/>
                        <a:pt x="61" y="59"/>
                        <a:pt x="61" y="59"/>
                      </a:cubicBezTo>
                      <a:cubicBezTo>
                        <a:pt x="52" y="50"/>
                        <a:pt x="52" y="50"/>
                        <a:pt x="52" y="50"/>
                      </a:cubicBezTo>
                      <a:cubicBezTo>
                        <a:pt x="51" y="52"/>
                        <a:pt x="51" y="52"/>
                        <a:pt x="51" y="52"/>
                      </a:cubicBezTo>
                      <a:cubicBezTo>
                        <a:pt x="43" y="43"/>
                        <a:pt x="43" y="43"/>
                        <a:pt x="43" y="43"/>
                      </a:cubicBezTo>
                      <a:cubicBezTo>
                        <a:pt x="44" y="42"/>
                        <a:pt x="44" y="42"/>
                        <a:pt x="44" y="42"/>
                      </a:cubicBezTo>
                      <a:cubicBezTo>
                        <a:pt x="36" y="34"/>
                        <a:pt x="36" y="34"/>
                        <a:pt x="36" y="34"/>
                      </a:cubicBezTo>
                      <a:cubicBezTo>
                        <a:pt x="34" y="35"/>
                        <a:pt x="34" y="35"/>
                        <a:pt x="34" y="35"/>
                      </a:cubicBezTo>
                      <a:cubicBezTo>
                        <a:pt x="26" y="27"/>
                        <a:pt x="26" y="27"/>
                        <a:pt x="26" y="27"/>
                      </a:cubicBezTo>
                      <a:cubicBezTo>
                        <a:pt x="27" y="25"/>
                        <a:pt x="27" y="25"/>
                        <a:pt x="27" y="25"/>
                      </a:cubicBezTo>
                      <a:cubicBezTo>
                        <a:pt x="19" y="17"/>
                        <a:pt x="19" y="17"/>
                        <a:pt x="19" y="17"/>
                      </a:cubicBezTo>
                      <a:cubicBezTo>
                        <a:pt x="17" y="18"/>
                        <a:pt x="17" y="18"/>
                        <a:pt x="17" y="18"/>
                      </a:cubicBezTo>
                      <a:cubicBezTo>
                        <a:pt x="9" y="10"/>
                        <a:pt x="9" y="10"/>
                        <a:pt x="9" y="10"/>
                      </a:cubicBezTo>
                      <a:cubicBezTo>
                        <a:pt x="11" y="8"/>
                        <a:pt x="11" y="8"/>
                        <a:pt x="11" y="8"/>
                      </a:cubicBezTo>
                      <a:cubicBezTo>
                        <a:pt x="2" y="0"/>
                        <a:pt x="2" y="0"/>
                        <a:pt x="2" y="0"/>
                      </a:cubicBezTo>
                    </a:path>
                  </a:pathLst>
                </a:custGeom>
                <a:solidFill>
                  <a:srgbClr val="BDD69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298" name="Freeform 108">
                  <a:extLst>
                    <a:ext uri="{FF2B5EF4-FFF2-40B4-BE49-F238E27FC236}">
                      <a16:creationId xmlns:a16="http://schemas.microsoft.com/office/drawing/2014/main" id="{398B5413-F3F4-1000-6C1A-554A81EDEDEB}"/>
                    </a:ext>
                  </a:extLst>
                </p:cNvPr>
                <p:cNvSpPr>
                  <a:spLocks/>
                </p:cNvSpPr>
                <p:nvPr/>
              </p:nvSpPr>
              <p:spPr bwMode="auto">
                <a:xfrm>
                  <a:off x="990" y="3889"/>
                  <a:ext cx="208" cy="214"/>
                </a:xfrm>
                <a:custGeom>
                  <a:avLst/>
                  <a:gdLst>
                    <a:gd name="T0" fmla="*/ 190 w 208"/>
                    <a:gd name="T1" fmla="*/ 192 h 214"/>
                    <a:gd name="T2" fmla="*/ 188 w 208"/>
                    <a:gd name="T3" fmla="*/ 194 h 214"/>
                    <a:gd name="T4" fmla="*/ 186 w 208"/>
                    <a:gd name="T5" fmla="*/ 196 h 214"/>
                    <a:gd name="T6" fmla="*/ 202 w 208"/>
                    <a:gd name="T7" fmla="*/ 214 h 214"/>
                    <a:gd name="T8" fmla="*/ 204 w 208"/>
                    <a:gd name="T9" fmla="*/ 210 h 214"/>
                    <a:gd name="T10" fmla="*/ 208 w 208"/>
                    <a:gd name="T11" fmla="*/ 208 h 214"/>
                    <a:gd name="T12" fmla="*/ 190 w 208"/>
                    <a:gd name="T13" fmla="*/ 192 h 214"/>
                    <a:gd name="T14" fmla="*/ 158 w 208"/>
                    <a:gd name="T15" fmla="*/ 158 h 214"/>
                    <a:gd name="T16" fmla="*/ 154 w 208"/>
                    <a:gd name="T17" fmla="*/ 160 h 214"/>
                    <a:gd name="T18" fmla="*/ 152 w 208"/>
                    <a:gd name="T19" fmla="*/ 164 h 214"/>
                    <a:gd name="T20" fmla="*/ 168 w 208"/>
                    <a:gd name="T21" fmla="*/ 180 h 214"/>
                    <a:gd name="T22" fmla="*/ 172 w 208"/>
                    <a:gd name="T23" fmla="*/ 178 h 214"/>
                    <a:gd name="T24" fmla="*/ 174 w 208"/>
                    <a:gd name="T25" fmla="*/ 174 h 214"/>
                    <a:gd name="T26" fmla="*/ 158 w 208"/>
                    <a:gd name="T27" fmla="*/ 158 h 214"/>
                    <a:gd name="T28" fmla="*/ 124 w 208"/>
                    <a:gd name="T29" fmla="*/ 124 h 214"/>
                    <a:gd name="T30" fmla="*/ 122 w 208"/>
                    <a:gd name="T31" fmla="*/ 128 h 214"/>
                    <a:gd name="T32" fmla="*/ 118 w 208"/>
                    <a:gd name="T33" fmla="*/ 130 h 214"/>
                    <a:gd name="T34" fmla="*/ 136 w 208"/>
                    <a:gd name="T35" fmla="*/ 146 h 214"/>
                    <a:gd name="T36" fmla="*/ 138 w 208"/>
                    <a:gd name="T37" fmla="*/ 144 h 214"/>
                    <a:gd name="T38" fmla="*/ 140 w 208"/>
                    <a:gd name="T39" fmla="*/ 140 h 214"/>
                    <a:gd name="T40" fmla="*/ 124 w 208"/>
                    <a:gd name="T41" fmla="*/ 124 h 214"/>
                    <a:gd name="T42" fmla="*/ 90 w 208"/>
                    <a:gd name="T43" fmla="*/ 90 h 214"/>
                    <a:gd name="T44" fmla="*/ 88 w 208"/>
                    <a:gd name="T45" fmla="*/ 94 h 214"/>
                    <a:gd name="T46" fmla="*/ 86 w 208"/>
                    <a:gd name="T47" fmla="*/ 96 h 214"/>
                    <a:gd name="T48" fmla="*/ 102 w 208"/>
                    <a:gd name="T49" fmla="*/ 114 h 214"/>
                    <a:gd name="T50" fmla="*/ 104 w 208"/>
                    <a:gd name="T51" fmla="*/ 110 h 214"/>
                    <a:gd name="T52" fmla="*/ 108 w 208"/>
                    <a:gd name="T53" fmla="*/ 108 h 214"/>
                    <a:gd name="T54" fmla="*/ 90 w 208"/>
                    <a:gd name="T55" fmla="*/ 90 h 214"/>
                    <a:gd name="T56" fmla="*/ 58 w 208"/>
                    <a:gd name="T57" fmla="*/ 58 h 214"/>
                    <a:gd name="T58" fmla="*/ 54 w 208"/>
                    <a:gd name="T59" fmla="*/ 60 h 214"/>
                    <a:gd name="T60" fmla="*/ 52 w 208"/>
                    <a:gd name="T61" fmla="*/ 64 h 214"/>
                    <a:gd name="T62" fmla="*/ 68 w 208"/>
                    <a:gd name="T63" fmla="*/ 80 h 214"/>
                    <a:gd name="T64" fmla="*/ 72 w 208"/>
                    <a:gd name="T65" fmla="*/ 78 h 214"/>
                    <a:gd name="T66" fmla="*/ 74 w 208"/>
                    <a:gd name="T67" fmla="*/ 74 h 214"/>
                    <a:gd name="T68" fmla="*/ 58 w 208"/>
                    <a:gd name="T69" fmla="*/ 58 h 214"/>
                    <a:gd name="T70" fmla="*/ 24 w 208"/>
                    <a:gd name="T71" fmla="*/ 24 h 214"/>
                    <a:gd name="T72" fmla="*/ 22 w 208"/>
                    <a:gd name="T73" fmla="*/ 26 h 214"/>
                    <a:gd name="T74" fmla="*/ 18 w 208"/>
                    <a:gd name="T75" fmla="*/ 30 h 214"/>
                    <a:gd name="T76" fmla="*/ 34 w 208"/>
                    <a:gd name="T77" fmla="*/ 46 h 214"/>
                    <a:gd name="T78" fmla="*/ 38 w 208"/>
                    <a:gd name="T79" fmla="*/ 44 h 214"/>
                    <a:gd name="T80" fmla="*/ 40 w 208"/>
                    <a:gd name="T81" fmla="*/ 40 h 214"/>
                    <a:gd name="T82" fmla="*/ 24 w 208"/>
                    <a:gd name="T83" fmla="*/ 24 h 214"/>
                    <a:gd name="T84" fmla="*/ 0 w 208"/>
                    <a:gd name="T85" fmla="*/ 0 h 214"/>
                    <a:gd name="T86" fmla="*/ 0 w 208"/>
                    <a:gd name="T87" fmla="*/ 12 h 214"/>
                    <a:gd name="T88" fmla="*/ 2 w 208"/>
                    <a:gd name="T89" fmla="*/ 14 h 214"/>
                    <a:gd name="T90" fmla="*/ 4 w 208"/>
                    <a:gd name="T91" fmla="*/ 10 h 214"/>
                    <a:gd name="T92" fmla="*/ 8 w 208"/>
                    <a:gd name="T93" fmla="*/ 8 h 214"/>
                    <a:gd name="T94" fmla="*/ 0 w 208"/>
                    <a:gd name="T95" fmla="*/ 0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8" h="214">
                      <a:moveTo>
                        <a:pt x="190" y="192"/>
                      </a:moveTo>
                      <a:lnTo>
                        <a:pt x="188" y="194"/>
                      </a:lnTo>
                      <a:lnTo>
                        <a:pt x="186" y="196"/>
                      </a:lnTo>
                      <a:lnTo>
                        <a:pt x="202" y="214"/>
                      </a:lnTo>
                      <a:lnTo>
                        <a:pt x="204" y="210"/>
                      </a:lnTo>
                      <a:lnTo>
                        <a:pt x="208" y="208"/>
                      </a:lnTo>
                      <a:lnTo>
                        <a:pt x="190" y="192"/>
                      </a:lnTo>
                      <a:close/>
                      <a:moveTo>
                        <a:pt x="158" y="158"/>
                      </a:moveTo>
                      <a:lnTo>
                        <a:pt x="154" y="160"/>
                      </a:lnTo>
                      <a:lnTo>
                        <a:pt x="152" y="164"/>
                      </a:lnTo>
                      <a:lnTo>
                        <a:pt x="168" y="180"/>
                      </a:lnTo>
                      <a:lnTo>
                        <a:pt x="172" y="178"/>
                      </a:lnTo>
                      <a:lnTo>
                        <a:pt x="174" y="174"/>
                      </a:lnTo>
                      <a:lnTo>
                        <a:pt x="158" y="158"/>
                      </a:lnTo>
                      <a:close/>
                      <a:moveTo>
                        <a:pt x="124" y="124"/>
                      </a:moveTo>
                      <a:lnTo>
                        <a:pt x="122" y="128"/>
                      </a:lnTo>
                      <a:lnTo>
                        <a:pt x="118" y="130"/>
                      </a:lnTo>
                      <a:lnTo>
                        <a:pt x="136" y="146"/>
                      </a:lnTo>
                      <a:lnTo>
                        <a:pt x="138" y="144"/>
                      </a:lnTo>
                      <a:lnTo>
                        <a:pt x="140" y="140"/>
                      </a:lnTo>
                      <a:lnTo>
                        <a:pt x="124" y="124"/>
                      </a:lnTo>
                      <a:close/>
                      <a:moveTo>
                        <a:pt x="90" y="90"/>
                      </a:moveTo>
                      <a:lnTo>
                        <a:pt x="88" y="94"/>
                      </a:lnTo>
                      <a:lnTo>
                        <a:pt x="86" y="96"/>
                      </a:lnTo>
                      <a:lnTo>
                        <a:pt x="102" y="114"/>
                      </a:lnTo>
                      <a:lnTo>
                        <a:pt x="104" y="110"/>
                      </a:lnTo>
                      <a:lnTo>
                        <a:pt x="108" y="108"/>
                      </a:lnTo>
                      <a:lnTo>
                        <a:pt x="90" y="90"/>
                      </a:lnTo>
                      <a:close/>
                      <a:moveTo>
                        <a:pt x="58" y="58"/>
                      </a:moveTo>
                      <a:lnTo>
                        <a:pt x="54" y="60"/>
                      </a:lnTo>
                      <a:lnTo>
                        <a:pt x="52" y="64"/>
                      </a:lnTo>
                      <a:lnTo>
                        <a:pt x="68" y="80"/>
                      </a:lnTo>
                      <a:lnTo>
                        <a:pt x="72" y="78"/>
                      </a:lnTo>
                      <a:lnTo>
                        <a:pt x="74" y="74"/>
                      </a:lnTo>
                      <a:lnTo>
                        <a:pt x="58" y="58"/>
                      </a:lnTo>
                      <a:close/>
                      <a:moveTo>
                        <a:pt x="24" y="24"/>
                      </a:moveTo>
                      <a:lnTo>
                        <a:pt x="22" y="26"/>
                      </a:lnTo>
                      <a:lnTo>
                        <a:pt x="18" y="30"/>
                      </a:lnTo>
                      <a:lnTo>
                        <a:pt x="34" y="46"/>
                      </a:lnTo>
                      <a:lnTo>
                        <a:pt x="38" y="44"/>
                      </a:lnTo>
                      <a:lnTo>
                        <a:pt x="40" y="40"/>
                      </a:lnTo>
                      <a:lnTo>
                        <a:pt x="24" y="24"/>
                      </a:lnTo>
                      <a:close/>
                      <a:moveTo>
                        <a:pt x="0" y="0"/>
                      </a:moveTo>
                      <a:lnTo>
                        <a:pt x="0" y="12"/>
                      </a:lnTo>
                      <a:lnTo>
                        <a:pt x="2" y="14"/>
                      </a:lnTo>
                      <a:lnTo>
                        <a:pt x="4" y="10"/>
                      </a:lnTo>
                      <a:lnTo>
                        <a:pt x="8" y="8"/>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299" name="Freeform 109">
                  <a:extLst>
                    <a:ext uri="{FF2B5EF4-FFF2-40B4-BE49-F238E27FC236}">
                      <a16:creationId xmlns:a16="http://schemas.microsoft.com/office/drawing/2014/main" id="{1BE4B973-06CE-79F2-D748-36B59C0D54F1}"/>
                    </a:ext>
                  </a:extLst>
                </p:cNvPr>
                <p:cNvSpPr>
                  <a:spLocks/>
                </p:cNvSpPr>
                <p:nvPr/>
              </p:nvSpPr>
              <p:spPr bwMode="auto">
                <a:xfrm>
                  <a:off x="990" y="3889"/>
                  <a:ext cx="208" cy="214"/>
                </a:xfrm>
                <a:custGeom>
                  <a:avLst/>
                  <a:gdLst>
                    <a:gd name="T0" fmla="*/ 190 w 208"/>
                    <a:gd name="T1" fmla="*/ 192 h 214"/>
                    <a:gd name="T2" fmla="*/ 188 w 208"/>
                    <a:gd name="T3" fmla="*/ 194 h 214"/>
                    <a:gd name="T4" fmla="*/ 186 w 208"/>
                    <a:gd name="T5" fmla="*/ 196 h 214"/>
                    <a:gd name="T6" fmla="*/ 202 w 208"/>
                    <a:gd name="T7" fmla="*/ 214 h 214"/>
                    <a:gd name="T8" fmla="*/ 204 w 208"/>
                    <a:gd name="T9" fmla="*/ 210 h 214"/>
                    <a:gd name="T10" fmla="*/ 208 w 208"/>
                    <a:gd name="T11" fmla="*/ 208 h 214"/>
                    <a:gd name="T12" fmla="*/ 190 w 208"/>
                    <a:gd name="T13" fmla="*/ 192 h 214"/>
                    <a:gd name="T14" fmla="*/ 158 w 208"/>
                    <a:gd name="T15" fmla="*/ 158 h 214"/>
                    <a:gd name="T16" fmla="*/ 154 w 208"/>
                    <a:gd name="T17" fmla="*/ 160 h 214"/>
                    <a:gd name="T18" fmla="*/ 152 w 208"/>
                    <a:gd name="T19" fmla="*/ 164 h 214"/>
                    <a:gd name="T20" fmla="*/ 168 w 208"/>
                    <a:gd name="T21" fmla="*/ 180 h 214"/>
                    <a:gd name="T22" fmla="*/ 172 w 208"/>
                    <a:gd name="T23" fmla="*/ 178 h 214"/>
                    <a:gd name="T24" fmla="*/ 174 w 208"/>
                    <a:gd name="T25" fmla="*/ 174 h 214"/>
                    <a:gd name="T26" fmla="*/ 158 w 208"/>
                    <a:gd name="T27" fmla="*/ 158 h 214"/>
                    <a:gd name="T28" fmla="*/ 124 w 208"/>
                    <a:gd name="T29" fmla="*/ 124 h 214"/>
                    <a:gd name="T30" fmla="*/ 122 w 208"/>
                    <a:gd name="T31" fmla="*/ 128 h 214"/>
                    <a:gd name="T32" fmla="*/ 118 w 208"/>
                    <a:gd name="T33" fmla="*/ 130 h 214"/>
                    <a:gd name="T34" fmla="*/ 136 w 208"/>
                    <a:gd name="T35" fmla="*/ 146 h 214"/>
                    <a:gd name="T36" fmla="*/ 138 w 208"/>
                    <a:gd name="T37" fmla="*/ 144 h 214"/>
                    <a:gd name="T38" fmla="*/ 140 w 208"/>
                    <a:gd name="T39" fmla="*/ 140 h 214"/>
                    <a:gd name="T40" fmla="*/ 124 w 208"/>
                    <a:gd name="T41" fmla="*/ 124 h 214"/>
                    <a:gd name="T42" fmla="*/ 90 w 208"/>
                    <a:gd name="T43" fmla="*/ 90 h 214"/>
                    <a:gd name="T44" fmla="*/ 88 w 208"/>
                    <a:gd name="T45" fmla="*/ 94 h 214"/>
                    <a:gd name="T46" fmla="*/ 86 w 208"/>
                    <a:gd name="T47" fmla="*/ 96 h 214"/>
                    <a:gd name="T48" fmla="*/ 102 w 208"/>
                    <a:gd name="T49" fmla="*/ 114 h 214"/>
                    <a:gd name="T50" fmla="*/ 104 w 208"/>
                    <a:gd name="T51" fmla="*/ 110 h 214"/>
                    <a:gd name="T52" fmla="*/ 108 w 208"/>
                    <a:gd name="T53" fmla="*/ 108 h 214"/>
                    <a:gd name="T54" fmla="*/ 90 w 208"/>
                    <a:gd name="T55" fmla="*/ 90 h 214"/>
                    <a:gd name="T56" fmla="*/ 58 w 208"/>
                    <a:gd name="T57" fmla="*/ 58 h 214"/>
                    <a:gd name="T58" fmla="*/ 54 w 208"/>
                    <a:gd name="T59" fmla="*/ 60 h 214"/>
                    <a:gd name="T60" fmla="*/ 52 w 208"/>
                    <a:gd name="T61" fmla="*/ 64 h 214"/>
                    <a:gd name="T62" fmla="*/ 68 w 208"/>
                    <a:gd name="T63" fmla="*/ 80 h 214"/>
                    <a:gd name="T64" fmla="*/ 72 w 208"/>
                    <a:gd name="T65" fmla="*/ 78 h 214"/>
                    <a:gd name="T66" fmla="*/ 74 w 208"/>
                    <a:gd name="T67" fmla="*/ 74 h 214"/>
                    <a:gd name="T68" fmla="*/ 58 w 208"/>
                    <a:gd name="T69" fmla="*/ 58 h 214"/>
                    <a:gd name="T70" fmla="*/ 24 w 208"/>
                    <a:gd name="T71" fmla="*/ 24 h 214"/>
                    <a:gd name="T72" fmla="*/ 22 w 208"/>
                    <a:gd name="T73" fmla="*/ 26 h 214"/>
                    <a:gd name="T74" fmla="*/ 18 w 208"/>
                    <a:gd name="T75" fmla="*/ 30 h 214"/>
                    <a:gd name="T76" fmla="*/ 34 w 208"/>
                    <a:gd name="T77" fmla="*/ 46 h 214"/>
                    <a:gd name="T78" fmla="*/ 38 w 208"/>
                    <a:gd name="T79" fmla="*/ 44 h 214"/>
                    <a:gd name="T80" fmla="*/ 40 w 208"/>
                    <a:gd name="T81" fmla="*/ 40 h 214"/>
                    <a:gd name="T82" fmla="*/ 24 w 208"/>
                    <a:gd name="T83" fmla="*/ 24 h 214"/>
                    <a:gd name="T84" fmla="*/ 0 w 208"/>
                    <a:gd name="T85" fmla="*/ 0 h 214"/>
                    <a:gd name="T86" fmla="*/ 0 w 208"/>
                    <a:gd name="T87" fmla="*/ 12 h 214"/>
                    <a:gd name="T88" fmla="*/ 2 w 208"/>
                    <a:gd name="T89" fmla="*/ 14 h 214"/>
                    <a:gd name="T90" fmla="*/ 4 w 208"/>
                    <a:gd name="T91" fmla="*/ 10 h 214"/>
                    <a:gd name="T92" fmla="*/ 8 w 208"/>
                    <a:gd name="T93" fmla="*/ 8 h 214"/>
                    <a:gd name="T94" fmla="*/ 0 w 208"/>
                    <a:gd name="T95" fmla="*/ 0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8" h="214">
                      <a:moveTo>
                        <a:pt x="190" y="192"/>
                      </a:moveTo>
                      <a:lnTo>
                        <a:pt x="188" y="194"/>
                      </a:lnTo>
                      <a:lnTo>
                        <a:pt x="186" y="196"/>
                      </a:lnTo>
                      <a:lnTo>
                        <a:pt x="202" y="214"/>
                      </a:lnTo>
                      <a:lnTo>
                        <a:pt x="204" y="210"/>
                      </a:lnTo>
                      <a:lnTo>
                        <a:pt x="208" y="208"/>
                      </a:lnTo>
                      <a:lnTo>
                        <a:pt x="190" y="192"/>
                      </a:lnTo>
                      <a:moveTo>
                        <a:pt x="158" y="158"/>
                      </a:moveTo>
                      <a:lnTo>
                        <a:pt x="154" y="160"/>
                      </a:lnTo>
                      <a:lnTo>
                        <a:pt x="152" y="164"/>
                      </a:lnTo>
                      <a:lnTo>
                        <a:pt x="168" y="180"/>
                      </a:lnTo>
                      <a:lnTo>
                        <a:pt x="172" y="178"/>
                      </a:lnTo>
                      <a:lnTo>
                        <a:pt x="174" y="174"/>
                      </a:lnTo>
                      <a:lnTo>
                        <a:pt x="158" y="158"/>
                      </a:lnTo>
                      <a:moveTo>
                        <a:pt x="124" y="124"/>
                      </a:moveTo>
                      <a:lnTo>
                        <a:pt x="122" y="128"/>
                      </a:lnTo>
                      <a:lnTo>
                        <a:pt x="118" y="130"/>
                      </a:lnTo>
                      <a:lnTo>
                        <a:pt x="136" y="146"/>
                      </a:lnTo>
                      <a:lnTo>
                        <a:pt x="138" y="144"/>
                      </a:lnTo>
                      <a:lnTo>
                        <a:pt x="140" y="140"/>
                      </a:lnTo>
                      <a:lnTo>
                        <a:pt x="124" y="124"/>
                      </a:lnTo>
                      <a:moveTo>
                        <a:pt x="90" y="90"/>
                      </a:moveTo>
                      <a:lnTo>
                        <a:pt x="88" y="94"/>
                      </a:lnTo>
                      <a:lnTo>
                        <a:pt x="86" y="96"/>
                      </a:lnTo>
                      <a:lnTo>
                        <a:pt x="102" y="114"/>
                      </a:lnTo>
                      <a:lnTo>
                        <a:pt x="104" y="110"/>
                      </a:lnTo>
                      <a:lnTo>
                        <a:pt x="108" y="108"/>
                      </a:lnTo>
                      <a:lnTo>
                        <a:pt x="90" y="90"/>
                      </a:lnTo>
                      <a:moveTo>
                        <a:pt x="58" y="58"/>
                      </a:moveTo>
                      <a:lnTo>
                        <a:pt x="54" y="60"/>
                      </a:lnTo>
                      <a:lnTo>
                        <a:pt x="52" y="64"/>
                      </a:lnTo>
                      <a:lnTo>
                        <a:pt x="68" y="80"/>
                      </a:lnTo>
                      <a:lnTo>
                        <a:pt x="72" y="78"/>
                      </a:lnTo>
                      <a:lnTo>
                        <a:pt x="74" y="74"/>
                      </a:lnTo>
                      <a:lnTo>
                        <a:pt x="58" y="58"/>
                      </a:lnTo>
                      <a:moveTo>
                        <a:pt x="24" y="24"/>
                      </a:moveTo>
                      <a:lnTo>
                        <a:pt x="22" y="26"/>
                      </a:lnTo>
                      <a:lnTo>
                        <a:pt x="18" y="30"/>
                      </a:lnTo>
                      <a:lnTo>
                        <a:pt x="34" y="46"/>
                      </a:lnTo>
                      <a:lnTo>
                        <a:pt x="38" y="44"/>
                      </a:lnTo>
                      <a:lnTo>
                        <a:pt x="40" y="40"/>
                      </a:lnTo>
                      <a:lnTo>
                        <a:pt x="24" y="24"/>
                      </a:lnTo>
                      <a:moveTo>
                        <a:pt x="0" y="0"/>
                      </a:moveTo>
                      <a:lnTo>
                        <a:pt x="0" y="12"/>
                      </a:lnTo>
                      <a:lnTo>
                        <a:pt x="2" y="14"/>
                      </a:lnTo>
                      <a:lnTo>
                        <a:pt x="4" y="10"/>
                      </a:lnTo>
                      <a:lnTo>
                        <a:pt x="8"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300" name="Rectangle 110">
                  <a:extLst>
                    <a:ext uri="{FF2B5EF4-FFF2-40B4-BE49-F238E27FC236}">
                      <a16:creationId xmlns:a16="http://schemas.microsoft.com/office/drawing/2014/main" id="{D0638D54-0B23-DE2F-49AE-18992164B2D9}"/>
                    </a:ext>
                  </a:extLst>
                </p:cNvPr>
                <p:cNvSpPr>
                  <a:spLocks/>
                </p:cNvSpPr>
                <p:nvPr/>
              </p:nvSpPr>
              <p:spPr bwMode="auto">
                <a:xfrm>
                  <a:off x="657" y="1192"/>
                  <a:ext cx="423" cy="8"/>
                </a:xfrm>
                <a:prstGeom prst="rect">
                  <a:avLst/>
                </a:prstGeom>
                <a:solidFill>
                  <a:srgbClr val="231F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301" name="Freeform 111">
                  <a:extLst>
                    <a:ext uri="{FF2B5EF4-FFF2-40B4-BE49-F238E27FC236}">
                      <a16:creationId xmlns:a16="http://schemas.microsoft.com/office/drawing/2014/main" id="{23B1AEA8-0825-EF72-9EE1-C8410BF1B7D1}"/>
                    </a:ext>
                  </a:extLst>
                </p:cNvPr>
                <p:cNvSpPr>
                  <a:spLocks/>
                </p:cNvSpPr>
                <p:nvPr/>
              </p:nvSpPr>
              <p:spPr bwMode="auto">
                <a:xfrm>
                  <a:off x="657" y="1192"/>
                  <a:ext cx="423" cy="8"/>
                </a:xfrm>
                <a:custGeom>
                  <a:avLst/>
                  <a:gdLst>
                    <a:gd name="T0" fmla="*/ 0 w 423"/>
                    <a:gd name="T1" fmla="*/ 8 h 8"/>
                    <a:gd name="T2" fmla="*/ 423 w 423"/>
                    <a:gd name="T3" fmla="*/ 8 h 8"/>
                    <a:gd name="T4" fmla="*/ 423 w 423"/>
                    <a:gd name="T5" fmla="*/ 0 h 8"/>
                    <a:gd name="T6" fmla="*/ 0 w 423"/>
                    <a:gd name="T7" fmla="*/ 0 h 8"/>
                  </a:gdLst>
                  <a:ahLst/>
                  <a:cxnLst>
                    <a:cxn ang="0">
                      <a:pos x="T0" y="T1"/>
                    </a:cxn>
                    <a:cxn ang="0">
                      <a:pos x="T2" y="T3"/>
                    </a:cxn>
                    <a:cxn ang="0">
                      <a:pos x="T4" y="T5"/>
                    </a:cxn>
                    <a:cxn ang="0">
                      <a:pos x="T6" y="T7"/>
                    </a:cxn>
                  </a:cxnLst>
                  <a:rect l="0" t="0" r="r" b="b"/>
                  <a:pathLst>
                    <a:path w="423" h="8">
                      <a:moveTo>
                        <a:pt x="0" y="8"/>
                      </a:moveTo>
                      <a:lnTo>
                        <a:pt x="423" y="8"/>
                      </a:lnTo>
                      <a:lnTo>
                        <a:pt x="423"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302" name="Freeform 112">
                  <a:extLst>
                    <a:ext uri="{FF2B5EF4-FFF2-40B4-BE49-F238E27FC236}">
                      <a16:creationId xmlns:a16="http://schemas.microsoft.com/office/drawing/2014/main" id="{642504CF-4DDB-BC86-1FAE-B7727F898B16}"/>
                    </a:ext>
                  </a:extLst>
                </p:cNvPr>
                <p:cNvSpPr>
                  <a:spLocks/>
                </p:cNvSpPr>
                <p:nvPr/>
              </p:nvSpPr>
              <p:spPr bwMode="auto">
                <a:xfrm>
                  <a:off x="617" y="1168"/>
                  <a:ext cx="48" cy="56"/>
                </a:xfrm>
                <a:custGeom>
                  <a:avLst/>
                  <a:gdLst>
                    <a:gd name="T0" fmla="*/ 48 w 48"/>
                    <a:gd name="T1" fmla="*/ 56 h 56"/>
                    <a:gd name="T2" fmla="*/ 0 w 48"/>
                    <a:gd name="T3" fmla="*/ 28 h 56"/>
                    <a:gd name="T4" fmla="*/ 48 w 48"/>
                    <a:gd name="T5" fmla="*/ 0 h 56"/>
                    <a:gd name="T6" fmla="*/ 48 w 48"/>
                    <a:gd name="T7" fmla="*/ 56 h 56"/>
                  </a:gdLst>
                  <a:ahLst/>
                  <a:cxnLst>
                    <a:cxn ang="0">
                      <a:pos x="T0" y="T1"/>
                    </a:cxn>
                    <a:cxn ang="0">
                      <a:pos x="T2" y="T3"/>
                    </a:cxn>
                    <a:cxn ang="0">
                      <a:pos x="T4" y="T5"/>
                    </a:cxn>
                    <a:cxn ang="0">
                      <a:pos x="T6" y="T7"/>
                    </a:cxn>
                  </a:cxnLst>
                  <a:rect l="0" t="0" r="r" b="b"/>
                  <a:pathLst>
                    <a:path w="48" h="56">
                      <a:moveTo>
                        <a:pt x="48" y="56"/>
                      </a:moveTo>
                      <a:lnTo>
                        <a:pt x="0" y="28"/>
                      </a:lnTo>
                      <a:lnTo>
                        <a:pt x="48" y="0"/>
                      </a:lnTo>
                      <a:lnTo>
                        <a:pt x="48" y="56"/>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303" name="Freeform 113">
                  <a:extLst>
                    <a:ext uri="{FF2B5EF4-FFF2-40B4-BE49-F238E27FC236}">
                      <a16:creationId xmlns:a16="http://schemas.microsoft.com/office/drawing/2014/main" id="{B885BA0D-2E71-3C2A-58E0-E670E19DC9E8}"/>
                    </a:ext>
                  </a:extLst>
                </p:cNvPr>
                <p:cNvSpPr>
                  <a:spLocks/>
                </p:cNvSpPr>
                <p:nvPr/>
              </p:nvSpPr>
              <p:spPr bwMode="auto">
                <a:xfrm>
                  <a:off x="1072" y="1168"/>
                  <a:ext cx="48" cy="56"/>
                </a:xfrm>
                <a:custGeom>
                  <a:avLst/>
                  <a:gdLst>
                    <a:gd name="T0" fmla="*/ 0 w 48"/>
                    <a:gd name="T1" fmla="*/ 56 h 56"/>
                    <a:gd name="T2" fmla="*/ 48 w 48"/>
                    <a:gd name="T3" fmla="*/ 28 h 56"/>
                    <a:gd name="T4" fmla="*/ 0 w 48"/>
                    <a:gd name="T5" fmla="*/ 0 h 56"/>
                    <a:gd name="T6" fmla="*/ 0 w 48"/>
                    <a:gd name="T7" fmla="*/ 56 h 56"/>
                  </a:gdLst>
                  <a:ahLst/>
                  <a:cxnLst>
                    <a:cxn ang="0">
                      <a:pos x="T0" y="T1"/>
                    </a:cxn>
                    <a:cxn ang="0">
                      <a:pos x="T2" y="T3"/>
                    </a:cxn>
                    <a:cxn ang="0">
                      <a:pos x="T4" y="T5"/>
                    </a:cxn>
                    <a:cxn ang="0">
                      <a:pos x="T6" y="T7"/>
                    </a:cxn>
                  </a:cxnLst>
                  <a:rect l="0" t="0" r="r" b="b"/>
                  <a:pathLst>
                    <a:path w="48" h="56">
                      <a:moveTo>
                        <a:pt x="0" y="56"/>
                      </a:moveTo>
                      <a:lnTo>
                        <a:pt x="48" y="28"/>
                      </a:lnTo>
                      <a:lnTo>
                        <a:pt x="0" y="0"/>
                      </a:lnTo>
                      <a:lnTo>
                        <a:pt x="0" y="56"/>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304" name="Rectangle 114">
                  <a:extLst>
                    <a:ext uri="{FF2B5EF4-FFF2-40B4-BE49-F238E27FC236}">
                      <a16:creationId xmlns:a16="http://schemas.microsoft.com/office/drawing/2014/main" id="{03A251AA-BC9C-D005-CEA2-A043A937F4F4}"/>
                    </a:ext>
                  </a:extLst>
                </p:cNvPr>
                <p:cNvSpPr>
                  <a:spLocks/>
                </p:cNvSpPr>
                <p:nvPr/>
              </p:nvSpPr>
              <p:spPr bwMode="auto">
                <a:xfrm>
                  <a:off x="687" y="4440"/>
                  <a:ext cx="3672" cy="16"/>
                </a:xfrm>
                <a:prstGeom prst="rect">
                  <a:avLst/>
                </a:prstGeom>
                <a:solidFill>
                  <a:srgbClr val="231F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305" name="Freeform 115">
                  <a:extLst>
                    <a:ext uri="{FF2B5EF4-FFF2-40B4-BE49-F238E27FC236}">
                      <a16:creationId xmlns:a16="http://schemas.microsoft.com/office/drawing/2014/main" id="{695C1702-8F35-7700-3EBE-839FAFB58774}"/>
                    </a:ext>
                  </a:extLst>
                </p:cNvPr>
                <p:cNvSpPr>
                  <a:spLocks/>
                </p:cNvSpPr>
                <p:nvPr/>
              </p:nvSpPr>
              <p:spPr bwMode="auto">
                <a:xfrm>
                  <a:off x="687" y="4440"/>
                  <a:ext cx="3672" cy="16"/>
                </a:xfrm>
                <a:custGeom>
                  <a:avLst/>
                  <a:gdLst>
                    <a:gd name="T0" fmla="*/ 0 w 3672"/>
                    <a:gd name="T1" fmla="*/ 16 h 16"/>
                    <a:gd name="T2" fmla="*/ 3672 w 3672"/>
                    <a:gd name="T3" fmla="*/ 16 h 16"/>
                    <a:gd name="T4" fmla="*/ 3672 w 3672"/>
                    <a:gd name="T5" fmla="*/ 0 h 16"/>
                    <a:gd name="T6" fmla="*/ 0 w 3672"/>
                    <a:gd name="T7" fmla="*/ 0 h 16"/>
                  </a:gdLst>
                  <a:ahLst/>
                  <a:cxnLst>
                    <a:cxn ang="0">
                      <a:pos x="T0" y="T1"/>
                    </a:cxn>
                    <a:cxn ang="0">
                      <a:pos x="T2" y="T3"/>
                    </a:cxn>
                    <a:cxn ang="0">
                      <a:pos x="T4" y="T5"/>
                    </a:cxn>
                    <a:cxn ang="0">
                      <a:pos x="T6" y="T7"/>
                    </a:cxn>
                  </a:cxnLst>
                  <a:rect l="0" t="0" r="r" b="b"/>
                  <a:pathLst>
                    <a:path w="3672" h="16">
                      <a:moveTo>
                        <a:pt x="0" y="16"/>
                      </a:moveTo>
                      <a:lnTo>
                        <a:pt x="3672" y="16"/>
                      </a:lnTo>
                      <a:lnTo>
                        <a:pt x="367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306" name="Freeform 116">
                  <a:extLst>
                    <a:ext uri="{FF2B5EF4-FFF2-40B4-BE49-F238E27FC236}">
                      <a16:creationId xmlns:a16="http://schemas.microsoft.com/office/drawing/2014/main" id="{8852D65A-CC85-3017-31BB-D1A7E1C5F3CE}"/>
                    </a:ext>
                  </a:extLst>
                </p:cNvPr>
                <p:cNvSpPr>
                  <a:spLocks/>
                </p:cNvSpPr>
                <p:nvPr/>
              </p:nvSpPr>
              <p:spPr bwMode="auto">
                <a:xfrm>
                  <a:off x="617" y="4400"/>
                  <a:ext cx="84" cy="96"/>
                </a:xfrm>
                <a:custGeom>
                  <a:avLst/>
                  <a:gdLst>
                    <a:gd name="T0" fmla="*/ 84 w 84"/>
                    <a:gd name="T1" fmla="*/ 96 h 96"/>
                    <a:gd name="T2" fmla="*/ 0 w 84"/>
                    <a:gd name="T3" fmla="*/ 48 h 96"/>
                    <a:gd name="T4" fmla="*/ 84 w 84"/>
                    <a:gd name="T5" fmla="*/ 0 h 96"/>
                    <a:gd name="T6" fmla="*/ 84 w 84"/>
                    <a:gd name="T7" fmla="*/ 96 h 96"/>
                  </a:gdLst>
                  <a:ahLst/>
                  <a:cxnLst>
                    <a:cxn ang="0">
                      <a:pos x="T0" y="T1"/>
                    </a:cxn>
                    <a:cxn ang="0">
                      <a:pos x="T2" y="T3"/>
                    </a:cxn>
                    <a:cxn ang="0">
                      <a:pos x="T4" y="T5"/>
                    </a:cxn>
                    <a:cxn ang="0">
                      <a:pos x="T6" y="T7"/>
                    </a:cxn>
                  </a:cxnLst>
                  <a:rect l="0" t="0" r="r" b="b"/>
                  <a:pathLst>
                    <a:path w="84" h="96">
                      <a:moveTo>
                        <a:pt x="84" y="96"/>
                      </a:moveTo>
                      <a:lnTo>
                        <a:pt x="0" y="48"/>
                      </a:lnTo>
                      <a:lnTo>
                        <a:pt x="84" y="0"/>
                      </a:lnTo>
                      <a:lnTo>
                        <a:pt x="84" y="96"/>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307" name="Freeform 117">
                  <a:extLst>
                    <a:ext uri="{FF2B5EF4-FFF2-40B4-BE49-F238E27FC236}">
                      <a16:creationId xmlns:a16="http://schemas.microsoft.com/office/drawing/2014/main" id="{8C0BA68E-A39E-C321-EC7B-A7E8B00CFA71}"/>
                    </a:ext>
                  </a:extLst>
                </p:cNvPr>
                <p:cNvSpPr>
                  <a:spLocks/>
                </p:cNvSpPr>
                <p:nvPr/>
              </p:nvSpPr>
              <p:spPr bwMode="auto">
                <a:xfrm>
                  <a:off x="4345" y="4400"/>
                  <a:ext cx="84" cy="96"/>
                </a:xfrm>
                <a:custGeom>
                  <a:avLst/>
                  <a:gdLst>
                    <a:gd name="T0" fmla="*/ 0 w 84"/>
                    <a:gd name="T1" fmla="*/ 96 h 96"/>
                    <a:gd name="T2" fmla="*/ 84 w 84"/>
                    <a:gd name="T3" fmla="*/ 48 h 96"/>
                    <a:gd name="T4" fmla="*/ 0 w 84"/>
                    <a:gd name="T5" fmla="*/ 0 h 96"/>
                    <a:gd name="T6" fmla="*/ 0 w 84"/>
                    <a:gd name="T7" fmla="*/ 96 h 96"/>
                  </a:gdLst>
                  <a:ahLst/>
                  <a:cxnLst>
                    <a:cxn ang="0">
                      <a:pos x="T0" y="T1"/>
                    </a:cxn>
                    <a:cxn ang="0">
                      <a:pos x="T2" y="T3"/>
                    </a:cxn>
                    <a:cxn ang="0">
                      <a:pos x="T4" y="T5"/>
                    </a:cxn>
                    <a:cxn ang="0">
                      <a:pos x="T6" y="T7"/>
                    </a:cxn>
                  </a:cxnLst>
                  <a:rect l="0" t="0" r="r" b="b"/>
                  <a:pathLst>
                    <a:path w="84" h="96">
                      <a:moveTo>
                        <a:pt x="0" y="96"/>
                      </a:moveTo>
                      <a:lnTo>
                        <a:pt x="84" y="48"/>
                      </a:lnTo>
                      <a:lnTo>
                        <a:pt x="0" y="0"/>
                      </a:lnTo>
                      <a:lnTo>
                        <a:pt x="0" y="96"/>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308" name="Rectangle 118">
                  <a:extLst>
                    <a:ext uri="{FF2B5EF4-FFF2-40B4-BE49-F238E27FC236}">
                      <a16:creationId xmlns:a16="http://schemas.microsoft.com/office/drawing/2014/main" id="{C7EB8AA8-0947-FD60-D3B2-B871C0A7AA0F}"/>
                    </a:ext>
                  </a:extLst>
                </p:cNvPr>
                <p:cNvSpPr>
                  <a:spLocks/>
                </p:cNvSpPr>
                <p:nvPr/>
              </p:nvSpPr>
              <p:spPr bwMode="auto">
                <a:xfrm>
                  <a:off x="519" y="1330"/>
                  <a:ext cx="8" cy="421"/>
                </a:xfrm>
                <a:prstGeom prst="rect">
                  <a:avLst/>
                </a:prstGeom>
                <a:solidFill>
                  <a:srgbClr val="231F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309" name="Freeform 119">
                  <a:extLst>
                    <a:ext uri="{FF2B5EF4-FFF2-40B4-BE49-F238E27FC236}">
                      <a16:creationId xmlns:a16="http://schemas.microsoft.com/office/drawing/2014/main" id="{22CC6EF3-1B13-5FDA-40A3-77FCC4D310B6}"/>
                    </a:ext>
                  </a:extLst>
                </p:cNvPr>
                <p:cNvSpPr>
                  <a:spLocks/>
                </p:cNvSpPr>
                <p:nvPr/>
              </p:nvSpPr>
              <p:spPr bwMode="auto">
                <a:xfrm>
                  <a:off x="519" y="1330"/>
                  <a:ext cx="8" cy="421"/>
                </a:xfrm>
                <a:custGeom>
                  <a:avLst/>
                  <a:gdLst>
                    <a:gd name="T0" fmla="*/ 8 w 8"/>
                    <a:gd name="T1" fmla="*/ 421 h 421"/>
                    <a:gd name="T2" fmla="*/ 8 w 8"/>
                    <a:gd name="T3" fmla="*/ 0 h 421"/>
                    <a:gd name="T4" fmla="*/ 0 w 8"/>
                    <a:gd name="T5" fmla="*/ 0 h 421"/>
                    <a:gd name="T6" fmla="*/ 0 w 8"/>
                    <a:gd name="T7" fmla="*/ 421 h 421"/>
                  </a:gdLst>
                  <a:ahLst/>
                  <a:cxnLst>
                    <a:cxn ang="0">
                      <a:pos x="T0" y="T1"/>
                    </a:cxn>
                    <a:cxn ang="0">
                      <a:pos x="T2" y="T3"/>
                    </a:cxn>
                    <a:cxn ang="0">
                      <a:pos x="T4" y="T5"/>
                    </a:cxn>
                    <a:cxn ang="0">
                      <a:pos x="T6" y="T7"/>
                    </a:cxn>
                  </a:cxnLst>
                  <a:rect l="0" t="0" r="r" b="b"/>
                  <a:pathLst>
                    <a:path w="8" h="421">
                      <a:moveTo>
                        <a:pt x="8" y="421"/>
                      </a:moveTo>
                      <a:lnTo>
                        <a:pt x="8" y="0"/>
                      </a:lnTo>
                      <a:lnTo>
                        <a:pt x="0" y="0"/>
                      </a:lnTo>
                      <a:lnTo>
                        <a:pt x="0" y="42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310" name="Freeform 120">
                  <a:extLst>
                    <a:ext uri="{FF2B5EF4-FFF2-40B4-BE49-F238E27FC236}">
                      <a16:creationId xmlns:a16="http://schemas.microsoft.com/office/drawing/2014/main" id="{F987573C-EB91-9BDC-D9E6-AAB10AE5CD2D}"/>
                    </a:ext>
                  </a:extLst>
                </p:cNvPr>
                <p:cNvSpPr>
                  <a:spLocks/>
                </p:cNvSpPr>
                <p:nvPr/>
              </p:nvSpPr>
              <p:spPr bwMode="auto">
                <a:xfrm>
                  <a:off x="495" y="1743"/>
                  <a:ext cx="56" cy="48"/>
                </a:xfrm>
                <a:custGeom>
                  <a:avLst/>
                  <a:gdLst>
                    <a:gd name="T0" fmla="*/ 56 w 56"/>
                    <a:gd name="T1" fmla="*/ 0 h 48"/>
                    <a:gd name="T2" fmla="*/ 28 w 56"/>
                    <a:gd name="T3" fmla="*/ 48 h 48"/>
                    <a:gd name="T4" fmla="*/ 0 w 56"/>
                    <a:gd name="T5" fmla="*/ 0 h 48"/>
                    <a:gd name="T6" fmla="*/ 56 w 56"/>
                    <a:gd name="T7" fmla="*/ 0 h 48"/>
                  </a:gdLst>
                  <a:ahLst/>
                  <a:cxnLst>
                    <a:cxn ang="0">
                      <a:pos x="T0" y="T1"/>
                    </a:cxn>
                    <a:cxn ang="0">
                      <a:pos x="T2" y="T3"/>
                    </a:cxn>
                    <a:cxn ang="0">
                      <a:pos x="T4" y="T5"/>
                    </a:cxn>
                    <a:cxn ang="0">
                      <a:pos x="T6" y="T7"/>
                    </a:cxn>
                  </a:cxnLst>
                  <a:rect l="0" t="0" r="r" b="b"/>
                  <a:pathLst>
                    <a:path w="56" h="48">
                      <a:moveTo>
                        <a:pt x="56" y="0"/>
                      </a:moveTo>
                      <a:lnTo>
                        <a:pt x="28" y="48"/>
                      </a:lnTo>
                      <a:lnTo>
                        <a:pt x="0" y="0"/>
                      </a:lnTo>
                      <a:lnTo>
                        <a:pt x="56"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311" name="Freeform 121">
                  <a:extLst>
                    <a:ext uri="{FF2B5EF4-FFF2-40B4-BE49-F238E27FC236}">
                      <a16:creationId xmlns:a16="http://schemas.microsoft.com/office/drawing/2014/main" id="{000E8075-430A-C808-574F-90103EFD115E}"/>
                    </a:ext>
                  </a:extLst>
                </p:cNvPr>
                <p:cNvSpPr>
                  <a:spLocks/>
                </p:cNvSpPr>
                <p:nvPr/>
              </p:nvSpPr>
              <p:spPr bwMode="auto">
                <a:xfrm>
                  <a:off x="495" y="1288"/>
                  <a:ext cx="56" cy="50"/>
                </a:xfrm>
                <a:custGeom>
                  <a:avLst/>
                  <a:gdLst>
                    <a:gd name="T0" fmla="*/ 56 w 56"/>
                    <a:gd name="T1" fmla="*/ 50 h 50"/>
                    <a:gd name="T2" fmla="*/ 28 w 56"/>
                    <a:gd name="T3" fmla="*/ 0 h 50"/>
                    <a:gd name="T4" fmla="*/ 0 w 56"/>
                    <a:gd name="T5" fmla="*/ 50 h 50"/>
                    <a:gd name="T6" fmla="*/ 56 w 56"/>
                    <a:gd name="T7" fmla="*/ 50 h 50"/>
                  </a:gdLst>
                  <a:ahLst/>
                  <a:cxnLst>
                    <a:cxn ang="0">
                      <a:pos x="T0" y="T1"/>
                    </a:cxn>
                    <a:cxn ang="0">
                      <a:pos x="T2" y="T3"/>
                    </a:cxn>
                    <a:cxn ang="0">
                      <a:pos x="T4" y="T5"/>
                    </a:cxn>
                    <a:cxn ang="0">
                      <a:pos x="T6" y="T7"/>
                    </a:cxn>
                  </a:cxnLst>
                  <a:rect l="0" t="0" r="r" b="b"/>
                  <a:pathLst>
                    <a:path w="56" h="50">
                      <a:moveTo>
                        <a:pt x="56" y="50"/>
                      </a:moveTo>
                      <a:lnTo>
                        <a:pt x="28" y="0"/>
                      </a:lnTo>
                      <a:lnTo>
                        <a:pt x="0" y="50"/>
                      </a:lnTo>
                      <a:lnTo>
                        <a:pt x="56" y="5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312" name="Rectangle 122">
                  <a:extLst>
                    <a:ext uri="{FF2B5EF4-FFF2-40B4-BE49-F238E27FC236}">
                      <a16:creationId xmlns:a16="http://schemas.microsoft.com/office/drawing/2014/main" id="{14B315D0-3918-793B-C0F7-C39A5E00A436}"/>
                    </a:ext>
                  </a:extLst>
                </p:cNvPr>
                <p:cNvSpPr>
                  <a:spLocks/>
                </p:cNvSpPr>
                <p:nvPr/>
              </p:nvSpPr>
              <p:spPr bwMode="auto">
                <a:xfrm>
                  <a:off x="3462" y="3893"/>
                  <a:ext cx="8" cy="422"/>
                </a:xfrm>
                <a:prstGeom prst="rect">
                  <a:avLst/>
                </a:prstGeom>
                <a:solidFill>
                  <a:srgbClr val="231F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313" name="Freeform 123">
                  <a:extLst>
                    <a:ext uri="{FF2B5EF4-FFF2-40B4-BE49-F238E27FC236}">
                      <a16:creationId xmlns:a16="http://schemas.microsoft.com/office/drawing/2014/main" id="{0219FFEF-EEFC-A386-26C6-58CA38D087B0}"/>
                    </a:ext>
                  </a:extLst>
                </p:cNvPr>
                <p:cNvSpPr>
                  <a:spLocks/>
                </p:cNvSpPr>
                <p:nvPr/>
              </p:nvSpPr>
              <p:spPr bwMode="auto">
                <a:xfrm>
                  <a:off x="3462" y="3893"/>
                  <a:ext cx="8" cy="422"/>
                </a:xfrm>
                <a:custGeom>
                  <a:avLst/>
                  <a:gdLst>
                    <a:gd name="T0" fmla="*/ 8 w 8"/>
                    <a:gd name="T1" fmla="*/ 422 h 422"/>
                    <a:gd name="T2" fmla="*/ 8 w 8"/>
                    <a:gd name="T3" fmla="*/ 0 h 422"/>
                    <a:gd name="T4" fmla="*/ 0 w 8"/>
                    <a:gd name="T5" fmla="*/ 0 h 422"/>
                    <a:gd name="T6" fmla="*/ 0 w 8"/>
                    <a:gd name="T7" fmla="*/ 422 h 422"/>
                  </a:gdLst>
                  <a:ahLst/>
                  <a:cxnLst>
                    <a:cxn ang="0">
                      <a:pos x="T0" y="T1"/>
                    </a:cxn>
                    <a:cxn ang="0">
                      <a:pos x="T2" y="T3"/>
                    </a:cxn>
                    <a:cxn ang="0">
                      <a:pos x="T4" y="T5"/>
                    </a:cxn>
                    <a:cxn ang="0">
                      <a:pos x="T6" y="T7"/>
                    </a:cxn>
                  </a:cxnLst>
                  <a:rect l="0" t="0" r="r" b="b"/>
                  <a:pathLst>
                    <a:path w="8" h="422">
                      <a:moveTo>
                        <a:pt x="8" y="422"/>
                      </a:moveTo>
                      <a:lnTo>
                        <a:pt x="8" y="0"/>
                      </a:lnTo>
                      <a:lnTo>
                        <a:pt x="0" y="0"/>
                      </a:lnTo>
                      <a:lnTo>
                        <a:pt x="0" y="4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314" name="Freeform 124">
                  <a:extLst>
                    <a:ext uri="{FF2B5EF4-FFF2-40B4-BE49-F238E27FC236}">
                      <a16:creationId xmlns:a16="http://schemas.microsoft.com/office/drawing/2014/main" id="{8E09ABD5-1E5D-C188-F145-CCFBF8E213C7}"/>
                    </a:ext>
                  </a:extLst>
                </p:cNvPr>
                <p:cNvSpPr>
                  <a:spLocks/>
                </p:cNvSpPr>
                <p:nvPr/>
              </p:nvSpPr>
              <p:spPr bwMode="auto">
                <a:xfrm>
                  <a:off x="3438" y="4307"/>
                  <a:ext cx="56" cy="48"/>
                </a:xfrm>
                <a:custGeom>
                  <a:avLst/>
                  <a:gdLst>
                    <a:gd name="T0" fmla="*/ 56 w 56"/>
                    <a:gd name="T1" fmla="*/ 0 h 48"/>
                    <a:gd name="T2" fmla="*/ 28 w 56"/>
                    <a:gd name="T3" fmla="*/ 48 h 48"/>
                    <a:gd name="T4" fmla="*/ 0 w 56"/>
                    <a:gd name="T5" fmla="*/ 0 h 48"/>
                    <a:gd name="T6" fmla="*/ 56 w 56"/>
                    <a:gd name="T7" fmla="*/ 0 h 48"/>
                  </a:gdLst>
                  <a:ahLst/>
                  <a:cxnLst>
                    <a:cxn ang="0">
                      <a:pos x="T0" y="T1"/>
                    </a:cxn>
                    <a:cxn ang="0">
                      <a:pos x="T2" y="T3"/>
                    </a:cxn>
                    <a:cxn ang="0">
                      <a:pos x="T4" y="T5"/>
                    </a:cxn>
                    <a:cxn ang="0">
                      <a:pos x="T6" y="T7"/>
                    </a:cxn>
                  </a:cxnLst>
                  <a:rect l="0" t="0" r="r" b="b"/>
                  <a:pathLst>
                    <a:path w="56" h="48">
                      <a:moveTo>
                        <a:pt x="56" y="0"/>
                      </a:moveTo>
                      <a:lnTo>
                        <a:pt x="28" y="48"/>
                      </a:lnTo>
                      <a:lnTo>
                        <a:pt x="0" y="0"/>
                      </a:lnTo>
                      <a:lnTo>
                        <a:pt x="56"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315" name="Freeform 125">
                  <a:extLst>
                    <a:ext uri="{FF2B5EF4-FFF2-40B4-BE49-F238E27FC236}">
                      <a16:creationId xmlns:a16="http://schemas.microsoft.com/office/drawing/2014/main" id="{81422D35-B369-ADB9-76C1-61271FD7A292}"/>
                    </a:ext>
                  </a:extLst>
                </p:cNvPr>
                <p:cNvSpPr>
                  <a:spLocks/>
                </p:cNvSpPr>
                <p:nvPr/>
              </p:nvSpPr>
              <p:spPr bwMode="auto">
                <a:xfrm>
                  <a:off x="3438" y="3853"/>
                  <a:ext cx="56" cy="48"/>
                </a:xfrm>
                <a:custGeom>
                  <a:avLst/>
                  <a:gdLst>
                    <a:gd name="T0" fmla="*/ 56 w 56"/>
                    <a:gd name="T1" fmla="*/ 48 h 48"/>
                    <a:gd name="T2" fmla="*/ 28 w 56"/>
                    <a:gd name="T3" fmla="*/ 0 h 48"/>
                    <a:gd name="T4" fmla="*/ 0 w 56"/>
                    <a:gd name="T5" fmla="*/ 48 h 48"/>
                    <a:gd name="T6" fmla="*/ 56 w 56"/>
                    <a:gd name="T7" fmla="*/ 48 h 48"/>
                  </a:gdLst>
                  <a:ahLst/>
                  <a:cxnLst>
                    <a:cxn ang="0">
                      <a:pos x="T0" y="T1"/>
                    </a:cxn>
                    <a:cxn ang="0">
                      <a:pos x="T2" y="T3"/>
                    </a:cxn>
                    <a:cxn ang="0">
                      <a:pos x="T4" y="T5"/>
                    </a:cxn>
                    <a:cxn ang="0">
                      <a:pos x="T6" y="T7"/>
                    </a:cxn>
                  </a:cxnLst>
                  <a:rect l="0" t="0" r="r" b="b"/>
                  <a:pathLst>
                    <a:path w="56" h="48">
                      <a:moveTo>
                        <a:pt x="56" y="48"/>
                      </a:moveTo>
                      <a:lnTo>
                        <a:pt x="28" y="0"/>
                      </a:lnTo>
                      <a:lnTo>
                        <a:pt x="0" y="48"/>
                      </a:lnTo>
                      <a:lnTo>
                        <a:pt x="56" y="48"/>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316" name="Rectangle 126">
                  <a:extLst>
                    <a:ext uri="{FF2B5EF4-FFF2-40B4-BE49-F238E27FC236}">
                      <a16:creationId xmlns:a16="http://schemas.microsoft.com/office/drawing/2014/main" id="{F9021D46-94AD-AD78-25E2-60D6B48B59A2}"/>
                    </a:ext>
                  </a:extLst>
                </p:cNvPr>
                <p:cNvSpPr>
                  <a:spLocks/>
                </p:cNvSpPr>
                <p:nvPr/>
              </p:nvSpPr>
              <p:spPr bwMode="auto">
                <a:xfrm>
                  <a:off x="4425" y="1290"/>
                  <a:ext cx="8" cy="3065"/>
                </a:xfrm>
                <a:prstGeom prst="rect">
                  <a:avLst/>
                </a:prstGeom>
                <a:solidFill>
                  <a:srgbClr val="231F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317" name="Rectangle 127">
                  <a:extLst>
                    <a:ext uri="{FF2B5EF4-FFF2-40B4-BE49-F238E27FC236}">
                      <a16:creationId xmlns:a16="http://schemas.microsoft.com/office/drawing/2014/main" id="{EB698063-39C5-D076-36E5-60DBE1F20060}"/>
                    </a:ext>
                  </a:extLst>
                </p:cNvPr>
                <p:cNvSpPr>
                  <a:spLocks/>
                </p:cNvSpPr>
                <p:nvPr/>
              </p:nvSpPr>
              <p:spPr bwMode="auto">
                <a:xfrm>
                  <a:off x="4425" y="1290"/>
                  <a:ext cx="8" cy="30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318" name="Freeform 128">
                  <a:extLst>
                    <a:ext uri="{FF2B5EF4-FFF2-40B4-BE49-F238E27FC236}">
                      <a16:creationId xmlns:a16="http://schemas.microsoft.com/office/drawing/2014/main" id="{CBE5EB6A-8E88-B91F-07BF-B323ED9A5263}"/>
                    </a:ext>
                  </a:extLst>
                </p:cNvPr>
                <p:cNvSpPr>
                  <a:spLocks/>
                </p:cNvSpPr>
                <p:nvPr/>
              </p:nvSpPr>
              <p:spPr bwMode="auto">
                <a:xfrm>
                  <a:off x="6019" y="1375"/>
                  <a:ext cx="12" cy="2980"/>
                </a:xfrm>
                <a:custGeom>
                  <a:avLst/>
                  <a:gdLst>
                    <a:gd name="T0" fmla="*/ 12 w 12"/>
                    <a:gd name="T1" fmla="*/ 0 h 2980"/>
                    <a:gd name="T2" fmla="*/ 0 w 12"/>
                    <a:gd name="T3" fmla="*/ 96 h 2980"/>
                    <a:gd name="T4" fmla="*/ 12 w 12"/>
                    <a:gd name="T5" fmla="*/ 288 h 2980"/>
                    <a:gd name="T6" fmla="*/ 0 w 12"/>
                    <a:gd name="T7" fmla="*/ 192 h 2980"/>
                    <a:gd name="T8" fmla="*/ 12 w 12"/>
                    <a:gd name="T9" fmla="*/ 288 h 2980"/>
                    <a:gd name="T10" fmla="*/ 12 w 12"/>
                    <a:gd name="T11" fmla="*/ 384 h 2980"/>
                    <a:gd name="T12" fmla="*/ 0 w 12"/>
                    <a:gd name="T13" fmla="*/ 480 h 2980"/>
                    <a:gd name="T14" fmla="*/ 12 w 12"/>
                    <a:gd name="T15" fmla="*/ 673 h 2980"/>
                    <a:gd name="T16" fmla="*/ 0 w 12"/>
                    <a:gd name="T17" fmla="*/ 576 h 2980"/>
                    <a:gd name="T18" fmla="*/ 12 w 12"/>
                    <a:gd name="T19" fmla="*/ 673 h 2980"/>
                    <a:gd name="T20" fmla="*/ 12 w 12"/>
                    <a:gd name="T21" fmla="*/ 769 h 2980"/>
                    <a:gd name="T22" fmla="*/ 0 w 12"/>
                    <a:gd name="T23" fmla="*/ 865 h 2980"/>
                    <a:gd name="T24" fmla="*/ 12 w 12"/>
                    <a:gd name="T25" fmla="*/ 1057 h 2980"/>
                    <a:gd name="T26" fmla="*/ 0 w 12"/>
                    <a:gd name="T27" fmla="*/ 961 h 2980"/>
                    <a:gd name="T28" fmla="*/ 12 w 12"/>
                    <a:gd name="T29" fmla="*/ 1057 h 2980"/>
                    <a:gd name="T30" fmla="*/ 12 w 12"/>
                    <a:gd name="T31" fmla="*/ 1153 h 2980"/>
                    <a:gd name="T32" fmla="*/ 0 w 12"/>
                    <a:gd name="T33" fmla="*/ 1250 h 2980"/>
                    <a:gd name="T34" fmla="*/ 12 w 12"/>
                    <a:gd name="T35" fmla="*/ 1442 h 2980"/>
                    <a:gd name="T36" fmla="*/ 0 w 12"/>
                    <a:gd name="T37" fmla="*/ 1346 h 2980"/>
                    <a:gd name="T38" fmla="*/ 12 w 12"/>
                    <a:gd name="T39" fmla="*/ 1442 h 2980"/>
                    <a:gd name="T40" fmla="*/ 12 w 12"/>
                    <a:gd name="T41" fmla="*/ 1538 h 2980"/>
                    <a:gd name="T42" fmla="*/ 0 w 12"/>
                    <a:gd name="T43" fmla="*/ 1634 h 2980"/>
                    <a:gd name="T44" fmla="*/ 12 w 12"/>
                    <a:gd name="T45" fmla="*/ 1827 h 2980"/>
                    <a:gd name="T46" fmla="*/ 0 w 12"/>
                    <a:gd name="T47" fmla="*/ 1730 h 2980"/>
                    <a:gd name="T48" fmla="*/ 12 w 12"/>
                    <a:gd name="T49" fmla="*/ 1827 h 2980"/>
                    <a:gd name="T50" fmla="*/ 12 w 12"/>
                    <a:gd name="T51" fmla="*/ 1923 h 2980"/>
                    <a:gd name="T52" fmla="*/ 0 w 12"/>
                    <a:gd name="T53" fmla="*/ 2019 h 2980"/>
                    <a:gd name="T54" fmla="*/ 12 w 12"/>
                    <a:gd name="T55" fmla="*/ 2211 h 2980"/>
                    <a:gd name="T56" fmla="*/ 0 w 12"/>
                    <a:gd name="T57" fmla="*/ 2115 h 2980"/>
                    <a:gd name="T58" fmla="*/ 12 w 12"/>
                    <a:gd name="T59" fmla="*/ 2211 h 2980"/>
                    <a:gd name="T60" fmla="*/ 12 w 12"/>
                    <a:gd name="T61" fmla="*/ 2307 h 2980"/>
                    <a:gd name="T62" fmla="*/ 0 w 12"/>
                    <a:gd name="T63" fmla="*/ 2403 h 2980"/>
                    <a:gd name="T64" fmla="*/ 12 w 12"/>
                    <a:gd name="T65" fmla="*/ 2596 h 2980"/>
                    <a:gd name="T66" fmla="*/ 0 w 12"/>
                    <a:gd name="T67" fmla="*/ 2500 h 2980"/>
                    <a:gd name="T68" fmla="*/ 12 w 12"/>
                    <a:gd name="T69" fmla="*/ 2596 h 2980"/>
                    <a:gd name="T70" fmla="*/ 12 w 12"/>
                    <a:gd name="T71" fmla="*/ 2692 h 2980"/>
                    <a:gd name="T72" fmla="*/ 0 w 12"/>
                    <a:gd name="T73" fmla="*/ 2788 h 2980"/>
                    <a:gd name="T74" fmla="*/ 12 w 12"/>
                    <a:gd name="T75" fmla="*/ 2980 h 2980"/>
                    <a:gd name="T76" fmla="*/ 0 w 12"/>
                    <a:gd name="T77" fmla="*/ 2884 h 2980"/>
                    <a:gd name="T78" fmla="*/ 12 w 12"/>
                    <a:gd name="T79" fmla="*/ 2980 h 29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 h="2980">
                      <a:moveTo>
                        <a:pt x="12" y="96"/>
                      </a:moveTo>
                      <a:lnTo>
                        <a:pt x="12" y="0"/>
                      </a:lnTo>
                      <a:lnTo>
                        <a:pt x="0" y="0"/>
                      </a:lnTo>
                      <a:lnTo>
                        <a:pt x="0" y="96"/>
                      </a:lnTo>
                      <a:lnTo>
                        <a:pt x="12" y="96"/>
                      </a:lnTo>
                      <a:close/>
                      <a:moveTo>
                        <a:pt x="12" y="288"/>
                      </a:moveTo>
                      <a:lnTo>
                        <a:pt x="12" y="192"/>
                      </a:lnTo>
                      <a:lnTo>
                        <a:pt x="0" y="192"/>
                      </a:lnTo>
                      <a:lnTo>
                        <a:pt x="0" y="288"/>
                      </a:lnTo>
                      <a:lnTo>
                        <a:pt x="12" y="288"/>
                      </a:lnTo>
                      <a:close/>
                      <a:moveTo>
                        <a:pt x="12" y="480"/>
                      </a:moveTo>
                      <a:lnTo>
                        <a:pt x="12" y="384"/>
                      </a:lnTo>
                      <a:lnTo>
                        <a:pt x="0" y="384"/>
                      </a:lnTo>
                      <a:lnTo>
                        <a:pt x="0" y="480"/>
                      </a:lnTo>
                      <a:lnTo>
                        <a:pt x="12" y="480"/>
                      </a:lnTo>
                      <a:close/>
                      <a:moveTo>
                        <a:pt x="12" y="673"/>
                      </a:moveTo>
                      <a:lnTo>
                        <a:pt x="12" y="576"/>
                      </a:lnTo>
                      <a:lnTo>
                        <a:pt x="0" y="576"/>
                      </a:lnTo>
                      <a:lnTo>
                        <a:pt x="0" y="673"/>
                      </a:lnTo>
                      <a:lnTo>
                        <a:pt x="12" y="673"/>
                      </a:lnTo>
                      <a:close/>
                      <a:moveTo>
                        <a:pt x="12" y="865"/>
                      </a:moveTo>
                      <a:lnTo>
                        <a:pt x="12" y="769"/>
                      </a:lnTo>
                      <a:lnTo>
                        <a:pt x="0" y="769"/>
                      </a:lnTo>
                      <a:lnTo>
                        <a:pt x="0" y="865"/>
                      </a:lnTo>
                      <a:lnTo>
                        <a:pt x="12" y="865"/>
                      </a:lnTo>
                      <a:close/>
                      <a:moveTo>
                        <a:pt x="12" y="1057"/>
                      </a:moveTo>
                      <a:lnTo>
                        <a:pt x="12" y="961"/>
                      </a:lnTo>
                      <a:lnTo>
                        <a:pt x="0" y="961"/>
                      </a:lnTo>
                      <a:lnTo>
                        <a:pt x="0" y="1057"/>
                      </a:lnTo>
                      <a:lnTo>
                        <a:pt x="12" y="1057"/>
                      </a:lnTo>
                      <a:close/>
                      <a:moveTo>
                        <a:pt x="12" y="1250"/>
                      </a:moveTo>
                      <a:lnTo>
                        <a:pt x="12" y="1153"/>
                      </a:lnTo>
                      <a:lnTo>
                        <a:pt x="0" y="1153"/>
                      </a:lnTo>
                      <a:lnTo>
                        <a:pt x="0" y="1250"/>
                      </a:lnTo>
                      <a:lnTo>
                        <a:pt x="12" y="1250"/>
                      </a:lnTo>
                      <a:close/>
                      <a:moveTo>
                        <a:pt x="12" y="1442"/>
                      </a:moveTo>
                      <a:lnTo>
                        <a:pt x="12" y="1346"/>
                      </a:lnTo>
                      <a:lnTo>
                        <a:pt x="0" y="1346"/>
                      </a:lnTo>
                      <a:lnTo>
                        <a:pt x="0" y="1442"/>
                      </a:lnTo>
                      <a:lnTo>
                        <a:pt x="12" y="1442"/>
                      </a:lnTo>
                      <a:close/>
                      <a:moveTo>
                        <a:pt x="12" y="1634"/>
                      </a:moveTo>
                      <a:lnTo>
                        <a:pt x="12" y="1538"/>
                      </a:lnTo>
                      <a:lnTo>
                        <a:pt x="0" y="1538"/>
                      </a:lnTo>
                      <a:lnTo>
                        <a:pt x="0" y="1634"/>
                      </a:lnTo>
                      <a:lnTo>
                        <a:pt x="12" y="1634"/>
                      </a:lnTo>
                      <a:close/>
                      <a:moveTo>
                        <a:pt x="12" y="1827"/>
                      </a:moveTo>
                      <a:lnTo>
                        <a:pt x="12" y="1730"/>
                      </a:lnTo>
                      <a:lnTo>
                        <a:pt x="0" y="1730"/>
                      </a:lnTo>
                      <a:lnTo>
                        <a:pt x="0" y="1827"/>
                      </a:lnTo>
                      <a:lnTo>
                        <a:pt x="12" y="1827"/>
                      </a:lnTo>
                      <a:close/>
                      <a:moveTo>
                        <a:pt x="12" y="2019"/>
                      </a:moveTo>
                      <a:lnTo>
                        <a:pt x="12" y="1923"/>
                      </a:lnTo>
                      <a:lnTo>
                        <a:pt x="0" y="1923"/>
                      </a:lnTo>
                      <a:lnTo>
                        <a:pt x="0" y="2019"/>
                      </a:lnTo>
                      <a:lnTo>
                        <a:pt x="12" y="2019"/>
                      </a:lnTo>
                      <a:close/>
                      <a:moveTo>
                        <a:pt x="12" y="2211"/>
                      </a:moveTo>
                      <a:lnTo>
                        <a:pt x="12" y="2115"/>
                      </a:lnTo>
                      <a:lnTo>
                        <a:pt x="0" y="2115"/>
                      </a:lnTo>
                      <a:lnTo>
                        <a:pt x="0" y="2211"/>
                      </a:lnTo>
                      <a:lnTo>
                        <a:pt x="12" y="2211"/>
                      </a:lnTo>
                      <a:close/>
                      <a:moveTo>
                        <a:pt x="12" y="2403"/>
                      </a:moveTo>
                      <a:lnTo>
                        <a:pt x="12" y="2307"/>
                      </a:lnTo>
                      <a:lnTo>
                        <a:pt x="0" y="2307"/>
                      </a:lnTo>
                      <a:lnTo>
                        <a:pt x="0" y="2403"/>
                      </a:lnTo>
                      <a:lnTo>
                        <a:pt x="12" y="2403"/>
                      </a:lnTo>
                      <a:close/>
                      <a:moveTo>
                        <a:pt x="12" y="2596"/>
                      </a:moveTo>
                      <a:lnTo>
                        <a:pt x="12" y="2500"/>
                      </a:lnTo>
                      <a:lnTo>
                        <a:pt x="0" y="2500"/>
                      </a:lnTo>
                      <a:lnTo>
                        <a:pt x="0" y="2596"/>
                      </a:lnTo>
                      <a:lnTo>
                        <a:pt x="12" y="2596"/>
                      </a:lnTo>
                      <a:close/>
                      <a:moveTo>
                        <a:pt x="12" y="2788"/>
                      </a:moveTo>
                      <a:lnTo>
                        <a:pt x="12" y="2692"/>
                      </a:lnTo>
                      <a:lnTo>
                        <a:pt x="0" y="2692"/>
                      </a:lnTo>
                      <a:lnTo>
                        <a:pt x="0" y="2788"/>
                      </a:lnTo>
                      <a:lnTo>
                        <a:pt x="12" y="2788"/>
                      </a:lnTo>
                      <a:close/>
                      <a:moveTo>
                        <a:pt x="12" y="2980"/>
                      </a:moveTo>
                      <a:lnTo>
                        <a:pt x="12" y="2884"/>
                      </a:lnTo>
                      <a:lnTo>
                        <a:pt x="0" y="2884"/>
                      </a:lnTo>
                      <a:lnTo>
                        <a:pt x="0" y="2980"/>
                      </a:lnTo>
                      <a:lnTo>
                        <a:pt x="12" y="298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319" name="Rectangle 129">
                  <a:extLst>
                    <a:ext uri="{FF2B5EF4-FFF2-40B4-BE49-F238E27FC236}">
                      <a16:creationId xmlns:a16="http://schemas.microsoft.com/office/drawing/2014/main" id="{9DA4E5AE-C551-E6C9-F769-12B863C936B1}"/>
                    </a:ext>
                  </a:extLst>
                </p:cNvPr>
                <p:cNvSpPr>
                  <a:spLocks/>
                </p:cNvSpPr>
                <p:nvPr/>
              </p:nvSpPr>
              <p:spPr bwMode="auto">
                <a:xfrm>
                  <a:off x="3945" y="3698"/>
                  <a:ext cx="420" cy="8"/>
                </a:xfrm>
                <a:prstGeom prst="rect">
                  <a:avLst/>
                </a:prstGeom>
                <a:solidFill>
                  <a:srgbClr val="231F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320" name="Freeform 130">
                  <a:extLst>
                    <a:ext uri="{FF2B5EF4-FFF2-40B4-BE49-F238E27FC236}">
                      <a16:creationId xmlns:a16="http://schemas.microsoft.com/office/drawing/2014/main" id="{7882FCB3-5432-3338-489D-AEBB7B6C785C}"/>
                    </a:ext>
                  </a:extLst>
                </p:cNvPr>
                <p:cNvSpPr>
                  <a:spLocks/>
                </p:cNvSpPr>
                <p:nvPr/>
              </p:nvSpPr>
              <p:spPr bwMode="auto">
                <a:xfrm>
                  <a:off x="3945" y="3698"/>
                  <a:ext cx="420" cy="8"/>
                </a:xfrm>
                <a:custGeom>
                  <a:avLst/>
                  <a:gdLst>
                    <a:gd name="T0" fmla="*/ 0 w 420"/>
                    <a:gd name="T1" fmla="*/ 8 h 8"/>
                    <a:gd name="T2" fmla="*/ 420 w 420"/>
                    <a:gd name="T3" fmla="*/ 8 h 8"/>
                    <a:gd name="T4" fmla="*/ 420 w 420"/>
                    <a:gd name="T5" fmla="*/ 0 h 8"/>
                    <a:gd name="T6" fmla="*/ 0 w 420"/>
                    <a:gd name="T7" fmla="*/ 0 h 8"/>
                  </a:gdLst>
                  <a:ahLst/>
                  <a:cxnLst>
                    <a:cxn ang="0">
                      <a:pos x="T0" y="T1"/>
                    </a:cxn>
                    <a:cxn ang="0">
                      <a:pos x="T2" y="T3"/>
                    </a:cxn>
                    <a:cxn ang="0">
                      <a:pos x="T4" y="T5"/>
                    </a:cxn>
                    <a:cxn ang="0">
                      <a:pos x="T6" y="T7"/>
                    </a:cxn>
                  </a:cxnLst>
                  <a:rect l="0" t="0" r="r" b="b"/>
                  <a:pathLst>
                    <a:path w="420" h="8">
                      <a:moveTo>
                        <a:pt x="0" y="8"/>
                      </a:moveTo>
                      <a:lnTo>
                        <a:pt x="420" y="8"/>
                      </a:lnTo>
                      <a:lnTo>
                        <a:pt x="42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321" name="Freeform 131">
                  <a:extLst>
                    <a:ext uri="{FF2B5EF4-FFF2-40B4-BE49-F238E27FC236}">
                      <a16:creationId xmlns:a16="http://schemas.microsoft.com/office/drawing/2014/main" id="{B40F3628-D4E6-1238-DE28-2B801C469A10}"/>
                    </a:ext>
                  </a:extLst>
                </p:cNvPr>
                <p:cNvSpPr>
                  <a:spLocks/>
                </p:cNvSpPr>
                <p:nvPr/>
              </p:nvSpPr>
              <p:spPr bwMode="auto">
                <a:xfrm>
                  <a:off x="3903" y="3674"/>
                  <a:ext cx="50" cy="56"/>
                </a:xfrm>
                <a:custGeom>
                  <a:avLst/>
                  <a:gdLst>
                    <a:gd name="T0" fmla="*/ 50 w 50"/>
                    <a:gd name="T1" fmla="*/ 56 h 56"/>
                    <a:gd name="T2" fmla="*/ 0 w 50"/>
                    <a:gd name="T3" fmla="*/ 28 h 56"/>
                    <a:gd name="T4" fmla="*/ 50 w 50"/>
                    <a:gd name="T5" fmla="*/ 0 h 56"/>
                    <a:gd name="T6" fmla="*/ 50 w 50"/>
                    <a:gd name="T7" fmla="*/ 56 h 56"/>
                  </a:gdLst>
                  <a:ahLst/>
                  <a:cxnLst>
                    <a:cxn ang="0">
                      <a:pos x="T0" y="T1"/>
                    </a:cxn>
                    <a:cxn ang="0">
                      <a:pos x="T2" y="T3"/>
                    </a:cxn>
                    <a:cxn ang="0">
                      <a:pos x="T4" y="T5"/>
                    </a:cxn>
                    <a:cxn ang="0">
                      <a:pos x="T6" y="T7"/>
                    </a:cxn>
                  </a:cxnLst>
                  <a:rect l="0" t="0" r="r" b="b"/>
                  <a:pathLst>
                    <a:path w="50" h="56">
                      <a:moveTo>
                        <a:pt x="50" y="56"/>
                      </a:moveTo>
                      <a:lnTo>
                        <a:pt x="0" y="28"/>
                      </a:lnTo>
                      <a:lnTo>
                        <a:pt x="50" y="0"/>
                      </a:lnTo>
                      <a:lnTo>
                        <a:pt x="50" y="56"/>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322" name="Freeform 132">
                  <a:extLst>
                    <a:ext uri="{FF2B5EF4-FFF2-40B4-BE49-F238E27FC236}">
                      <a16:creationId xmlns:a16="http://schemas.microsoft.com/office/drawing/2014/main" id="{99928281-5523-29BE-3995-E7A77282A298}"/>
                    </a:ext>
                  </a:extLst>
                </p:cNvPr>
                <p:cNvSpPr>
                  <a:spLocks/>
                </p:cNvSpPr>
                <p:nvPr/>
              </p:nvSpPr>
              <p:spPr bwMode="auto">
                <a:xfrm>
                  <a:off x="4357" y="3674"/>
                  <a:ext cx="48" cy="56"/>
                </a:xfrm>
                <a:custGeom>
                  <a:avLst/>
                  <a:gdLst>
                    <a:gd name="T0" fmla="*/ 0 w 48"/>
                    <a:gd name="T1" fmla="*/ 56 h 56"/>
                    <a:gd name="T2" fmla="*/ 48 w 48"/>
                    <a:gd name="T3" fmla="*/ 28 h 56"/>
                    <a:gd name="T4" fmla="*/ 0 w 48"/>
                    <a:gd name="T5" fmla="*/ 0 h 56"/>
                    <a:gd name="T6" fmla="*/ 0 w 48"/>
                    <a:gd name="T7" fmla="*/ 56 h 56"/>
                  </a:gdLst>
                  <a:ahLst/>
                  <a:cxnLst>
                    <a:cxn ang="0">
                      <a:pos x="T0" y="T1"/>
                    </a:cxn>
                    <a:cxn ang="0">
                      <a:pos x="T2" y="T3"/>
                    </a:cxn>
                    <a:cxn ang="0">
                      <a:pos x="T4" y="T5"/>
                    </a:cxn>
                    <a:cxn ang="0">
                      <a:pos x="T6" y="T7"/>
                    </a:cxn>
                  </a:cxnLst>
                  <a:rect l="0" t="0" r="r" b="b"/>
                  <a:pathLst>
                    <a:path w="48" h="56">
                      <a:moveTo>
                        <a:pt x="0" y="56"/>
                      </a:moveTo>
                      <a:lnTo>
                        <a:pt x="48" y="28"/>
                      </a:lnTo>
                      <a:lnTo>
                        <a:pt x="0" y="0"/>
                      </a:lnTo>
                      <a:lnTo>
                        <a:pt x="0" y="56"/>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323" name="Rectangle 133">
                  <a:extLst>
                    <a:ext uri="{FF2B5EF4-FFF2-40B4-BE49-F238E27FC236}">
                      <a16:creationId xmlns:a16="http://schemas.microsoft.com/office/drawing/2014/main" id="{649174AD-3CCF-1F6E-CDA5-E81C5BC93579}"/>
                    </a:ext>
                  </a:extLst>
                </p:cNvPr>
                <p:cNvSpPr>
                  <a:spLocks/>
                </p:cNvSpPr>
                <p:nvPr/>
              </p:nvSpPr>
              <p:spPr bwMode="auto">
                <a:xfrm>
                  <a:off x="4497" y="4440"/>
                  <a:ext cx="1758" cy="16"/>
                </a:xfrm>
                <a:prstGeom prst="rect">
                  <a:avLst/>
                </a:prstGeom>
                <a:solidFill>
                  <a:srgbClr val="231F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324" name="Freeform 134">
                  <a:extLst>
                    <a:ext uri="{FF2B5EF4-FFF2-40B4-BE49-F238E27FC236}">
                      <a16:creationId xmlns:a16="http://schemas.microsoft.com/office/drawing/2014/main" id="{ABAC478E-2FA6-6E96-9E1C-02FB262B23BC}"/>
                    </a:ext>
                  </a:extLst>
                </p:cNvPr>
                <p:cNvSpPr>
                  <a:spLocks/>
                </p:cNvSpPr>
                <p:nvPr/>
              </p:nvSpPr>
              <p:spPr bwMode="auto">
                <a:xfrm>
                  <a:off x="4497" y="4440"/>
                  <a:ext cx="1758" cy="16"/>
                </a:xfrm>
                <a:custGeom>
                  <a:avLst/>
                  <a:gdLst>
                    <a:gd name="T0" fmla="*/ 0 w 1758"/>
                    <a:gd name="T1" fmla="*/ 16 h 16"/>
                    <a:gd name="T2" fmla="*/ 1758 w 1758"/>
                    <a:gd name="T3" fmla="*/ 16 h 16"/>
                    <a:gd name="T4" fmla="*/ 1758 w 1758"/>
                    <a:gd name="T5" fmla="*/ 0 h 16"/>
                    <a:gd name="T6" fmla="*/ 0 w 1758"/>
                    <a:gd name="T7" fmla="*/ 0 h 16"/>
                  </a:gdLst>
                  <a:ahLst/>
                  <a:cxnLst>
                    <a:cxn ang="0">
                      <a:pos x="T0" y="T1"/>
                    </a:cxn>
                    <a:cxn ang="0">
                      <a:pos x="T2" y="T3"/>
                    </a:cxn>
                    <a:cxn ang="0">
                      <a:pos x="T4" y="T5"/>
                    </a:cxn>
                    <a:cxn ang="0">
                      <a:pos x="T6" y="T7"/>
                    </a:cxn>
                  </a:cxnLst>
                  <a:rect l="0" t="0" r="r" b="b"/>
                  <a:pathLst>
                    <a:path w="1758" h="16">
                      <a:moveTo>
                        <a:pt x="0" y="16"/>
                      </a:moveTo>
                      <a:lnTo>
                        <a:pt x="1758" y="16"/>
                      </a:lnTo>
                      <a:lnTo>
                        <a:pt x="1758"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325" name="Freeform 135">
                  <a:extLst>
                    <a:ext uri="{FF2B5EF4-FFF2-40B4-BE49-F238E27FC236}">
                      <a16:creationId xmlns:a16="http://schemas.microsoft.com/office/drawing/2014/main" id="{6F83FA55-0A6F-6556-036E-953B45D2F23A}"/>
                    </a:ext>
                  </a:extLst>
                </p:cNvPr>
                <p:cNvSpPr>
                  <a:spLocks/>
                </p:cNvSpPr>
                <p:nvPr/>
              </p:nvSpPr>
              <p:spPr bwMode="auto">
                <a:xfrm>
                  <a:off x="4429" y="4400"/>
                  <a:ext cx="82" cy="96"/>
                </a:xfrm>
                <a:custGeom>
                  <a:avLst/>
                  <a:gdLst>
                    <a:gd name="T0" fmla="*/ 82 w 82"/>
                    <a:gd name="T1" fmla="*/ 96 h 96"/>
                    <a:gd name="T2" fmla="*/ 0 w 82"/>
                    <a:gd name="T3" fmla="*/ 48 h 96"/>
                    <a:gd name="T4" fmla="*/ 82 w 82"/>
                    <a:gd name="T5" fmla="*/ 0 h 96"/>
                    <a:gd name="T6" fmla="*/ 82 w 82"/>
                    <a:gd name="T7" fmla="*/ 96 h 96"/>
                  </a:gdLst>
                  <a:ahLst/>
                  <a:cxnLst>
                    <a:cxn ang="0">
                      <a:pos x="T0" y="T1"/>
                    </a:cxn>
                    <a:cxn ang="0">
                      <a:pos x="T2" y="T3"/>
                    </a:cxn>
                    <a:cxn ang="0">
                      <a:pos x="T4" y="T5"/>
                    </a:cxn>
                    <a:cxn ang="0">
                      <a:pos x="T6" y="T7"/>
                    </a:cxn>
                  </a:cxnLst>
                  <a:rect l="0" t="0" r="r" b="b"/>
                  <a:pathLst>
                    <a:path w="82" h="96">
                      <a:moveTo>
                        <a:pt x="82" y="96"/>
                      </a:moveTo>
                      <a:lnTo>
                        <a:pt x="0" y="48"/>
                      </a:lnTo>
                      <a:lnTo>
                        <a:pt x="82" y="0"/>
                      </a:lnTo>
                      <a:lnTo>
                        <a:pt x="82" y="96"/>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326" name="Freeform 136">
                  <a:extLst>
                    <a:ext uri="{FF2B5EF4-FFF2-40B4-BE49-F238E27FC236}">
                      <a16:creationId xmlns:a16="http://schemas.microsoft.com/office/drawing/2014/main" id="{013F1DAD-FB21-AA32-3ACB-748C716385D6}"/>
                    </a:ext>
                  </a:extLst>
                </p:cNvPr>
                <p:cNvSpPr>
                  <a:spLocks/>
                </p:cNvSpPr>
                <p:nvPr/>
              </p:nvSpPr>
              <p:spPr bwMode="auto">
                <a:xfrm>
                  <a:off x="6241" y="4400"/>
                  <a:ext cx="82" cy="96"/>
                </a:xfrm>
                <a:custGeom>
                  <a:avLst/>
                  <a:gdLst>
                    <a:gd name="T0" fmla="*/ 0 w 82"/>
                    <a:gd name="T1" fmla="*/ 96 h 96"/>
                    <a:gd name="T2" fmla="*/ 82 w 82"/>
                    <a:gd name="T3" fmla="*/ 48 h 96"/>
                    <a:gd name="T4" fmla="*/ 0 w 82"/>
                    <a:gd name="T5" fmla="*/ 0 h 96"/>
                    <a:gd name="T6" fmla="*/ 0 w 82"/>
                    <a:gd name="T7" fmla="*/ 96 h 96"/>
                  </a:gdLst>
                  <a:ahLst/>
                  <a:cxnLst>
                    <a:cxn ang="0">
                      <a:pos x="T0" y="T1"/>
                    </a:cxn>
                    <a:cxn ang="0">
                      <a:pos x="T2" y="T3"/>
                    </a:cxn>
                    <a:cxn ang="0">
                      <a:pos x="T4" y="T5"/>
                    </a:cxn>
                    <a:cxn ang="0">
                      <a:pos x="T6" y="T7"/>
                    </a:cxn>
                  </a:cxnLst>
                  <a:rect l="0" t="0" r="r" b="b"/>
                  <a:pathLst>
                    <a:path w="82" h="96">
                      <a:moveTo>
                        <a:pt x="0" y="96"/>
                      </a:moveTo>
                      <a:lnTo>
                        <a:pt x="82" y="48"/>
                      </a:lnTo>
                      <a:lnTo>
                        <a:pt x="0" y="0"/>
                      </a:lnTo>
                      <a:lnTo>
                        <a:pt x="0" y="96"/>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327" name="Rectangle 137">
                  <a:extLst>
                    <a:ext uri="{FF2B5EF4-FFF2-40B4-BE49-F238E27FC236}">
                      <a16:creationId xmlns:a16="http://schemas.microsoft.com/office/drawing/2014/main" id="{36943C67-748E-0334-8C66-C0BE407D3A63}"/>
                    </a:ext>
                  </a:extLst>
                </p:cNvPr>
                <p:cNvSpPr>
                  <a:spLocks/>
                </p:cNvSpPr>
                <p:nvPr/>
              </p:nvSpPr>
              <p:spPr bwMode="auto">
                <a:xfrm>
                  <a:off x="4433" y="1535"/>
                  <a:ext cx="116" cy="499"/>
                </a:xfrm>
                <a:prstGeom prst="rect">
                  <a:avLst/>
                </a:prstGeom>
                <a:solidFill>
                  <a:srgbClr val="DEDF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328" name="Freeform 138">
                  <a:extLst>
                    <a:ext uri="{FF2B5EF4-FFF2-40B4-BE49-F238E27FC236}">
                      <a16:creationId xmlns:a16="http://schemas.microsoft.com/office/drawing/2014/main" id="{CA897011-BA5A-DD6D-1CA0-A95D89019BB7}"/>
                    </a:ext>
                  </a:extLst>
                </p:cNvPr>
                <p:cNvSpPr>
                  <a:spLocks/>
                </p:cNvSpPr>
                <p:nvPr/>
              </p:nvSpPr>
              <p:spPr bwMode="auto">
                <a:xfrm>
                  <a:off x="4433" y="1563"/>
                  <a:ext cx="116" cy="441"/>
                </a:xfrm>
                <a:custGeom>
                  <a:avLst/>
                  <a:gdLst>
                    <a:gd name="T0" fmla="*/ 58 w 58"/>
                    <a:gd name="T1" fmla="*/ 0 h 220"/>
                    <a:gd name="T2" fmla="*/ 0 w 58"/>
                    <a:gd name="T3" fmla="*/ 0 h 220"/>
                    <a:gd name="T4" fmla="*/ 0 w 58"/>
                    <a:gd name="T5" fmla="*/ 220 h 220"/>
                    <a:gd name="T6" fmla="*/ 58 w 58"/>
                    <a:gd name="T7" fmla="*/ 220 h 220"/>
                    <a:gd name="T8" fmla="*/ 58 w 58"/>
                    <a:gd name="T9" fmla="*/ 218 h 220"/>
                    <a:gd name="T10" fmla="*/ 58 w 58"/>
                    <a:gd name="T11" fmla="*/ 3 h 220"/>
                    <a:gd name="T12" fmla="*/ 58 w 58"/>
                    <a:gd name="T13" fmla="*/ 0 h 220"/>
                  </a:gdLst>
                  <a:ahLst/>
                  <a:cxnLst>
                    <a:cxn ang="0">
                      <a:pos x="T0" y="T1"/>
                    </a:cxn>
                    <a:cxn ang="0">
                      <a:pos x="T2" y="T3"/>
                    </a:cxn>
                    <a:cxn ang="0">
                      <a:pos x="T4" y="T5"/>
                    </a:cxn>
                    <a:cxn ang="0">
                      <a:pos x="T6" y="T7"/>
                    </a:cxn>
                    <a:cxn ang="0">
                      <a:pos x="T8" y="T9"/>
                    </a:cxn>
                    <a:cxn ang="0">
                      <a:pos x="T10" y="T11"/>
                    </a:cxn>
                    <a:cxn ang="0">
                      <a:pos x="T12" y="T13"/>
                    </a:cxn>
                  </a:cxnLst>
                  <a:rect l="0" t="0" r="r" b="b"/>
                  <a:pathLst>
                    <a:path w="58" h="220">
                      <a:moveTo>
                        <a:pt x="58" y="0"/>
                      </a:moveTo>
                      <a:cubicBezTo>
                        <a:pt x="0" y="0"/>
                        <a:pt x="0" y="0"/>
                        <a:pt x="0" y="0"/>
                      </a:cubicBezTo>
                      <a:cubicBezTo>
                        <a:pt x="0" y="220"/>
                        <a:pt x="0" y="220"/>
                        <a:pt x="0" y="220"/>
                      </a:cubicBezTo>
                      <a:cubicBezTo>
                        <a:pt x="58" y="220"/>
                        <a:pt x="58" y="220"/>
                        <a:pt x="58" y="220"/>
                      </a:cubicBezTo>
                      <a:cubicBezTo>
                        <a:pt x="58" y="219"/>
                        <a:pt x="58" y="219"/>
                        <a:pt x="58" y="218"/>
                      </a:cubicBezTo>
                      <a:cubicBezTo>
                        <a:pt x="58" y="3"/>
                        <a:pt x="58" y="3"/>
                        <a:pt x="58" y="3"/>
                      </a:cubicBezTo>
                      <a:cubicBezTo>
                        <a:pt x="58" y="2"/>
                        <a:pt x="58" y="1"/>
                        <a:pt x="58" y="0"/>
                      </a:cubicBezTo>
                    </a:path>
                  </a:pathLst>
                </a:custGeom>
                <a:solidFill>
                  <a:srgbClr val="D3D4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329" name="Freeform 139">
                  <a:extLst>
                    <a:ext uri="{FF2B5EF4-FFF2-40B4-BE49-F238E27FC236}">
                      <a16:creationId xmlns:a16="http://schemas.microsoft.com/office/drawing/2014/main" id="{E913D442-91C7-863B-1E12-63BA5C8F5DFC}"/>
                    </a:ext>
                  </a:extLst>
                </p:cNvPr>
                <p:cNvSpPr>
                  <a:spLocks/>
                </p:cNvSpPr>
                <p:nvPr/>
              </p:nvSpPr>
              <p:spPr bwMode="auto">
                <a:xfrm>
                  <a:off x="3190" y="1535"/>
                  <a:ext cx="1235" cy="28"/>
                </a:xfrm>
                <a:custGeom>
                  <a:avLst/>
                  <a:gdLst>
                    <a:gd name="T0" fmla="*/ 2 w 617"/>
                    <a:gd name="T1" fmla="*/ 10 h 14"/>
                    <a:gd name="T2" fmla="*/ 0 w 617"/>
                    <a:gd name="T3" fmla="*/ 14 h 14"/>
                    <a:gd name="T4" fmla="*/ 6 w 617"/>
                    <a:gd name="T5" fmla="*/ 14 h 14"/>
                    <a:gd name="T6" fmla="*/ 2 w 617"/>
                    <a:gd name="T7" fmla="*/ 10 h 14"/>
                    <a:gd name="T8" fmla="*/ 189 w 617"/>
                    <a:gd name="T9" fmla="*/ 8 h 14"/>
                    <a:gd name="T10" fmla="*/ 183 w 617"/>
                    <a:gd name="T11" fmla="*/ 14 h 14"/>
                    <a:gd name="T12" fmla="*/ 195 w 617"/>
                    <a:gd name="T13" fmla="*/ 14 h 14"/>
                    <a:gd name="T14" fmla="*/ 189 w 617"/>
                    <a:gd name="T15" fmla="*/ 8 h 14"/>
                    <a:gd name="T16" fmla="*/ 284 w 617"/>
                    <a:gd name="T17" fmla="*/ 8 h 14"/>
                    <a:gd name="T18" fmla="*/ 278 w 617"/>
                    <a:gd name="T19" fmla="*/ 14 h 14"/>
                    <a:gd name="T20" fmla="*/ 290 w 617"/>
                    <a:gd name="T21" fmla="*/ 14 h 14"/>
                    <a:gd name="T22" fmla="*/ 284 w 617"/>
                    <a:gd name="T23" fmla="*/ 8 h 14"/>
                    <a:gd name="T24" fmla="*/ 379 w 617"/>
                    <a:gd name="T25" fmla="*/ 8 h 14"/>
                    <a:gd name="T26" fmla="*/ 373 w 617"/>
                    <a:gd name="T27" fmla="*/ 14 h 14"/>
                    <a:gd name="T28" fmla="*/ 385 w 617"/>
                    <a:gd name="T29" fmla="*/ 14 h 14"/>
                    <a:gd name="T30" fmla="*/ 379 w 617"/>
                    <a:gd name="T31" fmla="*/ 8 h 14"/>
                    <a:gd name="T32" fmla="*/ 473 w 617"/>
                    <a:gd name="T33" fmla="*/ 8 h 14"/>
                    <a:gd name="T34" fmla="*/ 467 w 617"/>
                    <a:gd name="T35" fmla="*/ 14 h 14"/>
                    <a:gd name="T36" fmla="*/ 479 w 617"/>
                    <a:gd name="T37" fmla="*/ 14 h 14"/>
                    <a:gd name="T38" fmla="*/ 473 w 617"/>
                    <a:gd name="T39" fmla="*/ 8 h 14"/>
                    <a:gd name="T40" fmla="*/ 95 w 617"/>
                    <a:gd name="T41" fmla="*/ 8 h 14"/>
                    <a:gd name="T42" fmla="*/ 89 w 617"/>
                    <a:gd name="T43" fmla="*/ 14 h 14"/>
                    <a:gd name="T44" fmla="*/ 101 w 617"/>
                    <a:gd name="T45" fmla="*/ 14 h 14"/>
                    <a:gd name="T46" fmla="*/ 95 w 617"/>
                    <a:gd name="T47" fmla="*/ 8 h 14"/>
                    <a:gd name="T48" fmla="*/ 617 w 617"/>
                    <a:gd name="T49" fmla="*/ 0 h 14"/>
                    <a:gd name="T50" fmla="*/ 574 w 617"/>
                    <a:gd name="T51" fmla="*/ 0 h 14"/>
                    <a:gd name="T52" fmla="*/ 562 w 617"/>
                    <a:gd name="T53" fmla="*/ 14 h 14"/>
                    <a:gd name="T54" fmla="*/ 617 w 617"/>
                    <a:gd name="T55" fmla="*/ 14 h 14"/>
                    <a:gd name="T56" fmla="*/ 617 w 617"/>
                    <a:gd name="T5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17" h="14">
                      <a:moveTo>
                        <a:pt x="2" y="10"/>
                      </a:moveTo>
                      <a:cubicBezTo>
                        <a:pt x="1" y="11"/>
                        <a:pt x="0" y="12"/>
                        <a:pt x="0" y="14"/>
                      </a:cubicBezTo>
                      <a:cubicBezTo>
                        <a:pt x="6" y="14"/>
                        <a:pt x="6" y="14"/>
                        <a:pt x="6" y="14"/>
                      </a:cubicBezTo>
                      <a:cubicBezTo>
                        <a:pt x="4" y="12"/>
                        <a:pt x="3" y="11"/>
                        <a:pt x="2" y="10"/>
                      </a:cubicBezTo>
                      <a:moveTo>
                        <a:pt x="189" y="8"/>
                      </a:moveTo>
                      <a:cubicBezTo>
                        <a:pt x="187" y="10"/>
                        <a:pt x="185" y="12"/>
                        <a:pt x="183" y="14"/>
                      </a:cubicBezTo>
                      <a:cubicBezTo>
                        <a:pt x="195" y="14"/>
                        <a:pt x="195" y="14"/>
                        <a:pt x="195" y="14"/>
                      </a:cubicBezTo>
                      <a:cubicBezTo>
                        <a:pt x="193" y="12"/>
                        <a:pt x="191" y="10"/>
                        <a:pt x="189" y="8"/>
                      </a:cubicBezTo>
                      <a:moveTo>
                        <a:pt x="284" y="8"/>
                      </a:moveTo>
                      <a:cubicBezTo>
                        <a:pt x="282" y="10"/>
                        <a:pt x="280" y="12"/>
                        <a:pt x="278" y="14"/>
                      </a:cubicBezTo>
                      <a:cubicBezTo>
                        <a:pt x="290" y="14"/>
                        <a:pt x="290" y="14"/>
                        <a:pt x="290" y="14"/>
                      </a:cubicBezTo>
                      <a:cubicBezTo>
                        <a:pt x="288" y="12"/>
                        <a:pt x="286" y="10"/>
                        <a:pt x="284" y="8"/>
                      </a:cubicBezTo>
                      <a:moveTo>
                        <a:pt x="379" y="8"/>
                      </a:moveTo>
                      <a:cubicBezTo>
                        <a:pt x="377" y="10"/>
                        <a:pt x="375" y="12"/>
                        <a:pt x="373" y="14"/>
                      </a:cubicBezTo>
                      <a:cubicBezTo>
                        <a:pt x="385" y="14"/>
                        <a:pt x="385" y="14"/>
                        <a:pt x="385" y="14"/>
                      </a:cubicBezTo>
                      <a:cubicBezTo>
                        <a:pt x="383" y="12"/>
                        <a:pt x="381" y="10"/>
                        <a:pt x="379" y="8"/>
                      </a:cubicBezTo>
                      <a:moveTo>
                        <a:pt x="473" y="8"/>
                      </a:moveTo>
                      <a:cubicBezTo>
                        <a:pt x="472" y="10"/>
                        <a:pt x="470" y="12"/>
                        <a:pt x="467" y="14"/>
                      </a:cubicBezTo>
                      <a:cubicBezTo>
                        <a:pt x="479" y="14"/>
                        <a:pt x="479" y="14"/>
                        <a:pt x="479" y="14"/>
                      </a:cubicBezTo>
                      <a:cubicBezTo>
                        <a:pt x="477" y="12"/>
                        <a:pt x="475" y="10"/>
                        <a:pt x="473" y="8"/>
                      </a:cubicBezTo>
                      <a:moveTo>
                        <a:pt x="95" y="8"/>
                      </a:moveTo>
                      <a:cubicBezTo>
                        <a:pt x="93" y="10"/>
                        <a:pt x="91" y="12"/>
                        <a:pt x="89" y="14"/>
                      </a:cubicBezTo>
                      <a:cubicBezTo>
                        <a:pt x="101" y="14"/>
                        <a:pt x="101" y="14"/>
                        <a:pt x="101" y="14"/>
                      </a:cubicBezTo>
                      <a:cubicBezTo>
                        <a:pt x="98" y="12"/>
                        <a:pt x="96" y="10"/>
                        <a:pt x="95" y="8"/>
                      </a:cubicBezTo>
                      <a:moveTo>
                        <a:pt x="617" y="0"/>
                      </a:moveTo>
                      <a:cubicBezTo>
                        <a:pt x="574" y="0"/>
                        <a:pt x="574" y="0"/>
                        <a:pt x="574" y="0"/>
                      </a:cubicBezTo>
                      <a:cubicBezTo>
                        <a:pt x="570" y="5"/>
                        <a:pt x="567" y="10"/>
                        <a:pt x="562" y="14"/>
                      </a:cubicBezTo>
                      <a:cubicBezTo>
                        <a:pt x="617" y="14"/>
                        <a:pt x="617" y="14"/>
                        <a:pt x="617" y="14"/>
                      </a:cubicBezTo>
                      <a:cubicBezTo>
                        <a:pt x="617" y="0"/>
                        <a:pt x="617" y="0"/>
                        <a:pt x="617" y="0"/>
                      </a:cubicBezTo>
                    </a:path>
                  </a:pathLst>
                </a:custGeom>
                <a:solidFill>
                  <a:srgbClr val="CEE5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330" name="Freeform 140">
                  <a:extLst>
                    <a:ext uri="{FF2B5EF4-FFF2-40B4-BE49-F238E27FC236}">
                      <a16:creationId xmlns:a16="http://schemas.microsoft.com/office/drawing/2014/main" id="{4A110DB7-6749-A597-B8FF-FBA247E94E97}"/>
                    </a:ext>
                  </a:extLst>
                </p:cNvPr>
                <p:cNvSpPr>
                  <a:spLocks/>
                </p:cNvSpPr>
                <p:nvPr/>
              </p:nvSpPr>
              <p:spPr bwMode="auto">
                <a:xfrm>
                  <a:off x="3194" y="1535"/>
                  <a:ext cx="186" cy="28"/>
                </a:xfrm>
                <a:custGeom>
                  <a:avLst/>
                  <a:gdLst>
                    <a:gd name="T0" fmla="*/ 87 w 93"/>
                    <a:gd name="T1" fmla="*/ 0 h 14"/>
                    <a:gd name="T2" fmla="*/ 15 w 93"/>
                    <a:gd name="T3" fmla="*/ 0 h 14"/>
                    <a:gd name="T4" fmla="*/ 0 w 93"/>
                    <a:gd name="T5" fmla="*/ 10 h 14"/>
                    <a:gd name="T6" fmla="*/ 4 w 93"/>
                    <a:gd name="T7" fmla="*/ 14 h 14"/>
                    <a:gd name="T8" fmla="*/ 87 w 93"/>
                    <a:gd name="T9" fmla="*/ 14 h 14"/>
                    <a:gd name="T10" fmla="*/ 93 w 93"/>
                    <a:gd name="T11" fmla="*/ 8 h 14"/>
                    <a:gd name="T12" fmla="*/ 87 w 93"/>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93" h="14">
                      <a:moveTo>
                        <a:pt x="87" y="0"/>
                      </a:moveTo>
                      <a:cubicBezTo>
                        <a:pt x="15" y="0"/>
                        <a:pt x="15" y="0"/>
                        <a:pt x="15" y="0"/>
                      </a:cubicBezTo>
                      <a:cubicBezTo>
                        <a:pt x="8" y="0"/>
                        <a:pt x="2" y="4"/>
                        <a:pt x="0" y="10"/>
                      </a:cubicBezTo>
                      <a:cubicBezTo>
                        <a:pt x="1" y="11"/>
                        <a:pt x="2" y="12"/>
                        <a:pt x="4" y="14"/>
                      </a:cubicBezTo>
                      <a:cubicBezTo>
                        <a:pt x="87" y="14"/>
                        <a:pt x="87" y="14"/>
                        <a:pt x="87" y="14"/>
                      </a:cubicBezTo>
                      <a:cubicBezTo>
                        <a:pt x="89" y="12"/>
                        <a:pt x="91" y="10"/>
                        <a:pt x="93" y="8"/>
                      </a:cubicBezTo>
                      <a:cubicBezTo>
                        <a:pt x="91" y="5"/>
                        <a:pt x="89" y="3"/>
                        <a:pt x="87" y="0"/>
                      </a:cubicBezTo>
                    </a:path>
                  </a:pathLst>
                </a:custGeom>
                <a:solidFill>
                  <a:srgbClr val="BBD3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331" name="Freeform 141">
                  <a:extLst>
                    <a:ext uri="{FF2B5EF4-FFF2-40B4-BE49-F238E27FC236}">
                      <a16:creationId xmlns:a16="http://schemas.microsoft.com/office/drawing/2014/main" id="{77DB55E4-DD92-4781-7C33-5AFE7B2242F0}"/>
                    </a:ext>
                  </a:extLst>
                </p:cNvPr>
                <p:cNvSpPr>
                  <a:spLocks/>
                </p:cNvSpPr>
                <p:nvPr/>
              </p:nvSpPr>
              <p:spPr bwMode="auto">
                <a:xfrm>
                  <a:off x="3368" y="1535"/>
                  <a:ext cx="200" cy="28"/>
                </a:xfrm>
                <a:custGeom>
                  <a:avLst/>
                  <a:gdLst>
                    <a:gd name="T0" fmla="*/ 95 w 100"/>
                    <a:gd name="T1" fmla="*/ 0 h 14"/>
                    <a:gd name="T2" fmla="*/ 0 w 100"/>
                    <a:gd name="T3" fmla="*/ 0 h 14"/>
                    <a:gd name="T4" fmla="*/ 6 w 100"/>
                    <a:gd name="T5" fmla="*/ 8 h 14"/>
                    <a:gd name="T6" fmla="*/ 12 w 100"/>
                    <a:gd name="T7" fmla="*/ 14 h 14"/>
                    <a:gd name="T8" fmla="*/ 94 w 100"/>
                    <a:gd name="T9" fmla="*/ 14 h 14"/>
                    <a:gd name="T10" fmla="*/ 100 w 100"/>
                    <a:gd name="T11" fmla="*/ 8 h 14"/>
                    <a:gd name="T12" fmla="*/ 95 w 100"/>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00" h="14">
                      <a:moveTo>
                        <a:pt x="95" y="0"/>
                      </a:moveTo>
                      <a:cubicBezTo>
                        <a:pt x="0" y="0"/>
                        <a:pt x="0" y="0"/>
                        <a:pt x="0" y="0"/>
                      </a:cubicBezTo>
                      <a:cubicBezTo>
                        <a:pt x="2" y="3"/>
                        <a:pt x="4" y="5"/>
                        <a:pt x="6" y="8"/>
                      </a:cubicBezTo>
                      <a:cubicBezTo>
                        <a:pt x="7" y="10"/>
                        <a:pt x="9" y="12"/>
                        <a:pt x="12" y="14"/>
                      </a:cubicBezTo>
                      <a:cubicBezTo>
                        <a:pt x="94" y="14"/>
                        <a:pt x="94" y="14"/>
                        <a:pt x="94" y="14"/>
                      </a:cubicBezTo>
                      <a:cubicBezTo>
                        <a:pt x="96" y="12"/>
                        <a:pt x="98" y="10"/>
                        <a:pt x="100" y="8"/>
                      </a:cubicBezTo>
                      <a:cubicBezTo>
                        <a:pt x="98" y="5"/>
                        <a:pt x="96" y="3"/>
                        <a:pt x="95" y="0"/>
                      </a:cubicBezTo>
                    </a:path>
                  </a:pathLst>
                </a:custGeom>
                <a:solidFill>
                  <a:srgbClr val="C0DA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332" name="Freeform 142">
                  <a:extLst>
                    <a:ext uri="{FF2B5EF4-FFF2-40B4-BE49-F238E27FC236}">
                      <a16:creationId xmlns:a16="http://schemas.microsoft.com/office/drawing/2014/main" id="{2DA6BD31-7EB8-5BFF-61C0-67144B15C52B}"/>
                    </a:ext>
                  </a:extLst>
                </p:cNvPr>
                <p:cNvSpPr>
                  <a:spLocks/>
                </p:cNvSpPr>
                <p:nvPr/>
              </p:nvSpPr>
              <p:spPr bwMode="auto">
                <a:xfrm>
                  <a:off x="3558" y="1535"/>
                  <a:ext cx="200" cy="28"/>
                </a:xfrm>
                <a:custGeom>
                  <a:avLst/>
                  <a:gdLst>
                    <a:gd name="T0" fmla="*/ 95 w 100"/>
                    <a:gd name="T1" fmla="*/ 0 h 14"/>
                    <a:gd name="T2" fmla="*/ 0 w 100"/>
                    <a:gd name="T3" fmla="*/ 0 h 14"/>
                    <a:gd name="T4" fmla="*/ 5 w 100"/>
                    <a:gd name="T5" fmla="*/ 8 h 14"/>
                    <a:gd name="T6" fmla="*/ 11 w 100"/>
                    <a:gd name="T7" fmla="*/ 14 h 14"/>
                    <a:gd name="T8" fmla="*/ 94 w 100"/>
                    <a:gd name="T9" fmla="*/ 14 h 14"/>
                    <a:gd name="T10" fmla="*/ 100 w 100"/>
                    <a:gd name="T11" fmla="*/ 8 h 14"/>
                    <a:gd name="T12" fmla="*/ 95 w 100"/>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00" h="14">
                      <a:moveTo>
                        <a:pt x="95" y="0"/>
                      </a:moveTo>
                      <a:cubicBezTo>
                        <a:pt x="0" y="0"/>
                        <a:pt x="0" y="0"/>
                        <a:pt x="0" y="0"/>
                      </a:cubicBezTo>
                      <a:cubicBezTo>
                        <a:pt x="1" y="3"/>
                        <a:pt x="3" y="5"/>
                        <a:pt x="5" y="8"/>
                      </a:cubicBezTo>
                      <a:cubicBezTo>
                        <a:pt x="7" y="10"/>
                        <a:pt x="9" y="12"/>
                        <a:pt x="11" y="14"/>
                      </a:cubicBezTo>
                      <a:cubicBezTo>
                        <a:pt x="94" y="14"/>
                        <a:pt x="94" y="14"/>
                        <a:pt x="94" y="14"/>
                      </a:cubicBezTo>
                      <a:cubicBezTo>
                        <a:pt x="96" y="12"/>
                        <a:pt x="98" y="10"/>
                        <a:pt x="100" y="8"/>
                      </a:cubicBezTo>
                      <a:cubicBezTo>
                        <a:pt x="98" y="5"/>
                        <a:pt x="96" y="3"/>
                        <a:pt x="95" y="0"/>
                      </a:cubicBezTo>
                    </a:path>
                  </a:pathLst>
                </a:custGeom>
                <a:solidFill>
                  <a:srgbClr val="BBD3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333" name="Freeform 143">
                  <a:extLst>
                    <a:ext uri="{FF2B5EF4-FFF2-40B4-BE49-F238E27FC236}">
                      <a16:creationId xmlns:a16="http://schemas.microsoft.com/office/drawing/2014/main" id="{4428FDDA-EF46-46A4-D797-056F62369F0D}"/>
                    </a:ext>
                  </a:extLst>
                </p:cNvPr>
                <p:cNvSpPr>
                  <a:spLocks/>
                </p:cNvSpPr>
                <p:nvPr/>
              </p:nvSpPr>
              <p:spPr bwMode="auto">
                <a:xfrm>
                  <a:off x="3748" y="1535"/>
                  <a:ext cx="201" cy="28"/>
                </a:xfrm>
                <a:custGeom>
                  <a:avLst/>
                  <a:gdLst>
                    <a:gd name="T0" fmla="*/ 94 w 100"/>
                    <a:gd name="T1" fmla="*/ 0 h 14"/>
                    <a:gd name="T2" fmla="*/ 0 w 100"/>
                    <a:gd name="T3" fmla="*/ 0 h 14"/>
                    <a:gd name="T4" fmla="*/ 5 w 100"/>
                    <a:gd name="T5" fmla="*/ 8 h 14"/>
                    <a:gd name="T6" fmla="*/ 11 w 100"/>
                    <a:gd name="T7" fmla="*/ 14 h 14"/>
                    <a:gd name="T8" fmla="*/ 94 w 100"/>
                    <a:gd name="T9" fmla="*/ 14 h 14"/>
                    <a:gd name="T10" fmla="*/ 100 w 100"/>
                    <a:gd name="T11" fmla="*/ 8 h 14"/>
                    <a:gd name="T12" fmla="*/ 94 w 100"/>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00" h="14">
                      <a:moveTo>
                        <a:pt x="94" y="0"/>
                      </a:moveTo>
                      <a:cubicBezTo>
                        <a:pt x="0" y="0"/>
                        <a:pt x="0" y="0"/>
                        <a:pt x="0" y="0"/>
                      </a:cubicBezTo>
                      <a:cubicBezTo>
                        <a:pt x="1" y="3"/>
                        <a:pt x="3" y="5"/>
                        <a:pt x="5" y="8"/>
                      </a:cubicBezTo>
                      <a:cubicBezTo>
                        <a:pt x="7" y="10"/>
                        <a:pt x="9" y="12"/>
                        <a:pt x="11" y="14"/>
                      </a:cubicBezTo>
                      <a:cubicBezTo>
                        <a:pt x="94" y="14"/>
                        <a:pt x="94" y="14"/>
                        <a:pt x="94" y="14"/>
                      </a:cubicBezTo>
                      <a:cubicBezTo>
                        <a:pt x="96" y="12"/>
                        <a:pt x="98" y="10"/>
                        <a:pt x="100" y="8"/>
                      </a:cubicBezTo>
                      <a:cubicBezTo>
                        <a:pt x="98" y="5"/>
                        <a:pt x="96" y="3"/>
                        <a:pt x="94" y="0"/>
                      </a:cubicBezTo>
                    </a:path>
                  </a:pathLst>
                </a:custGeom>
                <a:solidFill>
                  <a:srgbClr val="C0DA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334" name="Freeform 144">
                  <a:extLst>
                    <a:ext uri="{FF2B5EF4-FFF2-40B4-BE49-F238E27FC236}">
                      <a16:creationId xmlns:a16="http://schemas.microsoft.com/office/drawing/2014/main" id="{3ED68C20-72C6-1D30-E4A5-E3F3825D0016}"/>
                    </a:ext>
                  </a:extLst>
                </p:cNvPr>
                <p:cNvSpPr>
                  <a:spLocks/>
                </p:cNvSpPr>
                <p:nvPr/>
              </p:nvSpPr>
              <p:spPr bwMode="auto">
                <a:xfrm>
                  <a:off x="3937" y="1535"/>
                  <a:ext cx="200" cy="28"/>
                </a:xfrm>
                <a:custGeom>
                  <a:avLst/>
                  <a:gdLst>
                    <a:gd name="T0" fmla="*/ 95 w 100"/>
                    <a:gd name="T1" fmla="*/ 0 h 14"/>
                    <a:gd name="T2" fmla="*/ 0 w 100"/>
                    <a:gd name="T3" fmla="*/ 0 h 14"/>
                    <a:gd name="T4" fmla="*/ 6 w 100"/>
                    <a:gd name="T5" fmla="*/ 8 h 14"/>
                    <a:gd name="T6" fmla="*/ 12 w 100"/>
                    <a:gd name="T7" fmla="*/ 14 h 14"/>
                    <a:gd name="T8" fmla="*/ 94 w 100"/>
                    <a:gd name="T9" fmla="*/ 14 h 14"/>
                    <a:gd name="T10" fmla="*/ 100 w 100"/>
                    <a:gd name="T11" fmla="*/ 8 h 14"/>
                    <a:gd name="T12" fmla="*/ 95 w 100"/>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00" h="14">
                      <a:moveTo>
                        <a:pt x="95" y="0"/>
                      </a:moveTo>
                      <a:cubicBezTo>
                        <a:pt x="0" y="0"/>
                        <a:pt x="0" y="0"/>
                        <a:pt x="0" y="0"/>
                      </a:cubicBezTo>
                      <a:cubicBezTo>
                        <a:pt x="2" y="3"/>
                        <a:pt x="4" y="5"/>
                        <a:pt x="6" y="8"/>
                      </a:cubicBezTo>
                      <a:cubicBezTo>
                        <a:pt x="8" y="10"/>
                        <a:pt x="10" y="12"/>
                        <a:pt x="12" y="14"/>
                      </a:cubicBezTo>
                      <a:cubicBezTo>
                        <a:pt x="94" y="14"/>
                        <a:pt x="94" y="14"/>
                        <a:pt x="94" y="14"/>
                      </a:cubicBezTo>
                      <a:cubicBezTo>
                        <a:pt x="97" y="12"/>
                        <a:pt x="99" y="10"/>
                        <a:pt x="100" y="8"/>
                      </a:cubicBezTo>
                      <a:cubicBezTo>
                        <a:pt x="98" y="5"/>
                        <a:pt x="97" y="3"/>
                        <a:pt x="95" y="0"/>
                      </a:cubicBezTo>
                    </a:path>
                  </a:pathLst>
                </a:custGeom>
                <a:solidFill>
                  <a:srgbClr val="BBD3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335" name="Freeform 145">
                  <a:extLst>
                    <a:ext uri="{FF2B5EF4-FFF2-40B4-BE49-F238E27FC236}">
                      <a16:creationId xmlns:a16="http://schemas.microsoft.com/office/drawing/2014/main" id="{EA2FCFB9-061B-C38D-93EA-379CBBA46549}"/>
                    </a:ext>
                  </a:extLst>
                </p:cNvPr>
                <p:cNvSpPr>
                  <a:spLocks/>
                </p:cNvSpPr>
                <p:nvPr/>
              </p:nvSpPr>
              <p:spPr bwMode="auto">
                <a:xfrm>
                  <a:off x="4127" y="1535"/>
                  <a:ext cx="212" cy="28"/>
                </a:xfrm>
                <a:custGeom>
                  <a:avLst/>
                  <a:gdLst>
                    <a:gd name="T0" fmla="*/ 106 w 106"/>
                    <a:gd name="T1" fmla="*/ 0 h 14"/>
                    <a:gd name="T2" fmla="*/ 0 w 106"/>
                    <a:gd name="T3" fmla="*/ 0 h 14"/>
                    <a:gd name="T4" fmla="*/ 5 w 106"/>
                    <a:gd name="T5" fmla="*/ 8 h 14"/>
                    <a:gd name="T6" fmla="*/ 11 w 106"/>
                    <a:gd name="T7" fmla="*/ 14 h 14"/>
                    <a:gd name="T8" fmla="*/ 94 w 106"/>
                    <a:gd name="T9" fmla="*/ 14 h 14"/>
                    <a:gd name="T10" fmla="*/ 106 w 106"/>
                    <a:gd name="T11" fmla="*/ 0 h 14"/>
                  </a:gdLst>
                  <a:ahLst/>
                  <a:cxnLst>
                    <a:cxn ang="0">
                      <a:pos x="T0" y="T1"/>
                    </a:cxn>
                    <a:cxn ang="0">
                      <a:pos x="T2" y="T3"/>
                    </a:cxn>
                    <a:cxn ang="0">
                      <a:pos x="T4" y="T5"/>
                    </a:cxn>
                    <a:cxn ang="0">
                      <a:pos x="T6" y="T7"/>
                    </a:cxn>
                    <a:cxn ang="0">
                      <a:pos x="T8" y="T9"/>
                    </a:cxn>
                    <a:cxn ang="0">
                      <a:pos x="T10" y="T11"/>
                    </a:cxn>
                  </a:cxnLst>
                  <a:rect l="0" t="0" r="r" b="b"/>
                  <a:pathLst>
                    <a:path w="106" h="14">
                      <a:moveTo>
                        <a:pt x="106" y="0"/>
                      </a:moveTo>
                      <a:cubicBezTo>
                        <a:pt x="0" y="0"/>
                        <a:pt x="0" y="0"/>
                        <a:pt x="0" y="0"/>
                      </a:cubicBezTo>
                      <a:cubicBezTo>
                        <a:pt x="2" y="3"/>
                        <a:pt x="3" y="5"/>
                        <a:pt x="5" y="8"/>
                      </a:cubicBezTo>
                      <a:cubicBezTo>
                        <a:pt x="7" y="10"/>
                        <a:pt x="9" y="12"/>
                        <a:pt x="11" y="14"/>
                      </a:cubicBezTo>
                      <a:cubicBezTo>
                        <a:pt x="94" y="14"/>
                        <a:pt x="94" y="14"/>
                        <a:pt x="94" y="14"/>
                      </a:cubicBezTo>
                      <a:cubicBezTo>
                        <a:pt x="99" y="10"/>
                        <a:pt x="102" y="5"/>
                        <a:pt x="106" y="0"/>
                      </a:cubicBezTo>
                    </a:path>
                  </a:pathLst>
                </a:custGeom>
                <a:solidFill>
                  <a:srgbClr val="C0DA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336" name="Freeform 146">
                  <a:extLst>
                    <a:ext uri="{FF2B5EF4-FFF2-40B4-BE49-F238E27FC236}">
                      <a16:creationId xmlns:a16="http://schemas.microsoft.com/office/drawing/2014/main" id="{B3F8B5F0-9B95-1186-3283-0DF8D1D7979B}"/>
                    </a:ext>
                  </a:extLst>
                </p:cNvPr>
                <p:cNvSpPr>
                  <a:spLocks/>
                </p:cNvSpPr>
                <p:nvPr/>
              </p:nvSpPr>
              <p:spPr bwMode="auto">
                <a:xfrm>
                  <a:off x="3190" y="2004"/>
                  <a:ext cx="1235" cy="30"/>
                </a:xfrm>
                <a:custGeom>
                  <a:avLst/>
                  <a:gdLst>
                    <a:gd name="T0" fmla="*/ 617 w 617"/>
                    <a:gd name="T1" fmla="*/ 0 h 15"/>
                    <a:gd name="T2" fmla="*/ 0 w 617"/>
                    <a:gd name="T3" fmla="*/ 0 h 15"/>
                    <a:gd name="T4" fmla="*/ 17 w 617"/>
                    <a:gd name="T5" fmla="*/ 15 h 15"/>
                    <a:gd name="T6" fmla="*/ 617 w 617"/>
                    <a:gd name="T7" fmla="*/ 15 h 15"/>
                    <a:gd name="T8" fmla="*/ 617 w 617"/>
                    <a:gd name="T9" fmla="*/ 0 h 15"/>
                  </a:gdLst>
                  <a:ahLst/>
                  <a:cxnLst>
                    <a:cxn ang="0">
                      <a:pos x="T0" y="T1"/>
                    </a:cxn>
                    <a:cxn ang="0">
                      <a:pos x="T2" y="T3"/>
                    </a:cxn>
                    <a:cxn ang="0">
                      <a:pos x="T4" y="T5"/>
                    </a:cxn>
                    <a:cxn ang="0">
                      <a:pos x="T6" y="T7"/>
                    </a:cxn>
                    <a:cxn ang="0">
                      <a:pos x="T8" y="T9"/>
                    </a:cxn>
                  </a:cxnLst>
                  <a:rect l="0" t="0" r="r" b="b"/>
                  <a:pathLst>
                    <a:path w="617" h="15">
                      <a:moveTo>
                        <a:pt x="617" y="0"/>
                      </a:moveTo>
                      <a:cubicBezTo>
                        <a:pt x="0" y="0"/>
                        <a:pt x="0" y="0"/>
                        <a:pt x="0" y="0"/>
                      </a:cubicBezTo>
                      <a:cubicBezTo>
                        <a:pt x="1" y="8"/>
                        <a:pt x="8" y="15"/>
                        <a:pt x="17" y="15"/>
                      </a:cubicBezTo>
                      <a:cubicBezTo>
                        <a:pt x="617" y="15"/>
                        <a:pt x="617" y="15"/>
                        <a:pt x="617" y="15"/>
                      </a:cubicBezTo>
                      <a:cubicBezTo>
                        <a:pt x="617" y="0"/>
                        <a:pt x="617" y="0"/>
                        <a:pt x="617" y="0"/>
                      </a:cubicBezTo>
                    </a:path>
                  </a:pathLst>
                </a:custGeom>
                <a:solidFill>
                  <a:srgbClr val="CEE5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337" name="Freeform 147">
                  <a:extLst>
                    <a:ext uri="{FF2B5EF4-FFF2-40B4-BE49-F238E27FC236}">
                      <a16:creationId xmlns:a16="http://schemas.microsoft.com/office/drawing/2014/main" id="{7DA32E9A-F217-DC24-DAD1-E9723BB5A788}"/>
                    </a:ext>
                  </a:extLst>
                </p:cNvPr>
                <p:cNvSpPr>
                  <a:spLocks/>
                </p:cNvSpPr>
                <p:nvPr/>
              </p:nvSpPr>
              <p:spPr bwMode="auto">
                <a:xfrm>
                  <a:off x="3190" y="1563"/>
                  <a:ext cx="1235" cy="441"/>
                </a:xfrm>
                <a:custGeom>
                  <a:avLst/>
                  <a:gdLst>
                    <a:gd name="T0" fmla="*/ 617 w 617"/>
                    <a:gd name="T1" fmla="*/ 0 h 220"/>
                    <a:gd name="T2" fmla="*/ 562 w 617"/>
                    <a:gd name="T3" fmla="*/ 0 h 220"/>
                    <a:gd name="T4" fmla="*/ 479 w 617"/>
                    <a:gd name="T5" fmla="*/ 0 h 220"/>
                    <a:gd name="T6" fmla="*/ 467 w 617"/>
                    <a:gd name="T7" fmla="*/ 0 h 220"/>
                    <a:gd name="T8" fmla="*/ 385 w 617"/>
                    <a:gd name="T9" fmla="*/ 0 h 220"/>
                    <a:gd name="T10" fmla="*/ 373 w 617"/>
                    <a:gd name="T11" fmla="*/ 0 h 220"/>
                    <a:gd name="T12" fmla="*/ 290 w 617"/>
                    <a:gd name="T13" fmla="*/ 0 h 220"/>
                    <a:gd name="T14" fmla="*/ 278 w 617"/>
                    <a:gd name="T15" fmla="*/ 0 h 220"/>
                    <a:gd name="T16" fmla="*/ 195 w 617"/>
                    <a:gd name="T17" fmla="*/ 0 h 220"/>
                    <a:gd name="T18" fmla="*/ 183 w 617"/>
                    <a:gd name="T19" fmla="*/ 0 h 220"/>
                    <a:gd name="T20" fmla="*/ 101 w 617"/>
                    <a:gd name="T21" fmla="*/ 0 h 220"/>
                    <a:gd name="T22" fmla="*/ 89 w 617"/>
                    <a:gd name="T23" fmla="*/ 0 h 220"/>
                    <a:gd name="T24" fmla="*/ 6 w 617"/>
                    <a:gd name="T25" fmla="*/ 0 h 220"/>
                    <a:gd name="T26" fmla="*/ 0 w 617"/>
                    <a:gd name="T27" fmla="*/ 0 h 220"/>
                    <a:gd name="T28" fmla="*/ 0 w 617"/>
                    <a:gd name="T29" fmla="*/ 3 h 220"/>
                    <a:gd name="T30" fmla="*/ 0 w 617"/>
                    <a:gd name="T31" fmla="*/ 218 h 220"/>
                    <a:gd name="T32" fmla="*/ 0 w 617"/>
                    <a:gd name="T33" fmla="*/ 220 h 220"/>
                    <a:gd name="T34" fmla="*/ 617 w 617"/>
                    <a:gd name="T35" fmla="*/ 220 h 220"/>
                    <a:gd name="T36" fmla="*/ 617 w 617"/>
                    <a:gd name="T37" fmla="*/ 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7" h="220">
                      <a:moveTo>
                        <a:pt x="617" y="0"/>
                      </a:moveTo>
                      <a:cubicBezTo>
                        <a:pt x="562" y="0"/>
                        <a:pt x="562" y="0"/>
                        <a:pt x="562" y="0"/>
                      </a:cubicBezTo>
                      <a:cubicBezTo>
                        <a:pt x="479" y="0"/>
                        <a:pt x="479" y="0"/>
                        <a:pt x="479" y="0"/>
                      </a:cubicBezTo>
                      <a:cubicBezTo>
                        <a:pt x="467" y="0"/>
                        <a:pt x="467" y="0"/>
                        <a:pt x="467" y="0"/>
                      </a:cubicBezTo>
                      <a:cubicBezTo>
                        <a:pt x="385" y="0"/>
                        <a:pt x="385" y="0"/>
                        <a:pt x="385" y="0"/>
                      </a:cubicBezTo>
                      <a:cubicBezTo>
                        <a:pt x="373" y="0"/>
                        <a:pt x="373" y="0"/>
                        <a:pt x="373" y="0"/>
                      </a:cubicBezTo>
                      <a:cubicBezTo>
                        <a:pt x="290" y="0"/>
                        <a:pt x="290" y="0"/>
                        <a:pt x="290" y="0"/>
                      </a:cubicBezTo>
                      <a:cubicBezTo>
                        <a:pt x="278" y="0"/>
                        <a:pt x="278" y="0"/>
                        <a:pt x="278" y="0"/>
                      </a:cubicBezTo>
                      <a:cubicBezTo>
                        <a:pt x="195" y="0"/>
                        <a:pt x="195" y="0"/>
                        <a:pt x="195" y="0"/>
                      </a:cubicBezTo>
                      <a:cubicBezTo>
                        <a:pt x="183" y="0"/>
                        <a:pt x="183" y="0"/>
                        <a:pt x="183" y="0"/>
                      </a:cubicBezTo>
                      <a:cubicBezTo>
                        <a:pt x="101" y="0"/>
                        <a:pt x="101" y="0"/>
                        <a:pt x="101" y="0"/>
                      </a:cubicBezTo>
                      <a:cubicBezTo>
                        <a:pt x="89" y="0"/>
                        <a:pt x="89" y="0"/>
                        <a:pt x="89" y="0"/>
                      </a:cubicBezTo>
                      <a:cubicBezTo>
                        <a:pt x="6" y="0"/>
                        <a:pt x="6" y="0"/>
                        <a:pt x="6" y="0"/>
                      </a:cubicBezTo>
                      <a:cubicBezTo>
                        <a:pt x="0" y="0"/>
                        <a:pt x="0" y="0"/>
                        <a:pt x="0" y="0"/>
                      </a:cubicBezTo>
                      <a:cubicBezTo>
                        <a:pt x="0" y="1"/>
                        <a:pt x="0" y="2"/>
                        <a:pt x="0" y="3"/>
                      </a:cubicBezTo>
                      <a:cubicBezTo>
                        <a:pt x="0" y="218"/>
                        <a:pt x="0" y="218"/>
                        <a:pt x="0" y="218"/>
                      </a:cubicBezTo>
                      <a:cubicBezTo>
                        <a:pt x="0" y="219"/>
                        <a:pt x="0" y="219"/>
                        <a:pt x="0" y="220"/>
                      </a:cubicBezTo>
                      <a:cubicBezTo>
                        <a:pt x="617" y="220"/>
                        <a:pt x="617" y="220"/>
                        <a:pt x="617" y="220"/>
                      </a:cubicBezTo>
                      <a:cubicBezTo>
                        <a:pt x="617" y="0"/>
                        <a:pt x="617" y="0"/>
                        <a:pt x="617" y="0"/>
                      </a:cubicBezTo>
                    </a:path>
                  </a:pathLst>
                </a:custGeom>
                <a:solidFill>
                  <a:srgbClr val="D3D4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338" name="Freeform 148">
                  <a:extLst>
                    <a:ext uri="{FF2B5EF4-FFF2-40B4-BE49-F238E27FC236}">
                      <a16:creationId xmlns:a16="http://schemas.microsoft.com/office/drawing/2014/main" id="{27FF716D-E07D-D66B-17B0-EC68775177B2}"/>
                    </a:ext>
                  </a:extLst>
                </p:cNvPr>
                <p:cNvSpPr>
                  <a:spLocks/>
                </p:cNvSpPr>
                <p:nvPr/>
              </p:nvSpPr>
              <p:spPr bwMode="auto">
                <a:xfrm>
                  <a:off x="4425" y="1535"/>
                  <a:ext cx="8" cy="499"/>
                </a:xfrm>
                <a:custGeom>
                  <a:avLst/>
                  <a:gdLst>
                    <a:gd name="T0" fmla="*/ 8 w 8"/>
                    <a:gd name="T1" fmla="*/ 0 h 499"/>
                    <a:gd name="T2" fmla="*/ 0 w 8"/>
                    <a:gd name="T3" fmla="*/ 0 h 499"/>
                    <a:gd name="T4" fmla="*/ 0 w 8"/>
                    <a:gd name="T5" fmla="*/ 28 h 499"/>
                    <a:gd name="T6" fmla="*/ 0 w 8"/>
                    <a:gd name="T7" fmla="*/ 469 h 499"/>
                    <a:gd name="T8" fmla="*/ 0 w 8"/>
                    <a:gd name="T9" fmla="*/ 499 h 499"/>
                    <a:gd name="T10" fmla="*/ 8 w 8"/>
                    <a:gd name="T11" fmla="*/ 499 h 499"/>
                    <a:gd name="T12" fmla="*/ 8 w 8"/>
                    <a:gd name="T13" fmla="*/ 469 h 499"/>
                    <a:gd name="T14" fmla="*/ 8 w 8"/>
                    <a:gd name="T15" fmla="*/ 28 h 499"/>
                    <a:gd name="T16" fmla="*/ 8 w 8"/>
                    <a:gd name="T17" fmla="*/ 0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499">
                      <a:moveTo>
                        <a:pt x="8" y="0"/>
                      </a:moveTo>
                      <a:lnTo>
                        <a:pt x="0" y="0"/>
                      </a:lnTo>
                      <a:lnTo>
                        <a:pt x="0" y="28"/>
                      </a:lnTo>
                      <a:lnTo>
                        <a:pt x="0" y="469"/>
                      </a:lnTo>
                      <a:lnTo>
                        <a:pt x="0" y="499"/>
                      </a:lnTo>
                      <a:lnTo>
                        <a:pt x="8" y="499"/>
                      </a:lnTo>
                      <a:lnTo>
                        <a:pt x="8" y="469"/>
                      </a:lnTo>
                      <a:lnTo>
                        <a:pt x="8" y="28"/>
                      </a:lnTo>
                      <a:lnTo>
                        <a:pt x="8" y="0"/>
                      </a:lnTo>
                      <a:close/>
                    </a:path>
                  </a:pathLst>
                </a:custGeom>
                <a:solidFill>
                  <a:srgbClr val="918F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339" name="Freeform 149">
                  <a:extLst>
                    <a:ext uri="{FF2B5EF4-FFF2-40B4-BE49-F238E27FC236}">
                      <a16:creationId xmlns:a16="http://schemas.microsoft.com/office/drawing/2014/main" id="{FD37853F-705A-7C03-E1D6-7862211FD9A1}"/>
                    </a:ext>
                  </a:extLst>
                </p:cNvPr>
                <p:cNvSpPr>
                  <a:spLocks/>
                </p:cNvSpPr>
                <p:nvPr/>
              </p:nvSpPr>
              <p:spPr bwMode="auto">
                <a:xfrm>
                  <a:off x="4425" y="1535"/>
                  <a:ext cx="8" cy="499"/>
                </a:xfrm>
                <a:custGeom>
                  <a:avLst/>
                  <a:gdLst>
                    <a:gd name="T0" fmla="*/ 8 w 8"/>
                    <a:gd name="T1" fmla="*/ 0 h 499"/>
                    <a:gd name="T2" fmla="*/ 0 w 8"/>
                    <a:gd name="T3" fmla="*/ 0 h 499"/>
                    <a:gd name="T4" fmla="*/ 0 w 8"/>
                    <a:gd name="T5" fmla="*/ 28 h 499"/>
                    <a:gd name="T6" fmla="*/ 0 w 8"/>
                    <a:gd name="T7" fmla="*/ 469 h 499"/>
                    <a:gd name="T8" fmla="*/ 0 w 8"/>
                    <a:gd name="T9" fmla="*/ 499 h 499"/>
                    <a:gd name="T10" fmla="*/ 8 w 8"/>
                    <a:gd name="T11" fmla="*/ 499 h 499"/>
                    <a:gd name="T12" fmla="*/ 8 w 8"/>
                    <a:gd name="T13" fmla="*/ 469 h 499"/>
                    <a:gd name="T14" fmla="*/ 8 w 8"/>
                    <a:gd name="T15" fmla="*/ 28 h 499"/>
                    <a:gd name="T16" fmla="*/ 8 w 8"/>
                    <a:gd name="T17" fmla="*/ 0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499">
                      <a:moveTo>
                        <a:pt x="8" y="0"/>
                      </a:moveTo>
                      <a:lnTo>
                        <a:pt x="0" y="0"/>
                      </a:lnTo>
                      <a:lnTo>
                        <a:pt x="0" y="28"/>
                      </a:lnTo>
                      <a:lnTo>
                        <a:pt x="0" y="469"/>
                      </a:lnTo>
                      <a:lnTo>
                        <a:pt x="0" y="499"/>
                      </a:lnTo>
                      <a:lnTo>
                        <a:pt x="8" y="499"/>
                      </a:lnTo>
                      <a:lnTo>
                        <a:pt x="8" y="469"/>
                      </a:lnTo>
                      <a:lnTo>
                        <a:pt x="8" y="2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340" name="Freeform 150">
                  <a:extLst>
                    <a:ext uri="{FF2B5EF4-FFF2-40B4-BE49-F238E27FC236}">
                      <a16:creationId xmlns:a16="http://schemas.microsoft.com/office/drawing/2014/main" id="{635EFE51-27CC-3703-7B51-958AC17255C8}"/>
                    </a:ext>
                  </a:extLst>
                </p:cNvPr>
                <p:cNvSpPr>
                  <a:spLocks/>
                </p:cNvSpPr>
                <p:nvPr/>
              </p:nvSpPr>
              <p:spPr bwMode="auto">
                <a:xfrm>
                  <a:off x="5596" y="3021"/>
                  <a:ext cx="271" cy="705"/>
                </a:xfrm>
                <a:custGeom>
                  <a:avLst/>
                  <a:gdLst>
                    <a:gd name="T0" fmla="*/ 0 w 135"/>
                    <a:gd name="T1" fmla="*/ 295 h 352"/>
                    <a:gd name="T2" fmla="*/ 58 w 135"/>
                    <a:gd name="T3" fmla="*/ 352 h 352"/>
                    <a:gd name="T4" fmla="*/ 77 w 135"/>
                    <a:gd name="T5" fmla="*/ 352 h 352"/>
                    <a:gd name="T6" fmla="*/ 135 w 135"/>
                    <a:gd name="T7" fmla="*/ 295 h 352"/>
                    <a:gd name="T8" fmla="*/ 135 w 135"/>
                    <a:gd name="T9" fmla="*/ 54 h 352"/>
                    <a:gd name="T10" fmla="*/ 77 w 135"/>
                    <a:gd name="T11" fmla="*/ 0 h 352"/>
                    <a:gd name="T12" fmla="*/ 58 w 135"/>
                    <a:gd name="T13" fmla="*/ 0 h 352"/>
                    <a:gd name="T14" fmla="*/ 0 w 135"/>
                    <a:gd name="T15" fmla="*/ 54 h 352"/>
                    <a:gd name="T16" fmla="*/ 0 w 135"/>
                    <a:gd name="T17" fmla="*/ 295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5" h="352">
                      <a:moveTo>
                        <a:pt x="0" y="295"/>
                      </a:moveTo>
                      <a:cubicBezTo>
                        <a:pt x="0" y="326"/>
                        <a:pt x="26" y="352"/>
                        <a:pt x="58" y="352"/>
                      </a:cubicBezTo>
                      <a:cubicBezTo>
                        <a:pt x="77" y="352"/>
                        <a:pt x="77" y="352"/>
                        <a:pt x="77" y="352"/>
                      </a:cubicBezTo>
                      <a:cubicBezTo>
                        <a:pt x="109" y="352"/>
                        <a:pt x="135" y="326"/>
                        <a:pt x="135" y="295"/>
                      </a:cubicBezTo>
                      <a:cubicBezTo>
                        <a:pt x="135" y="54"/>
                        <a:pt x="135" y="54"/>
                        <a:pt x="135" y="54"/>
                      </a:cubicBezTo>
                      <a:cubicBezTo>
                        <a:pt x="135" y="23"/>
                        <a:pt x="109" y="0"/>
                        <a:pt x="77" y="0"/>
                      </a:cubicBezTo>
                      <a:cubicBezTo>
                        <a:pt x="58" y="0"/>
                        <a:pt x="58" y="0"/>
                        <a:pt x="58" y="0"/>
                      </a:cubicBezTo>
                      <a:cubicBezTo>
                        <a:pt x="26" y="0"/>
                        <a:pt x="0" y="23"/>
                        <a:pt x="0" y="54"/>
                      </a:cubicBezTo>
                      <a:cubicBezTo>
                        <a:pt x="0" y="295"/>
                        <a:pt x="0" y="295"/>
                        <a:pt x="0" y="295"/>
                      </a:cubicBezTo>
                    </a:path>
                  </a:pathLst>
                </a:custGeom>
                <a:solidFill>
                  <a:srgbClr val="3535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341" name="Freeform 151">
                  <a:extLst>
                    <a:ext uri="{FF2B5EF4-FFF2-40B4-BE49-F238E27FC236}">
                      <a16:creationId xmlns:a16="http://schemas.microsoft.com/office/drawing/2014/main" id="{C51C0826-0449-D44A-16B9-E192F9898E77}"/>
                    </a:ext>
                  </a:extLst>
                </p:cNvPr>
                <p:cNvSpPr>
                  <a:spLocks/>
                </p:cNvSpPr>
                <p:nvPr/>
              </p:nvSpPr>
              <p:spPr bwMode="auto">
                <a:xfrm>
                  <a:off x="5869" y="3113"/>
                  <a:ext cx="8" cy="95"/>
                </a:xfrm>
                <a:custGeom>
                  <a:avLst/>
                  <a:gdLst>
                    <a:gd name="T0" fmla="*/ 0 w 4"/>
                    <a:gd name="T1" fmla="*/ 0 h 47"/>
                    <a:gd name="T2" fmla="*/ 4 w 4"/>
                    <a:gd name="T3" fmla="*/ 21 h 47"/>
                    <a:gd name="T4" fmla="*/ 2 w 4"/>
                    <a:gd name="T5" fmla="*/ 47 h 47"/>
                    <a:gd name="T6" fmla="*/ 0 w 4"/>
                    <a:gd name="T7" fmla="*/ 24 h 47"/>
                    <a:gd name="T8" fmla="*/ 0 w 4"/>
                    <a:gd name="T9" fmla="*/ 0 h 47"/>
                  </a:gdLst>
                  <a:ahLst/>
                  <a:cxnLst>
                    <a:cxn ang="0">
                      <a:pos x="T0" y="T1"/>
                    </a:cxn>
                    <a:cxn ang="0">
                      <a:pos x="T2" y="T3"/>
                    </a:cxn>
                    <a:cxn ang="0">
                      <a:pos x="T4" y="T5"/>
                    </a:cxn>
                    <a:cxn ang="0">
                      <a:pos x="T6" y="T7"/>
                    </a:cxn>
                    <a:cxn ang="0">
                      <a:pos x="T8" y="T9"/>
                    </a:cxn>
                  </a:cxnLst>
                  <a:rect l="0" t="0" r="r" b="b"/>
                  <a:pathLst>
                    <a:path w="4" h="47">
                      <a:moveTo>
                        <a:pt x="0" y="0"/>
                      </a:moveTo>
                      <a:cubicBezTo>
                        <a:pt x="0" y="0"/>
                        <a:pt x="3" y="7"/>
                        <a:pt x="4" y="21"/>
                      </a:cubicBezTo>
                      <a:cubicBezTo>
                        <a:pt x="4" y="29"/>
                        <a:pt x="2" y="47"/>
                        <a:pt x="2" y="47"/>
                      </a:cubicBezTo>
                      <a:cubicBezTo>
                        <a:pt x="2" y="47"/>
                        <a:pt x="1" y="36"/>
                        <a:pt x="0" y="24"/>
                      </a:cubicBezTo>
                      <a:cubicBezTo>
                        <a:pt x="0" y="12"/>
                        <a:pt x="0" y="0"/>
                        <a:pt x="0"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342" name="Freeform 152">
                  <a:extLst>
                    <a:ext uri="{FF2B5EF4-FFF2-40B4-BE49-F238E27FC236}">
                      <a16:creationId xmlns:a16="http://schemas.microsoft.com/office/drawing/2014/main" id="{2BBBA374-8DEC-DFB1-860E-8583DD9226B4}"/>
                    </a:ext>
                  </a:extLst>
                </p:cNvPr>
                <p:cNvSpPr>
                  <a:spLocks/>
                </p:cNvSpPr>
                <p:nvPr/>
              </p:nvSpPr>
              <p:spPr bwMode="auto">
                <a:xfrm>
                  <a:off x="5576" y="3113"/>
                  <a:ext cx="10" cy="95"/>
                </a:xfrm>
                <a:custGeom>
                  <a:avLst/>
                  <a:gdLst>
                    <a:gd name="T0" fmla="*/ 5 w 5"/>
                    <a:gd name="T1" fmla="*/ 0 h 47"/>
                    <a:gd name="T2" fmla="*/ 1 w 5"/>
                    <a:gd name="T3" fmla="*/ 21 h 47"/>
                    <a:gd name="T4" fmla="*/ 2 w 5"/>
                    <a:gd name="T5" fmla="*/ 47 h 47"/>
                    <a:gd name="T6" fmla="*/ 4 w 5"/>
                    <a:gd name="T7" fmla="*/ 24 h 47"/>
                    <a:gd name="T8" fmla="*/ 5 w 5"/>
                    <a:gd name="T9" fmla="*/ 0 h 47"/>
                  </a:gdLst>
                  <a:ahLst/>
                  <a:cxnLst>
                    <a:cxn ang="0">
                      <a:pos x="T0" y="T1"/>
                    </a:cxn>
                    <a:cxn ang="0">
                      <a:pos x="T2" y="T3"/>
                    </a:cxn>
                    <a:cxn ang="0">
                      <a:pos x="T4" y="T5"/>
                    </a:cxn>
                    <a:cxn ang="0">
                      <a:pos x="T6" y="T7"/>
                    </a:cxn>
                    <a:cxn ang="0">
                      <a:pos x="T8" y="T9"/>
                    </a:cxn>
                  </a:cxnLst>
                  <a:rect l="0" t="0" r="r" b="b"/>
                  <a:pathLst>
                    <a:path w="5" h="47">
                      <a:moveTo>
                        <a:pt x="5" y="0"/>
                      </a:moveTo>
                      <a:cubicBezTo>
                        <a:pt x="5" y="0"/>
                        <a:pt x="2" y="7"/>
                        <a:pt x="1" y="21"/>
                      </a:cubicBezTo>
                      <a:cubicBezTo>
                        <a:pt x="0" y="29"/>
                        <a:pt x="2" y="47"/>
                        <a:pt x="2" y="47"/>
                      </a:cubicBezTo>
                      <a:cubicBezTo>
                        <a:pt x="2" y="47"/>
                        <a:pt x="3" y="36"/>
                        <a:pt x="4" y="24"/>
                      </a:cubicBezTo>
                      <a:cubicBezTo>
                        <a:pt x="5" y="12"/>
                        <a:pt x="5" y="0"/>
                        <a:pt x="5"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pic>
              <p:nvPicPr>
                <p:cNvPr id="1343" name="Picture 153">
                  <a:extLst>
                    <a:ext uri="{FF2B5EF4-FFF2-40B4-BE49-F238E27FC236}">
                      <a16:creationId xmlns:a16="http://schemas.microsoft.com/office/drawing/2014/main" id="{D3F36605-270F-8DD4-F83D-94975CDD5068}"/>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5570" y="3011"/>
                  <a:ext cx="313" cy="2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44" name="Picture 154">
                  <a:extLst>
                    <a:ext uri="{FF2B5EF4-FFF2-40B4-BE49-F238E27FC236}">
                      <a16:creationId xmlns:a16="http://schemas.microsoft.com/office/drawing/2014/main" id="{80504C4B-FB9D-D67C-95DA-364A296D974E}"/>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5628" y="3009"/>
                  <a:ext cx="199" cy="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45" name="Picture 155">
                  <a:extLst>
                    <a:ext uri="{FF2B5EF4-FFF2-40B4-BE49-F238E27FC236}">
                      <a16:creationId xmlns:a16="http://schemas.microsoft.com/office/drawing/2014/main" id="{3DE5EB10-CFEC-234B-6A85-532B932FC9C4}"/>
                    </a:ext>
                  </a:extLst>
                </p:cNvPr>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5566" y="3250"/>
                  <a:ext cx="319" cy="4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46" name="Picture 156">
                  <a:extLst>
                    <a:ext uri="{FF2B5EF4-FFF2-40B4-BE49-F238E27FC236}">
                      <a16:creationId xmlns:a16="http://schemas.microsoft.com/office/drawing/2014/main" id="{7DE4CE9C-A338-7E75-353A-E65481D100E8}"/>
                    </a:ext>
                  </a:extLst>
                </p:cNvPr>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5819" y="3232"/>
                  <a:ext cx="54" cy="3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47" name="Freeform 157">
                  <a:extLst>
                    <a:ext uri="{FF2B5EF4-FFF2-40B4-BE49-F238E27FC236}">
                      <a16:creationId xmlns:a16="http://schemas.microsoft.com/office/drawing/2014/main" id="{2B2D34FB-1E45-E039-F047-33A38EC8A6D6}"/>
                    </a:ext>
                  </a:extLst>
                </p:cNvPr>
                <p:cNvSpPr>
                  <a:spLocks/>
                </p:cNvSpPr>
                <p:nvPr/>
              </p:nvSpPr>
              <p:spPr bwMode="auto">
                <a:xfrm>
                  <a:off x="5875" y="3494"/>
                  <a:ext cx="2" cy="30"/>
                </a:xfrm>
                <a:custGeom>
                  <a:avLst/>
                  <a:gdLst>
                    <a:gd name="T0" fmla="*/ 1 w 1"/>
                    <a:gd name="T1" fmla="*/ 0 h 15"/>
                    <a:gd name="T2" fmla="*/ 1 w 1"/>
                    <a:gd name="T3" fmla="*/ 0 h 15"/>
                    <a:gd name="T4" fmla="*/ 0 w 1"/>
                    <a:gd name="T5" fmla="*/ 15 h 15"/>
                    <a:gd name="T6" fmla="*/ 0 w 1"/>
                    <a:gd name="T7" fmla="*/ 15 h 15"/>
                    <a:gd name="T8" fmla="*/ 1 w 1"/>
                    <a:gd name="T9" fmla="*/ 0 h 15"/>
                  </a:gdLst>
                  <a:ahLst/>
                  <a:cxnLst>
                    <a:cxn ang="0">
                      <a:pos x="T0" y="T1"/>
                    </a:cxn>
                    <a:cxn ang="0">
                      <a:pos x="T2" y="T3"/>
                    </a:cxn>
                    <a:cxn ang="0">
                      <a:pos x="T4" y="T5"/>
                    </a:cxn>
                    <a:cxn ang="0">
                      <a:pos x="T6" y="T7"/>
                    </a:cxn>
                    <a:cxn ang="0">
                      <a:pos x="T8" y="T9"/>
                    </a:cxn>
                  </a:cxnLst>
                  <a:rect l="0" t="0" r="r" b="b"/>
                  <a:pathLst>
                    <a:path w="1" h="15">
                      <a:moveTo>
                        <a:pt x="1" y="0"/>
                      </a:moveTo>
                      <a:cubicBezTo>
                        <a:pt x="1" y="0"/>
                        <a:pt x="1" y="0"/>
                        <a:pt x="1" y="0"/>
                      </a:cubicBezTo>
                      <a:cubicBezTo>
                        <a:pt x="1" y="7"/>
                        <a:pt x="0" y="11"/>
                        <a:pt x="0" y="15"/>
                      </a:cubicBezTo>
                      <a:cubicBezTo>
                        <a:pt x="0" y="15"/>
                        <a:pt x="0" y="15"/>
                        <a:pt x="0" y="15"/>
                      </a:cubicBezTo>
                      <a:cubicBezTo>
                        <a:pt x="0" y="11"/>
                        <a:pt x="1" y="7"/>
                        <a:pt x="1" y="0"/>
                      </a:cubicBezTo>
                    </a:path>
                  </a:pathLst>
                </a:custGeom>
                <a:solidFill>
                  <a:srgbClr val="393B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pic>
              <p:nvPicPr>
                <p:cNvPr id="1348" name="Picture 158">
                  <a:extLst>
                    <a:ext uri="{FF2B5EF4-FFF2-40B4-BE49-F238E27FC236}">
                      <a16:creationId xmlns:a16="http://schemas.microsoft.com/office/drawing/2014/main" id="{34FA6C23-741D-EFD6-71BA-07B5A24F0809}"/>
                    </a:ext>
                  </a:extLst>
                </p:cNvPr>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5863" y="3482"/>
                  <a:ext cx="24" cy="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49" name="Picture 159">
                  <a:extLst>
                    <a:ext uri="{FF2B5EF4-FFF2-40B4-BE49-F238E27FC236}">
                      <a16:creationId xmlns:a16="http://schemas.microsoft.com/office/drawing/2014/main" id="{A73D341B-6672-1AFA-79E3-E52EB6E89A54}"/>
                    </a:ext>
                  </a:extLst>
                </p:cNvPr>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5580" y="3232"/>
                  <a:ext cx="54" cy="3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50" name="Freeform 160">
                  <a:extLst>
                    <a:ext uri="{FF2B5EF4-FFF2-40B4-BE49-F238E27FC236}">
                      <a16:creationId xmlns:a16="http://schemas.microsoft.com/office/drawing/2014/main" id="{4A981096-4F5F-1316-B0B0-BC5C784B838E}"/>
                    </a:ext>
                  </a:extLst>
                </p:cNvPr>
                <p:cNvSpPr>
                  <a:spLocks/>
                </p:cNvSpPr>
                <p:nvPr/>
              </p:nvSpPr>
              <p:spPr bwMode="auto">
                <a:xfrm>
                  <a:off x="5624" y="3556"/>
                  <a:ext cx="205" cy="102"/>
                </a:xfrm>
                <a:custGeom>
                  <a:avLst/>
                  <a:gdLst>
                    <a:gd name="T0" fmla="*/ 1 w 102"/>
                    <a:gd name="T1" fmla="*/ 35 h 51"/>
                    <a:gd name="T2" fmla="*/ 7 w 102"/>
                    <a:gd name="T3" fmla="*/ 1 h 51"/>
                    <a:gd name="T4" fmla="*/ 9 w 102"/>
                    <a:gd name="T5" fmla="*/ 0 h 51"/>
                    <a:gd name="T6" fmla="*/ 51 w 102"/>
                    <a:gd name="T7" fmla="*/ 8 h 51"/>
                    <a:gd name="T8" fmla="*/ 94 w 102"/>
                    <a:gd name="T9" fmla="*/ 0 h 51"/>
                    <a:gd name="T10" fmla="*/ 95 w 102"/>
                    <a:gd name="T11" fmla="*/ 1 h 51"/>
                    <a:gd name="T12" fmla="*/ 102 w 102"/>
                    <a:gd name="T13" fmla="*/ 35 h 51"/>
                    <a:gd name="T14" fmla="*/ 101 w 102"/>
                    <a:gd name="T15" fmla="*/ 37 h 51"/>
                    <a:gd name="T16" fmla="*/ 78 w 102"/>
                    <a:gd name="T17" fmla="*/ 48 h 51"/>
                    <a:gd name="T18" fmla="*/ 51 w 102"/>
                    <a:gd name="T19" fmla="*/ 51 h 51"/>
                    <a:gd name="T20" fmla="*/ 51 w 102"/>
                    <a:gd name="T21" fmla="*/ 51 h 51"/>
                    <a:gd name="T22" fmla="*/ 24 w 102"/>
                    <a:gd name="T23" fmla="*/ 48 h 51"/>
                    <a:gd name="T24" fmla="*/ 1 w 102"/>
                    <a:gd name="T25" fmla="*/ 37 h 51"/>
                    <a:gd name="T26" fmla="*/ 1 w 102"/>
                    <a:gd name="T27" fmla="*/ 3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2" h="51">
                      <a:moveTo>
                        <a:pt x="1" y="35"/>
                      </a:moveTo>
                      <a:cubicBezTo>
                        <a:pt x="7" y="1"/>
                        <a:pt x="7" y="1"/>
                        <a:pt x="7" y="1"/>
                      </a:cubicBezTo>
                      <a:cubicBezTo>
                        <a:pt x="8" y="0"/>
                        <a:pt x="8" y="0"/>
                        <a:pt x="9" y="0"/>
                      </a:cubicBezTo>
                      <a:cubicBezTo>
                        <a:pt x="11" y="2"/>
                        <a:pt x="23" y="8"/>
                        <a:pt x="51" y="8"/>
                      </a:cubicBezTo>
                      <a:cubicBezTo>
                        <a:pt x="79" y="8"/>
                        <a:pt x="91" y="2"/>
                        <a:pt x="94" y="0"/>
                      </a:cubicBezTo>
                      <a:cubicBezTo>
                        <a:pt x="94" y="0"/>
                        <a:pt x="95" y="0"/>
                        <a:pt x="95" y="1"/>
                      </a:cubicBezTo>
                      <a:cubicBezTo>
                        <a:pt x="102" y="35"/>
                        <a:pt x="102" y="35"/>
                        <a:pt x="102" y="35"/>
                      </a:cubicBezTo>
                      <a:cubicBezTo>
                        <a:pt x="102" y="36"/>
                        <a:pt x="102" y="37"/>
                        <a:pt x="101" y="37"/>
                      </a:cubicBezTo>
                      <a:cubicBezTo>
                        <a:pt x="98" y="39"/>
                        <a:pt x="90" y="45"/>
                        <a:pt x="78" y="48"/>
                      </a:cubicBezTo>
                      <a:cubicBezTo>
                        <a:pt x="65" y="51"/>
                        <a:pt x="51" y="51"/>
                        <a:pt x="51" y="51"/>
                      </a:cubicBezTo>
                      <a:cubicBezTo>
                        <a:pt x="51" y="51"/>
                        <a:pt x="51" y="51"/>
                        <a:pt x="51" y="51"/>
                      </a:cubicBezTo>
                      <a:cubicBezTo>
                        <a:pt x="51" y="51"/>
                        <a:pt x="38" y="51"/>
                        <a:pt x="24" y="48"/>
                      </a:cubicBezTo>
                      <a:cubicBezTo>
                        <a:pt x="12" y="45"/>
                        <a:pt x="4" y="39"/>
                        <a:pt x="1" y="37"/>
                      </a:cubicBezTo>
                      <a:cubicBezTo>
                        <a:pt x="1" y="37"/>
                        <a:pt x="0" y="36"/>
                        <a:pt x="1" y="35"/>
                      </a:cubicBezTo>
                      <a:close/>
                    </a:path>
                  </a:pathLst>
                </a:custGeom>
                <a:solidFill>
                  <a:srgbClr val="0303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pic>
              <p:nvPicPr>
                <p:cNvPr id="1351" name="Picture 161">
                  <a:extLst>
                    <a:ext uri="{FF2B5EF4-FFF2-40B4-BE49-F238E27FC236}">
                      <a16:creationId xmlns:a16="http://schemas.microsoft.com/office/drawing/2014/main" id="{E1E71ECB-46D5-FF11-C95B-0A8E768CE9A9}"/>
                    </a:ext>
                  </a:extLst>
                </p:cNvPr>
                <p:cNvPicPr>
                  <a:picLocks noChangeAspect="1"/>
                </p:cNvPicPr>
                <p:nvPr/>
              </p:nvPicPr>
              <p:blipFill>
                <a:blip r:embed="rId12">
                  <a:extLst>
                    <a:ext uri="{28A0092B-C50C-407E-A947-70E740481C1C}">
                      <a14:useLocalDpi xmlns:a14="http://schemas.microsoft.com/office/drawing/2010/main" val="0"/>
                    </a:ext>
                  </a:extLst>
                </a:blip>
                <a:srcRect/>
                <a:stretch>
                  <a:fillRect/>
                </a:stretch>
              </p:blipFill>
              <p:spPr bwMode="auto">
                <a:xfrm>
                  <a:off x="5622" y="3552"/>
                  <a:ext cx="211" cy="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52" name="Picture 162">
                  <a:extLst>
                    <a:ext uri="{FF2B5EF4-FFF2-40B4-BE49-F238E27FC236}">
                      <a16:creationId xmlns:a16="http://schemas.microsoft.com/office/drawing/2014/main" id="{091E8923-10DC-3EC9-96BC-AF0848404F8C}"/>
                    </a:ext>
                  </a:extLst>
                </p:cNvPr>
                <p:cNvPicPr>
                  <a:picLocks noChangeAspect="1"/>
                </p:cNvPicPr>
                <p:nvPr/>
              </p:nvPicPr>
              <p:blipFill>
                <a:blip r:embed="rId13">
                  <a:extLst>
                    <a:ext uri="{28A0092B-C50C-407E-A947-70E740481C1C}">
                      <a14:useLocalDpi xmlns:a14="http://schemas.microsoft.com/office/drawing/2010/main" val="0"/>
                    </a:ext>
                  </a:extLst>
                </a:blip>
                <a:srcRect/>
                <a:stretch>
                  <a:fillRect/>
                </a:stretch>
              </p:blipFill>
              <p:spPr bwMode="auto">
                <a:xfrm>
                  <a:off x="5608" y="3622"/>
                  <a:ext cx="235" cy="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53" name="Picture 163">
                  <a:extLst>
                    <a:ext uri="{FF2B5EF4-FFF2-40B4-BE49-F238E27FC236}">
                      <a16:creationId xmlns:a16="http://schemas.microsoft.com/office/drawing/2014/main" id="{D155FAA4-9673-500F-4769-3D1B76C01EB3}"/>
                    </a:ext>
                  </a:extLst>
                </p:cNvPr>
                <p:cNvPicPr>
                  <a:picLocks noChangeAspect="1"/>
                </p:cNvPicPr>
                <p:nvPr/>
              </p:nvPicPr>
              <p:blipFill>
                <a:blip r:embed="rId14">
                  <a:extLst>
                    <a:ext uri="{28A0092B-C50C-407E-A947-70E740481C1C}">
                      <a14:useLocalDpi xmlns:a14="http://schemas.microsoft.com/office/drawing/2010/main" val="0"/>
                    </a:ext>
                  </a:extLst>
                </a:blip>
                <a:srcRect/>
                <a:stretch>
                  <a:fillRect/>
                </a:stretch>
              </p:blipFill>
              <p:spPr bwMode="auto">
                <a:xfrm>
                  <a:off x="5580" y="3258"/>
                  <a:ext cx="34" cy="3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54" name="Picture 164">
                  <a:extLst>
                    <a:ext uri="{FF2B5EF4-FFF2-40B4-BE49-F238E27FC236}">
                      <a16:creationId xmlns:a16="http://schemas.microsoft.com/office/drawing/2014/main" id="{EE5C8EEC-9B78-7F39-1310-8636C91EA835}"/>
                    </a:ext>
                  </a:extLst>
                </p:cNvPr>
                <p:cNvPicPr>
                  <a:picLocks noChangeAspect="1"/>
                </p:cNvPicPr>
                <p:nvPr/>
              </p:nvPicPr>
              <p:blipFill>
                <a:blip r:embed="rId15">
                  <a:extLst>
                    <a:ext uri="{28A0092B-C50C-407E-A947-70E740481C1C}">
                      <a14:useLocalDpi xmlns:a14="http://schemas.microsoft.com/office/drawing/2010/main" val="0"/>
                    </a:ext>
                  </a:extLst>
                </a:blip>
                <a:srcRect/>
                <a:stretch>
                  <a:fillRect/>
                </a:stretch>
              </p:blipFill>
              <p:spPr bwMode="auto">
                <a:xfrm>
                  <a:off x="5608" y="3324"/>
                  <a:ext cx="18" cy="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55" name="Picture 165">
                  <a:extLst>
                    <a:ext uri="{FF2B5EF4-FFF2-40B4-BE49-F238E27FC236}">
                      <a16:creationId xmlns:a16="http://schemas.microsoft.com/office/drawing/2014/main" id="{CFFC1BF7-239A-88C5-A784-27ED5254D6A7}"/>
                    </a:ext>
                  </a:extLst>
                </p:cNvPr>
                <p:cNvPicPr>
                  <a:picLocks noChangeAspect="1"/>
                </p:cNvPicPr>
                <p:nvPr/>
              </p:nvPicPr>
              <p:blipFill>
                <a:blip r:embed="rId16">
                  <a:extLst>
                    <a:ext uri="{28A0092B-C50C-407E-A947-70E740481C1C}">
                      <a14:useLocalDpi xmlns:a14="http://schemas.microsoft.com/office/drawing/2010/main" val="0"/>
                    </a:ext>
                  </a:extLst>
                </a:blip>
                <a:srcRect/>
                <a:stretch>
                  <a:fillRect/>
                </a:stretch>
              </p:blipFill>
              <p:spPr bwMode="auto">
                <a:xfrm>
                  <a:off x="5604" y="3324"/>
                  <a:ext cx="26" cy="2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56" name="Picture 166">
                  <a:extLst>
                    <a:ext uri="{FF2B5EF4-FFF2-40B4-BE49-F238E27FC236}">
                      <a16:creationId xmlns:a16="http://schemas.microsoft.com/office/drawing/2014/main" id="{4B3C698A-7F95-FABA-A8FE-26F4C510290F}"/>
                    </a:ext>
                  </a:extLst>
                </p:cNvPr>
                <p:cNvPicPr>
                  <a:picLocks noChangeAspect="1"/>
                </p:cNvPicPr>
                <p:nvPr/>
              </p:nvPicPr>
              <p:blipFill>
                <a:blip r:embed="rId17">
                  <a:extLst>
                    <a:ext uri="{28A0092B-C50C-407E-A947-70E740481C1C}">
                      <a14:useLocalDpi xmlns:a14="http://schemas.microsoft.com/office/drawing/2010/main" val="0"/>
                    </a:ext>
                  </a:extLst>
                </a:blip>
                <a:srcRect/>
                <a:stretch>
                  <a:fillRect/>
                </a:stretch>
              </p:blipFill>
              <p:spPr bwMode="auto">
                <a:xfrm>
                  <a:off x="5604" y="3424"/>
                  <a:ext cx="10" cy="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57" name="Picture 167">
                  <a:extLst>
                    <a:ext uri="{FF2B5EF4-FFF2-40B4-BE49-F238E27FC236}">
                      <a16:creationId xmlns:a16="http://schemas.microsoft.com/office/drawing/2014/main" id="{78876B39-6318-7A09-9D6D-30ACC427964F}"/>
                    </a:ext>
                  </a:extLst>
                </p:cNvPr>
                <p:cNvPicPr>
                  <a:picLocks noChangeAspect="1"/>
                </p:cNvPicPr>
                <p:nvPr/>
              </p:nvPicPr>
              <p:blipFill>
                <a:blip r:embed="rId18">
                  <a:extLst>
                    <a:ext uri="{28A0092B-C50C-407E-A947-70E740481C1C}">
                      <a14:useLocalDpi xmlns:a14="http://schemas.microsoft.com/office/drawing/2010/main" val="0"/>
                    </a:ext>
                  </a:extLst>
                </a:blip>
                <a:srcRect/>
                <a:stretch>
                  <a:fillRect/>
                </a:stretch>
              </p:blipFill>
              <p:spPr bwMode="auto">
                <a:xfrm>
                  <a:off x="5580" y="3278"/>
                  <a:ext cx="36" cy="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58" name="Freeform 168">
                  <a:extLst>
                    <a:ext uri="{FF2B5EF4-FFF2-40B4-BE49-F238E27FC236}">
                      <a16:creationId xmlns:a16="http://schemas.microsoft.com/office/drawing/2014/main" id="{98580D58-A856-355F-AAD9-EC9A3F071E46}"/>
                    </a:ext>
                  </a:extLst>
                </p:cNvPr>
                <p:cNvSpPr>
                  <a:spLocks/>
                </p:cNvSpPr>
                <p:nvPr/>
              </p:nvSpPr>
              <p:spPr bwMode="auto">
                <a:xfrm>
                  <a:off x="5578" y="3494"/>
                  <a:ext cx="0" cy="30"/>
                </a:xfrm>
                <a:custGeom>
                  <a:avLst/>
                  <a:gdLst>
                    <a:gd name="T0" fmla="*/ 0 h 15"/>
                    <a:gd name="T1" fmla="*/ 15 h 15"/>
                    <a:gd name="T2" fmla="*/ 15 h 15"/>
                    <a:gd name="T3" fmla="*/ 0 h 15"/>
                    <a:gd name="T4" fmla="*/ 0 h 15"/>
                  </a:gdLst>
                  <a:ahLst/>
                  <a:cxnLst>
                    <a:cxn ang="0">
                      <a:pos x="0" y="T0"/>
                    </a:cxn>
                    <a:cxn ang="0">
                      <a:pos x="0" y="T1"/>
                    </a:cxn>
                    <a:cxn ang="0">
                      <a:pos x="0" y="T2"/>
                    </a:cxn>
                    <a:cxn ang="0">
                      <a:pos x="0" y="T3"/>
                    </a:cxn>
                    <a:cxn ang="0">
                      <a:pos x="0" y="T4"/>
                    </a:cxn>
                  </a:cxnLst>
                  <a:rect l="0" t="0" r="r" b="b"/>
                  <a:pathLst>
                    <a:path h="15">
                      <a:moveTo>
                        <a:pt x="0" y="0"/>
                      </a:moveTo>
                      <a:cubicBezTo>
                        <a:pt x="0" y="7"/>
                        <a:pt x="0" y="11"/>
                        <a:pt x="0" y="15"/>
                      </a:cubicBezTo>
                      <a:cubicBezTo>
                        <a:pt x="0" y="15"/>
                        <a:pt x="0" y="15"/>
                        <a:pt x="0" y="15"/>
                      </a:cubicBezTo>
                      <a:cubicBezTo>
                        <a:pt x="0" y="11"/>
                        <a:pt x="0" y="7"/>
                        <a:pt x="0" y="0"/>
                      </a:cubicBezTo>
                      <a:cubicBezTo>
                        <a:pt x="0" y="0"/>
                        <a:pt x="0" y="0"/>
                        <a:pt x="0" y="0"/>
                      </a:cubicBezTo>
                    </a:path>
                  </a:pathLst>
                </a:custGeom>
                <a:solidFill>
                  <a:srgbClr val="393B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pic>
              <p:nvPicPr>
                <p:cNvPr id="1359" name="Picture 169">
                  <a:extLst>
                    <a:ext uri="{FF2B5EF4-FFF2-40B4-BE49-F238E27FC236}">
                      <a16:creationId xmlns:a16="http://schemas.microsoft.com/office/drawing/2014/main" id="{F9117369-4B0F-9F0B-11BF-66DF4B28AF5F}"/>
                    </a:ext>
                  </a:extLst>
                </p:cNvPr>
                <p:cNvPicPr>
                  <a:picLocks noChangeAspect="1"/>
                </p:cNvPicPr>
                <p:nvPr/>
              </p:nvPicPr>
              <p:blipFill>
                <a:blip r:embed="rId19">
                  <a:extLst>
                    <a:ext uri="{28A0092B-C50C-407E-A947-70E740481C1C}">
                      <a14:useLocalDpi xmlns:a14="http://schemas.microsoft.com/office/drawing/2010/main" val="0"/>
                    </a:ext>
                  </a:extLst>
                </a:blip>
                <a:srcRect/>
                <a:stretch>
                  <a:fillRect/>
                </a:stretch>
              </p:blipFill>
              <p:spPr bwMode="auto">
                <a:xfrm>
                  <a:off x="5568" y="3482"/>
                  <a:ext cx="24" cy="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60" name="Freeform 170">
                  <a:extLst>
                    <a:ext uri="{FF2B5EF4-FFF2-40B4-BE49-F238E27FC236}">
                      <a16:creationId xmlns:a16="http://schemas.microsoft.com/office/drawing/2014/main" id="{6F36A10E-E2BC-FB12-0280-7CB0C87DFD65}"/>
                    </a:ext>
                  </a:extLst>
                </p:cNvPr>
                <p:cNvSpPr>
                  <a:spLocks/>
                </p:cNvSpPr>
                <p:nvPr/>
              </p:nvSpPr>
              <p:spPr bwMode="auto">
                <a:xfrm>
                  <a:off x="5576" y="3378"/>
                  <a:ext cx="0" cy="10"/>
                </a:xfrm>
                <a:custGeom>
                  <a:avLst/>
                  <a:gdLst>
                    <a:gd name="T0" fmla="*/ 0 h 5"/>
                    <a:gd name="T1" fmla="*/ 5 h 5"/>
                    <a:gd name="T2" fmla="*/ 5 h 5"/>
                    <a:gd name="T3" fmla="*/ 0 h 5"/>
                  </a:gdLst>
                  <a:ahLst/>
                  <a:cxnLst>
                    <a:cxn ang="0">
                      <a:pos x="0" y="T0"/>
                    </a:cxn>
                    <a:cxn ang="0">
                      <a:pos x="0" y="T1"/>
                    </a:cxn>
                    <a:cxn ang="0">
                      <a:pos x="0" y="T2"/>
                    </a:cxn>
                    <a:cxn ang="0">
                      <a:pos x="0" y="T3"/>
                    </a:cxn>
                  </a:cxnLst>
                  <a:rect l="0" t="0" r="r" b="b"/>
                  <a:pathLst>
                    <a:path h="5">
                      <a:moveTo>
                        <a:pt x="0" y="0"/>
                      </a:moveTo>
                      <a:cubicBezTo>
                        <a:pt x="0" y="2"/>
                        <a:pt x="0" y="4"/>
                        <a:pt x="0" y="5"/>
                      </a:cubicBezTo>
                      <a:cubicBezTo>
                        <a:pt x="0" y="5"/>
                        <a:pt x="0" y="5"/>
                        <a:pt x="0" y="5"/>
                      </a:cubicBezTo>
                      <a:cubicBezTo>
                        <a:pt x="0" y="4"/>
                        <a:pt x="0" y="2"/>
                        <a:pt x="0" y="0"/>
                      </a:cubicBezTo>
                    </a:path>
                  </a:pathLst>
                </a:custGeom>
                <a:solidFill>
                  <a:srgbClr val="393B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pic>
              <p:nvPicPr>
                <p:cNvPr id="1361" name="Picture 171">
                  <a:extLst>
                    <a:ext uri="{FF2B5EF4-FFF2-40B4-BE49-F238E27FC236}">
                      <a16:creationId xmlns:a16="http://schemas.microsoft.com/office/drawing/2014/main" id="{9D609ACD-5CF4-A5F3-991A-197B90A5AEE5}"/>
                    </a:ext>
                  </a:extLst>
                </p:cNvPr>
                <p:cNvPicPr>
                  <a:picLocks noChangeAspect="1"/>
                </p:cNvPicPr>
                <p:nvPr/>
              </p:nvPicPr>
              <p:blipFill>
                <a:blip r:embed="rId20">
                  <a:extLst>
                    <a:ext uri="{28A0092B-C50C-407E-A947-70E740481C1C}">
                      <a14:useLocalDpi xmlns:a14="http://schemas.microsoft.com/office/drawing/2010/main" val="0"/>
                    </a:ext>
                  </a:extLst>
                </a:blip>
                <a:srcRect/>
                <a:stretch>
                  <a:fillRect/>
                </a:stretch>
              </p:blipFill>
              <p:spPr bwMode="auto">
                <a:xfrm>
                  <a:off x="5568" y="3348"/>
                  <a:ext cx="24" cy="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62" name="Freeform 172">
                  <a:extLst>
                    <a:ext uri="{FF2B5EF4-FFF2-40B4-BE49-F238E27FC236}">
                      <a16:creationId xmlns:a16="http://schemas.microsoft.com/office/drawing/2014/main" id="{DBCC1B11-0E1F-DAFF-140D-2366E6B3A76F}"/>
                    </a:ext>
                  </a:extLst>
                </p:cNvPr>
                <p:cNvSpPr>
                  <a:spLocks/>
                </p:cNvSpPr>
                <p:nvPr/>
              </p:nvSpPr>
              <p:spPr bwMode="auto">
                <a:xfrm>
                  <a:off x="5877" y="3366"/>
                  <a:ext cx="0" cy="22"/>
                </a:xfrm>
                <a:custGeom>
                  <a:avLst/>
                  <a:gdLst>
                    <a:gd name="T0" fmla="*/ 0 h 11"/>
                    <a:gd name="T1" fmla="*/ 11 h 11"/>
                    <a:gd name="T2" fmla="*/ 11 h 11"/>
                    <a:gd name="T3" fmla="*/ 0 h 11"/>
                  </a:gdLst>
                  <a:ahLst/>
                  <a:cxnLst>
                    <a:cxn ang="0">
                      <a:pos x="0" y="T0"/>
                    </a:cxn>
                    <a:cxn ang="0">
                      <a:pos x="0" y="T1"/>
                    </a:cxn>
                    <a:cxn ang="0">
                      <a:pos x="0" y="T2"/>
                    </a:cxn>
                    <a:cxn ang="0">
                      <a:pos x="0" y="T3"/>
                    </a:cxn>
                  </a:cxnLst>
                  <a:rect l="0" t="0" r="r" b="b"/>
                  <a:pathLst>
                    <a:path h="11">
                      <a:moveTo>
                        <a:pt x="0" y="0"/>
                      </a:moveTo>
                      <a:cubicBezTo>
                        <a:pt x="0" y="3"/>
                        <a:pt x="0" y="7"/>
                        <a:pt x="0" y="11"/>
                      </a:cubicBezTo>
                      <a:cubicBezTo>
                        <a:pt x="0" y="11"/>
                        <a:pt x="0" y="11"/>
                        <a:pt x="0" y="11"/>
                      </a:cubicBezTo>
                      <a:cubicBezTo>
                        <a:pt x="0" y="9"/>
                        <a:pt x="0" y="5"/>
                        <a:pt x="0" y="0"/>
                      </a:cubicBezTo>
                    </a:path>
                  </a:pathLst>
                </a:custGeom>
                <a:solidFill>
                  <a:srgbClr val="393B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pic>
              <p:nvPicPr>
                <p:cNvPr id="1363" name="Picture 173">
                  <a:extLst>
                    <a:ext uri="{FF2B5EF4-FFF2-40B4-BE49-F238E27FC236}">
                      <a16:creationId xmlns:a16="http://schemas.microsoft.com/office/drawing/2014/main" id="{1AC66C7A-8623-BA2F-9B61-8699F4AB3D00}"/>
                    </a:ext>
                  </a:extLst>
                </p:cNvPr>
                <p:cNvPicPr>
                  <a:picLocks noChangeAspect="1"/>
                </p:cNvPicPr>
                <p:nvPr/>
              </p:nvPicPr>
              <p:blipFill>
                <a:blip r:embed="rId21">
                  <a:extLst>
                    <a:ext uri="{28A0092B-C50C-407E-A947-70E740481C1C}">
                      <a14:useLocalDpi xmlns:a14="http://schemas.microsoft.com/office/drawing/2010/main" val="0"/>
                    </a:ext>
                  </a:extLst>
                </a:blip>
                <a:srcRect/>
                <a:stretch>
                  <a:fillRect/>
                </a:stretch>
              </p:blipFill>
              <p:spPr bwMode="auto">
                <a:xfrm>
                  <a:off x="5863" y="3348"/>
                  <a:ext cx="24" cy="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64" name="Picture 174">
                  <a:extLst>
                    <a:ext uri="{FF2B5EF4-FFF2-40B4-BE49-F238E27FC236}">
                      <a16:creationId xmlns:a16="http://schemas.microsoft.com/office/drawing/2014/main" id="{B0134064-F3D1-31BC-6185-4C016C3C751F}"/>
                    </a:ext>
                  </a:extLst>
                </p:cNvPr>
                <p:cNvPicPr>
                  <a:picLocks noChangeAspect="1"/>
                </p:cNvPicPr>
                <p:nvPr/>
              </p:nvPicPr>
              <p:blipFill>
                <a:blip r:embed="rId22">
                  <a:extLst>
                    <a:ext uri="{28A0092B-C50C-407E-A947-70E740481C1C}">
                      <a14:useLocalDpi xmlns:a14="http://schemas.microsoft.com/office/drawing/2010/main" val="0"/>
                    </a:ext>
                  </a:extLst>
                </a:blip>
                <a:srcRect/>
                <a:stretch>
                  <a:fillRect/>
                </a:stretch>
              </p:blipFill>
              <p:spPr bwMode="auto">
                <a:xfrm>
                  <a:off x="5620" y="3322"/>
                  <a:ext cx="211" cy="2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65" name="Picture 175">
                  <a:extLst>
                    <a:ext uri="{FF2B5EF4-FFF2-40B4-BE49-F238E27FC236}">
                      <a16:creationId xmlns:a16="http://schemas.microsoft.com/office/drawing/2014/main" id="{5124F8EE-C385-BDA1-B337-265768750D5D}"/>
                    </a:ext>
                  </a:extLst>
                </p:cNvPr>
                <p:cNvPicPr>
                  <a:picLocks noChangeAspect="1"/>
                </p:cNvPicPr>
                <p:nvPr/>
              </p:nvPicPr>
              <p:blipFill>
                <a:blip r:embed="rId23">
                  <a:extLst>
                    <a:ext uri="{28A0092B-C50C-407E-A947-70E740481C1C}">
                      <a14:useLocalDpi xmlns:a14="http://schemas.microsoft.com/office/drawing/2010/main" val="0"/>
                    </a:ext>
                  </a:extLst>
                </a:blip>
                <a:srcRect/>
                <a:stretch>
                  <a:fillRect/>
                </a:stretch>
              </p:blipFill>
              <p:spPr bwMode="auto">
                <a:xfrm>
                  <a:off x="5624" y="3536"/>
                  <a:ext cx="205" cy="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66" name="Oval 176">
                  <a:extLst>
                    <a:ext uri="{FF2B5EF4-FFF2-40B4-BE49-F238E27FC236}">
                      <a16:creationId xmlns:a16="http://schemas.microsoft.com/office/drawing/2014/main" id="{0C3BA110-8D9F-1AB7-3D80-AABB984B1754}"/>
                    </a:ext>
                  </a:extLst>
                </p:cNvPr>
                <p:cNvSpPr>
                  <a:spLocks/>
                </p:cNvSpPr>
                <p:nvPr/>
              </p:nvSpPr>
              <p:spPr bwMode="auto">
                <a:xfrm>
                  <a:off x="5722" y="3536"/>
                  <a:ext cx="8" cy="8"/>
                </a:xfrm>
                <a:prstGeom prst="ellipse">
                  <a:avLst/>
                </a:prstGeom>
                <a:solidFill>
                  <a:srgbClr val="3134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pic>
              <p:nvPicPr>
                <p:cNvPr id="1367" name="Picture 177">
                  <a:extLst>
                    <a:ext uri="{FF2B5EF4-FFF2-40B4-BE49-F238E27FC236}">
                      <a16:creationId xmlns:a16="http://schemas.microsoft.com/office/drawing/2014/main" id="{C790A796-4CA5-BF28-BF43-843D285AAE33}"/>
                    </a:ext>
                  </a:extLst>
                </p:cNvPr>
                <p:cNvPicPr>
                  <a:picLocks noChangeAspect="1"/>
                </p:cNvPicPr>
                <p:nvPr/>
              </p:nvPicPr>
              <p:blipFill>
                <a:blip r:embed="rId24">
                  <a:extLst>
                    <a:ext uri="{28A0092B-C50C-407E-A947-70E740481C1C}">
                      <a14:useLocalDpi xmlns:a14="http://schemas.microsoft.com/office/drawing/2010/main" val="0"/>
                    </a:ext>
                  </a:extLst>
                </a:blip>
                <a:srcRect/>
                <a:stretch>
                  <a:fillRect/>
                </a:stretch>
              </p:blipFill>
              <p:spPr bwMode="auto">
                <a:xfrm>
                  <a:off x="5604" y="3027"/>
                  <a:ext cx="241" cy="1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68" name="Picture 178">
                  <a:extLst>
                    <a:ext uri="{FF2B5EF4-FFF2-40B4-BE49-F238E27FC236}">
                      <a16:creationId xmlns:a16="http://schemas.microsoft.com/office/drawing/2014/main" id="{AEA4FBC3-A80D-D52D-B31C-5A3C6C344142}"/>
                    </a:ext>
                  </a:extLst>
                </p:cNvPr>
                <p:cNvPicPr>
                  <a:picLocks noChangeAspect="1"/>
                </p:cNvPicPr>
                <p:nvPr/>
              </p:nvPicPr>
              <p:blipFill>
                <a:blip r:embed="rId25">
                  <a:extLst>
                    <a:ext uri="{28A0092B-C50C-407E-A947-70E740481C1C}">
                      <a14:useLocalDpi xmlns:a14="http://schemas.microsoft.com/office/drawing/2010/main" val="0"/>
                    </a:ext>
                  </a:extLst>
                </a:blip>
                <a:srcRect/>
                <a:stretch>
                  <a:fillRect/>
                </a:stretch>
              </p:blipFill>
              <p:spPr bwMode="auto">
                <a:xfrm>
                  <a:off x="5588" y="3228"/>
                  <a:ext cx="277" cy="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69" name="Picture 179">
                  <a:extLst>
                    <a:ext uri="{FF2B5EF4-FFF2-40B4-BE49-F238E27FC236}">
                      <a16:creationId xmlns:a16="http://schemas.microsoft.com/office/drawing/2014/main" id="{05124465-EDFB-96F5-D37A-2F7AF014A7F2}"/>
                    </a:ext>
                  </a:extLst>
                </p:cNvPr>
                <p:cNvPicPr>
                  <a:picLocks noChangeAspect="1"/>
                </p:cNvPicPr>
                <p:nvPr/>
              </p:nvPicPr>
              <p:blipFill>
                <a:blip r:embed="rId26">
                  <a:extLst>
                    <a:ext uri="{28A0092B-C50C-407E-A947-70E740481C1C}">
                      <a14:useLocalDpi xmlns:a14="http://schemas.microsoft.com/office/drawing/2010/main" val="0"/>
                    </a:ext>
                  </a:extLst>
                </a:blip>
                <a:srcRect/>
                <a:stretch>
                  <a:fillRect/>
                </a:stretch>
              </p:blipFill>
              <p:spPr bwMode="auto">
                <a:xfrm>
                  <a:off x="5588" y="3019"/>
                  <a:ext cx="277" cy="2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70" name="Picture 180">
                  <a:extLst>
                    <a:ext uri="{FF2B5EF4-FFF2-40B4-BE49-F238E27FC236}">
                      <a16:creationId xmlns:a16="http://schemas.microsoft.com/office/drawing/2014/main" id="{4ABF8A8A-EB25-7BE9-006E-6B1D6A166F61}"/>
                    </a:ext>
                  </a:extLst>
                </p:cNvPr>
                <p:cNvPicPr>
                  <a:picLocks noChangeAspect="1"/>
                </p:cNvPicPr>
                <p:nvPr/>
              </p:nvPicPr>
              <p:blipFill>
                <a:blip r:embed="rId27">
                  <a:extLst>
                    <a:ext uri="{28A0092B-C50C-407E-A947-70E740481C1C}">
                      <a14:useLocalDpi xmlns:a14="http://schemas.microsoft.com/office/drawing/2010/main" val="0"/>
                    </a:ext>
                  </a:extLst>
                </a:blip>
                <a:srcRect/>
                <a:stretch>
                  <a:fillRect/>
                </a:stretch>
              </p:blipFill>
              <p:spPr bwMode="auto">
                <a:xfrm>
                  <a:off x="5803" y="3043"/>
                  <a:ext cx="60" cy="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71" name="Picture 181">
                  <a:extLst>
                    <a:ext uri="{FF2B5EF4-FFF2-40B4-BE49-F238E27FC236}">
                      <a16:creationId xmlns:a16="http://schemas.microsoft.com/office/drawing/2014/main" id="{E00A980C-E09A-B1F4-02AD-D89033B18DF9}"/>
                    </a:ext>
                  </a:extLst>
                </p:cNvPr>
                <p:cNvPicPr>
                  <a:picLocks noChangeAspect="1"/>
                </p:cNvPicPr>
                <p:nvPr/>
              </p:nvPicPr>
              <p:blipFill>
                <a:blip r:embed="rId28">
                  <a:extLst>
                    <a:ext uri="{28A0092B-C50C-407E-A947-70E740481C1C}">
                      <a14:useLocalDpi xmlns:a14="http://schemas.microsoft.com/office/drawing/2010/main" val="0"/>
                    </a:ext>
                  </a:extLst>
                </a:blip>
                <a:srcRect/>
                <a:stretch>
                  <a:fillRect/>
                </a:stretch>
              </p:blipFill>
              <p:spPr bwMode="auto">
                <a:xfrm>
                  <a:off x="5780" y="3027"/>
                  <a:ext cx="85" cy="2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72" name="Picture 182">
                  <a:extLst>
                    <a:ext uri="{FF2B5EF4-FFF2-40B4-BE49-F238E27FC236}">
                      <a16:creationId xmlns:a16="http://schemas.microsoft.com/office/drawing/2014/main" id="{376F2DCD-B471-C124-2669-CA3B3D34CFB1}"/>
                    </a:ext>
                  </a:extLst>
                </p:cNvPr>
                <p:cNvPicPr>
                  <a:picLocks noChangeAspect="1"/>
                </p:cNvPicPr>
                <p:nvPr/>
              </p:nvPicPr>
              <p:blipFill>
                <a:blip r:embed="rId29">
                  <a:extLst>
                    <a:ext uri="{28A0092B-C50C-407E-A947-70E740481C1C}">
                      <a14:useLocalDpi xmlns:a14="http://schemas.microsoft.com/office/drawing/2010/main" val="0"/>
                    </a:ext>
                  </a:extLst>
                </a:blip>
                <a:srcRect/>
                <a:stretch>
                  <a:fillRect/>
                </a:stretch>
              </p:blipFill>
              <p:spPr bwMode="auto">
                <a:xfrm>
                  <a:off x="5576" y="3025"/>
                  <a:ext cx="96" cy="2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73" name="Picture 183">
                  <a:extLst>
                    <a:ext uri="{FF2B5EF4-FFF2-40B4-BE49-F238E27FC236}">
                      <a16:creationId xmlns:a16="http://schemas.microsoft.com/office/drawing/2014/main" id="{CB71E570-951F-A089-C368-D436D5D1BF03}"/>
                    </a:ext>
                  </a:extLst>
                </p:cNvPr>
                <p:cNvPicPr>
                  <a:picLocks noChangeAspect="1"/>
                </p:cNvPicPr>
                <p:nvPr/>
              </p:nvPicPr>
              <p:blipFill>
                <a:blip r:embed="rId30">
                  <a:extLst>
                    <a:ext uri="{28A0092B-C50C-407E-A947-70E740481C1C}">
                      <a14:useLocalDpi xmlns:a14="http://schemas.microsoft.com/office/drawing/2010/main" val="0"/>
                    </a:ext>
                  </a:extLst>
                </a:blip>
                <a:srcRect/>
                <a:stretch>
                  <a:fillRect/>
                </a:stretch>
              </p:blipFill>
              <p:spPr bwMode="auto">
                <a:xfrm>
                  <a:off x="5584" y="3043"/>
                  <a:ext cx="60" cy="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74" name="Picture 184">
                  <a:extLst>
                    <a:ext uri="{FF2B5EF4-FFF2-40B4-BE49-F238E27FC236}">
                      <a16:creationId xmlns:a16="http://schemas.microsoft.com/office/drawing/2014/main" id="{79B39573-2CF4-5558-E24E-B4B1E88BFE6D}"/>
                    </a:ext>
                  </a:extLst>
                </p:cNvPr>
                <p:cNvPicPr>
                  <a:picLocks noChangeAspect="1"/>
                </p:cNvPicPr>
                <p:nvPr/>
              </p:nvPicPr>
              <p:blipFill>
                <a:blip r:embed="rId31">
                  <a:extLst>
                    <a:ext uri="{28A0092B-C50C-407E-A947-70E740481C1C}">
                      <a14:useLocalDpi xmlns:a14="http://schemas.microsoft.com/office/drawing/2010/main" val="0"/>
                    </a:ext>
                  </a:extLst>
                </a:blip>
                <a:srcRect/>
                <a:stretch>
                  <a:fillRect/>
                </a:stretch>
              </p:blipFill>
              <p:spPr bwMode="auto">
                <a:xfrm>
                  <a:off x="5584" y="3027"/>
                  <a:ext cx="84" cy="2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75" name="Freeform 185">
                  <a:extLst>
                    <a:ext uri="{FF2B5EF4-FFF2-40B4-BE49-F238E27FC236}">
                      <a16:creationId xmlns:a16="http://schemas.microsoft.com/office/drawing/2014/main" id="{EAA2219F-B694-D533-C184-B6E0740D9905}"/>
                    </a:ext>
                  </a:extLst>
                </p:cNvPr>
                <p:cNvSpPr>
                  <a:spLocks/>
                </p:cNvSpPr>
                <p:nvPr/>
              </p:nvSpPr>
              <p:spPr bwMode="auto">
                <a:xfrm>
                  <a:off x="5594" y="3188"/>
                  <a:ext cx="265" cy="150"/>
                </a:xfrm>
                <a:custGeom>
                  <a:avLst/>
                  <a:gdLst>
                    <a:gd name="T0" fmla="*/ 0 w 132"/>
                    <a:gd name="T1" fmla="*/ 22 h 75"/>
                    <a:gd name="T2" fmla="*/ 30 w 132"/>
                    <a:gd name="T3" fmla="*/ 5 h 75"/>
                    <a:gd name="T4" fmla="*/ 66 w 132"/>
                    <a:gd name="T5" fmla="*/ 0 h 75"/>
                    <a:gd name="T6" fmla="*/ 103 w 132"/>
                    <a:gd name="T7" fmla="*/ 5 h 75"/>
                    <a:gd name="T8" fmla="*/ 132 w 132"/>
                    <a:gd name="T9" fmla="*/ 22 h 75"/>
                    <a:gd name="T10" fmla="*/ 132 w 132"/>
                    <a:gd name="T11" fmla="*/ 24 h 75"/>
                    <a:gd name="T12" fmla="*/ 116 w 132"/>
                    <a:gd name="T13" fmla="*/ 75 h 75"/>
                    <a:gd name="T14" fmla="*/ 90 w 132"/>
                    <a:gd name="T15" fmla="*/ 68 h 75"/>
                    <a:gd name="T16" fmla="*/ 42 w 132"/>
                    <a:gd name="T17" fmla="*/ 68 h 75"/>
                    <a:gd name="T18" fmla="*/ 16 w 132"/>
                    <a:gd name="T19" fmla="*/ 75 h 75"/>
                    <a:gd name="T20" fmla="*/ 1 w 132"/>
                    <a:gd name="T21" fmla="*/ 24 h 75"/>
                    <a:gd name="T22" fmla="*/ 0 w 132"/>
                    <a:gd name="T23" fmla="*/ 2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2" h="75">
                      <a:moveTo>
                        <a:pt x="0" y="22"/>
                      </a:moveTo>
                      <a:cubicBezTo>
                        <a:pt x="1" y="14"/>
                        <a:pt x="12" y="9"/>
                        <a:pt x="30" y="5"/>
                      </a:cubicBezTo>
                      <a:cubicBezTo>
                        <a:pt x="47" y="0"/>
                        <a:pt x="66" y="0"/>
                        <a:pt x="66" y="0"/>
                      </a:cubicBezTo>
                      <a:cubicBezTo>
                        <a:pt x="66" y="0"/>
                        <a:pt x="85" y="0"/>
                        <a:pt x="103" y="5"/>
                      </a:cubicBezTo>
                      <a:cubicBezTo>
                        <a:pt x="120" y="9"/>
                        <a:pt x="132" y="14"/>
                        <a:pt x="132" y="22"/>
                      </a:cubicBezTo>
                      <a:cubicBezTo>
                        <a:pt x="132" y="22"/>
                        <a:pt x="132" y="23"/>
                        <a:pt x="132" y="24"/>
                      </a:cubicBezTo>
                      <a:cubicBezTo>
                        <a:pt x="116" y="75"/>
                        <a:pt x="116" y="75"/>
                        <a:pt x="116" y="75"/>
                      </a:cubicBezTo>
                      <a:cubicBezTo>
                        <a:pt x="116" y="75"/>
                        <a:pt x="104" y="71"/>
                        <a:pt x="90" y="68"/>
                      </a:cubicBezTo>
                      <a:cubicBezTo>
                        <a:pt x="76" y="66"/>
                        <a:pt x="57" y="66"/>
                        <a:pt x="42" y="68"/>
                      </a:cubicBezTo>
                      <a:cubicBezTo>
                        <a:pt x="28" y="71"/>
                        <a:pt x="16" y="75"/>
                        <a:pt x="16" y="75"/>
                      </a:cubicBezTo>
                      <a:cubicBezTo>
                        <a:pt x="1" y="24"/>
                        <a:pt x="1" y="24"/>
                        <a:pt x="1" y="24"/>
                      </a:cubicBezTo>
                      <a:cubicBezTo>
                        <a:pt x="1" y="23"/>
                        <a:pt x="0" y="22"/>
                        <a:pt x="0" y="22"/>
                      </a:cubicBezTo>
                    </a:path>
                  </a:pathLst>
                </a:custGeom>
                <a:solidFill>
                  <a:srgbClr val="0303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pic>
              <p:nvPicPr>
                <p:cNvPr id="1376" name="Picture 186">
                  <a:extLst>
                    <a:ext uri="{FF2B5EF4-FFF2-40B4-BE49-F238E27FC236}">
                      <a16:creationId xmlns:a16="http://schemas.microsoft.com/office/drawing/2014/main" id="{737A5E8F-B774-4D1F-6B2F-ACFA06B1E441}"/>
                    </a:ext>
                  </a:extLst>
                </p:cNvPr>
                <p:cNvPicPr>
                  <a:picLocks noChangeAspect="1"/>
                </p:cNvPicPr>
                <p:nvPr/>
              </p:nvPicPr>
              <p:blipFill>
                <a:blip r:embed="rId32">
                  <a:extLst>
                    <a:ext uri="{28A0092B-C50C-407E-A947-70E740481C1C}">
                      <a14:useLocalDpi xmlns:a14="http://schemas.microsoft.com/office/drawing/2010/main" val="0"/>
                    </a:ext>
                  </a:extLst>
                </a:blip>
                <a:srcRect/>
                <a:stretch>
                  <a:fillRect/>
                </a:stretch>
              </p:blipFill>
              <p:spPr bwMode="auto">
                <a:xfrm>
                  <a:off x="5592" y="3194"/>
                  <a:ext cx="271" cy="1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77" name="Freeform 187">
                  <a:extLst>
                    <a:ext uri="{FF2B5EF4-FFF2-40B4-BE49-F238E27FC236}">
                      <a16:creationId xmlns:a16="http://schemas.microsoft.com/office/drawing/2014/main" id="{6BA78AF0-D9B5-B947-5EAD-4613978BAF8C}"/>
                    </a:ext>
                  </a:extLst>
                </p:cNvPr>
                <p:cNvSpPr>
                  <a:spLocks/>
                </p:cNvSpPr>
                <p:nvPr/>
              </p:nvSpPr>
              <p:spPr bwMode="auto">
                <a:xfrm>
                  <a:off x="5636" y="3202"/>
                  <a:ext cx="169" cy="6"/>
                </a:xfrm>
                <a:custGeom>
                  <a:avLst/>
                  <a:gdLst>
                    <a:gd name="T0" fmla="*/ 0 w 84"/>
                    <a:gd name="T1" fmla="*/ 3 h 3"/>
                    <a:gd name="T2" fmla="*/ 0 w 84"/>
                    <a:gd name="T3" fmla="*/ 3 h 3"/>
                    <a:gd name="T4" fmla="*/ 0 w 84"/>
                    <a:gd name="T5" fmla="*/ 3 h 3"/>
                    <a:gd name="T6" fmla="*/ 1 w 84"/>
                    <a:gd name="T7" fmla="*/ 3 h 3"/>
                    <a:gd name="T8" fmla="*/ 1 w 84"/>
                    <a:gd name="T9" fmla="*/ 3 h 3"/>
                    <a:gd name="T10" fmla="*/ 1 w 84"/>
                    <a:gd name="T11" fmla="*/ 3 h 3"/>
                    <a:gd name="T12" fmla="*/ 1 w 84"/>
                    <a:gd name="T13" fmla="*/ 3 h 3"/>
                    <a:gd name="T14" fmla="*/ 1 w 84"/>
                    <a:gd name="T15" fmla="*/ 3 h 3"/>
                    <a:gd name="T16" fmla="*/ 1 w 84"/>
                    <a:gd name="T17" fmla="*/ 3 h 3"/>
                    <a:gd name="T18" fmla="*/ 1 w 84"/>
                    <a:gd name="T19" fmla="*/ 3 h 3"/>
                    <a:gd name="T20" fmla="*/ 1 w 84"/>
                    <a:gd name="T21" fmla="*/ 3 h 3"/>
                    <a:gd name="T22" fmla="*/ 1 w 84"/>
                    <a:gd name="T23" fmla="*/ 3 h 3"/>
                    <a:gd name="T24" fmla="*/ 84 w 84"/>
                    <a:gd name="T25" fmla="*/ 1 h 3"/>
                    <a:gd name="T26" fmla="*/ 84 w 84"/>
                    <a:gd name="T27" fmla="*/ 1 h 3"/>
                    <a:gd name="T28" fmla="*/ 84 w 84"/>
                    <a:gd name="T29" fmla="*/ 1 h 3"/>
                    <a:gd name="T30" fmla="*/ 83 w 84"/>
                    <a:gd name="T31" fmla="*/ 1 h 3"/>
                    <a:gd name="T32" fmla="*/ 83 w 84"/>
                    <a:gd name="T33" fmla="*/ 1 h 3"/>
                    <a:gd name="T34" fmla="*/ 83 w 84"/>
                    <a:gd name="T35" fmla="*/ 1 h 3"/>
                    <a:gd name="T36" fmla="*/ 83 w 84"/>
                    <a:gd name="T37" fmla="*/ 1 h 3"/>
                    <a:gd name="T38" fmla="*/ 83 w 84"/>
                    <a:gd name="T39" fmla="*/ 1 h 3"/>
                    <a:gd name="T40" fmla="*/ 83 w 84"/>
                    <a:gd name="T41" fmla="*/ 1 h 3"/>
                    <a:gd name="T42" fmla="*/ 83 w 84"/>
                    <a:gd name="T43" fmla="*/ 1 h 3"/>
                    <a:gd name="T44" fmla="*/ 83 w 84"/>
                    <a:gd name="T45" fmla="*/ 1 h 3"/>
                    <a:gd name="T46" fmla="*/ 83 w 84"/>
                    <a:gd name="T47" fmla="*/ 1 h 3"/>
                    <a:gd name="T48" fmla="*/ 83 w 84"/>
                    <a:gd name="T49" fmla="*/ 1 h 3"/>
                    <a:gd name="T50" fmla="*/ 83 w 84"/>
                    <a:gd name="T51" fmla="*/ 1 h 3"/>
                    <a:gd name="T52" fmla="*/ 83 w 84"/>
                    <a:gd name="T53" fmla="*/ 1 h 3"/>
                    <a:gd name="T54" fmla="*/ 83 w 84"/>
                    <a:gd name="T55" fmla="*/ 1 h 3"/>
                    <a:gd name="T56" fmla="*/ 83 w 84"/>
                    <a:gd name="T57" fmla="*/ 1 h 3"/>
                    <a:gd name="T58" fmla="*/ 83 w 84"/>
                    <a:gd name="T59" fmla="*/ 1 h 3"/>
                    <a:gd name="T60" fmla="*/ 82 w 84"/>
                    <a:gd name="T61" fmla="*/ 1 h 3"/>
                    <a:gd name="T62" fmla="*/ 83 w 84"/>
                    <a:gd name="T63" fmla="*/ 1 h 3"/>
                    <a:gd name="T64" fmla="*/ 82 w 84"/>
                    <a:gd name="T65" fmla="*/ 1 h 3"/>
                    <a:gd name="T66" fmla="*/ 82 w 84"/>
                    <a:gd name="T67" fmla="*/ 1 h 3"/>
                    <a:gd name="T68" fmla="*/ 82 w 84"/>
                    <a:gd name="T69" fmla="*/ 1 h 3"/>
                    <a:gd name="T70" fmla="*/ 82 w 84"/>
                    <a:gd name="T71" fmla="*/ 1 h 3"/>
                    <a:gd name="T72" fmla="*/ 82 w 84"/>
                    <a:gd name="T73" fmla="*/ 1 h 3"/>
                    <a:gd name="T74" fmla="*/ 82 w 84"/>
                    <a:gd name="T75" fmla="*/ 1 h 3"/>
                    <a:gd name="T76" fmla="*/ 82 w 84"/>
                    <a:gd name="T77" fmla="*/ 1 h 3"/>
                    <a:gd name="T78" fmla="*/ 82 w 84"/>
                    <a:gd name="T79" fmla="*/ 1 h 3"/>
                    <a:gd name="T80" fmla="*/ 82 w 84"/>
                    <a:gd name="T81" fmla="*/ 1 h 3"/>
                    <a:gd name="T82" fmla="*/ 82 w 84"/>
                    <a:gd name="T83" fmla="*/ 1 h 3"/>
                    <a:gd name="T84" fmla="*/ 82 w 84"/>
                    <a:gd name="T85" fmla="*/ 0 h 3"/>
                    <a:gd name="T86" fmla="*/ 82 w 84"/>
                    <a:gd name="T87" fmla="*/ 0 h 3"/>
                    <a:gd name="T88" fmla="*/ 82 w 84"/>
                    <a:gd name="T89" fmla="*/ 0 h 3"/>
                    <a:gd name="T90" fmla="*/ 82 w 84"/>
                    <a:gd name="T91" fmla="*/ 0 h 3"/>
                    <a:gd name="T92" fmla="*/ 82 w 84"/>
                    <a:gd name="T93" fmla="*/ 0 h 3"/>
                    <a:gd name="T94" fmla="*/ 82 w 84"/>
                    <a:gd name="T95" fmla="*/ 0 h 3"/>
                    <a:gd name="T96" fmla="*/ 9 w 84"/>
                    <a:gd name="T97" fmla="*/ 0 h 3"/>
                    <a:gd name="T98" fmla="*/ 1 w 84"/>
                    <a:gd name="T99" fmla="*/ 3 h 3"/>
                    <a:gd name="T100" fmla="*/ 9 w 84"/>
                    <a:gd name="T101" fmla="*/ 0 h 3"/>
                    <a:gd name="T102" fmla="*/ 9 w 84"/>
                    <a:gd name="T103" fmla="*/ 0 h 3"/>
                    <a:gd name="T104" fmla="*/ 9 w 84"/>
                    <a:gd name="T105" fmla="*/ 0 h 3"/>
                    <a:gd name="T106" fmla="*/ 9 w 84"/>
                    <a:gd name="T107" fmla="*/ 0 h 3"/>
                    <a:gd name="T108" fmla="*/ 82 w 84"/>
                    <a:gd name="T109" fmla="*/ 0 h 3"/>
                    <a:gd name="T110" fmla="*/ 82 w 84"/>
                    <a:gd name="T111" fmla="*/ 0 h 3"/>
                    <a:gd name="T112" fmla="*/ 82 w 84"/>
                    <a:gd name="T113" fmla="*/ 0 h 3"/>
                    <a:gd name="T114" fmla="*/ 9 w 84"/>
                    <a:gd name="T115" fmla="*/ 0 h 3"/>
                    <a:gd name="T116" fmla="*/ 9 w 84"/>
                    <a:gd name="T117" fmla="*/ 0 h 3"/>
                    <a:gd name="T118" fmla="*/ 9 w 84"/>
                    <a:gd name="T119" fmla="*/ 0 h 3"/>
                    <a:gd name="T120" fmla="*/ 81 w 84"/>
                    <a:gd name="T121" fmla="*/ 0 h 3"/>
                    <a:gd name="T122" fmla="*/ 81 w 84"/>
                    <a:gd name="T123" fmla="*/ 0 h 3"/>
                    <a:gd name="T124" fmla="*/ 81 w 84"/>
                    <a:gd name="T125"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4" h="3">
                      <a:moveTo>
                        <a:pt x="0" y="3"/>
                      </a:moveTo>
                      <a:cubicBezTo>
                        <a:pt x="0" y="3"/>
                        <a:pt x="0" y="3"/>
                        <a:pt x="0" y="3"/>
                      </a:cubicBezTo>
                      <a:cubicBezTo>
                        <a:pt x="0" y="3"/>
                        <a:pt x="0" y="3"/>
                        <a:pt x="0" y="3"/>
                      </a:cubicBezTo>
                      <a:moveTo>
                        <a:pt x="1" y="3"/>
                      </a:moveTo>
                      <a:cubicBezTo>
                        <a:pt x="1" y="3"/>
                        <a:pt x="1" y="3"/>
                        <a:pt x="1" y="3"/>
                      </a:cubicBezTo>
                      <a:cubicBezTo>
                        <a:pt x="1" y="3"/>
                        <a:pt x="1" y="3"/>
                        <a:pt x="1" y="3"/>
                      </a:cubicBezTo>
                      <a:moveTo>
                        <a:pt x="1" y="3"/>
                      </a:moveTo>
                      <a:cubicBezTo>
                        <a:pt x="1" y="3"/>
                        <a:pt x="1" y="3"/>
                        <a:pt x="1" y="3"/>
                      </a:cubicBezTo>
                      <a:cubicBezTo>
                        <a:pt x="1" y="3"/>
                        <a:pt x="1" y="3"/>
                        <a:pt x="1" y="3"/>
                      </a:cubicBezTo>
                      <a:moveTo>
                        <a:pt x="1" y="3"/>
                      </a:moveTo>
                      <a:cubicBezTo>
                        <a:pt x="1" y="3"/>
                        <a:pt x="1" y="3"/>
                        <a:pt x="1" y="3"/>
                      </a:cubicBezTo>
                      <a:cubicBezTo>
                        <a:pt x="1" y="3"/>
                        <a:pt x="1" y="3"/>
                        <a:pt x="1" y="3"/>
                      </a:cubicBezTo>
                      <a:moveTo>
                        <a:pt x="84" y="1"/>
                      </a:moveTo>
                      <a:cubicBezTo>
                        <a:pt x="84" y="1"/>
                        <a:pt x="84" y="1"/>
                        <a:pt x="84" y="1"/>
                      </a:cubicBezTo>
                      <a:cubicBezTo>
                        <a:pt x="84" y="1"/>
                        <a:pt x="84" y="1"/>
                        <a:pt x="84" y="1"/>
                      </a:cubicBezTo>
                      <a:moveTo>
                        <a:pt x="83" y="1"/>
                      </a:moveTo>
                      <a:cubicBezTo>
                        <a:pt x="83" y="1"/>
                        <a:pt x="83" y="1"/>
                        <a:pt x="83" y="1"/>
                      </a:cubicBezTo>
                      <a:cubicBezTo>
                        <a:pt x="83" y="1"/>
                        <a:pt x="83" y="1"/>
                        <a:pt x="83" y="1"/>
                      </a:cubicBezTo>
                      <a:moveTo>
                        <a:pt x="83" y="1"/>
                      </a:moveTo>
                      <a:cubicBezTo>
                        <a:pt x="83" y="1"/>
                        <a:pt x="83" y="1"/>
                        <a:pt x="83" y="1"/>
                      </a:cubicBezTo>
                      <a:cubicBezTo>
                        <a:pt x="83" y="1"/>
                        <a:pt x="83" y="1"/>
                        <a:pt x="83" y="1"/>
                      </a:cubicBezTo>
                      <a:moveTo>
                        <a:pt x="83" y="1"/>
                      </a:moveTo>
                      <a:cubicBezTo>
                        <a:pt x="83" y="1"/>
                        <a:pt x="83" y="1"/>
                        <a:pt x="83" y="1"/>
                      </a:cubicBezTo>
                      <a:cubicBezTo>
                        <a:pt x="83" y="1"/>
                        <a:pt x="83" y="1"/>
                        <a:pt x="83" y="1"/>
                      </a:cubicBezTo>
                      <a:moveTo>
                        <a:pt x="83" y="1"/>
                      </a:moveTo>
                      <a:cubicBezTo>
                        <a:pt x="83" y="1"/>
                        <a:pt x="83" y="1"/>
                        <a:pt x="83" y="1"/>
                      </a:cubicBezTo>
                      <a:cubicBezTo>
                        <a:pt x="83" y="1"/>
                        <a:pt x="83" y="1"/>
                        <a:pt x="83" y="1"/>
                      </a:cubicBezTo>
                      <a:moveTo>
                        <a:pt x="83" y="1"/>
                      </a:moveTo>
                      <a:cubicBezTo>
                        <a:pt x="83" y="1"/>
                        <a:pt x="83" y="1"/>
                        <a:pt x="83" y="1"/>
                      </a:cubicBezTo>
                      <a:cubicBezTo>
                        <a:pt x="83" y="1"/>
                        <a:pt x="83" y="1"/>
                        <a:pt x="83" y="1"/>
                      </a:cubicBezTo>
                      <a:moveTo>
                        <a:pt x="82" y="1"/>
                      </a:moveTo>
                      <a:cubicBezTo>
                        <a:pt x="82" y="1"/>
                        <a:pt x="82" y="1"/>
                        <a:pt x="83" y="1"/>
                      </a:cubicBezTo>
                      <a:cubicBezTo>
                        <a:pt x="82" y="1"/>
                        <a:pt x="82" y="1"/>
                        <a:pt x="82" y="1"/>
                      </a:cubicBezTo>
                      <a:moveTo>
                        <a:pt x="82" y="1"/>
                      </a:moveTo>
                      <a:cubicBezTo>
                        <a:pt x="82" y="1"/>
                        <a:pt x="82" y="1"/>
                        <a:pt x="82" y="1"/>
                      </a:cubicBezTo>
                      <a:cubicBezTo>
                        <a:pt x="82" y="1"/>
                        <a:pt x="82" y="1"/>
                        <a:pt x="82" y="1"/>
                      </a:cubicBezTo>
                      <a:moveTo>
                        <a:pt x="82" y="1"/>
                      </a:moveTo>
                      <a:cubicBezTo>
                        <a:pt x="82" y="1"/>
                        <a:pt x="82" y="1"/>
                        <a:pt x="82" y="1"/>
                      </a:cubicBezTo>
                      <a:cubicBezTo>
                        <a:pt x="82" y="1"/>
                        <a:pt x="82" y="1"/>
                        <a:pt x="82" y="1"/>
                      </a:cubicBezTo>
                      <a:moveTo>
                        <a:pt x="82" y="1"/>
                      </a:moveTo>
                      <a:cubicBezTo>
                        <a:pt x="82" y="1"/>
                        <a:pt x="82" y="1"/>
                        <a:pt x="82" y="1"/>
                      </a:cubicBezTo>
                      <a:cubicBezTo>
                        <a:pt x="82" y="1"/>
                        <a:pt x="82" y="1"/>
                        <a:pt x="82" y="1"/>
                      </a:cubicBezTo>
                      <a:moveTo>
                        <a:pt x="82" y="0"/>
                      </a:moveTo>
                      <a:cubicBezTo>
                        <a:pt x="82" y="0"/>
                        <a:pt x="82" y="0"/>
                        <a:pt x="82" y="0"/>
                      </a:cubicBezTo>
                      <a:cubicBezTo>
                        <a:pt x="82" y="0"/>
                        <a:pt x="82" y="0"/>
                        <a:pt x="82" y="0"/>
                      </a:cubicBezTo>
                      <a:moveTo>
                        <a:pt x="82" y="0"/>
                      </a:moveTo>
                      <a:cubicBezTo>
                        <a:pt x="82" y="0"/>
                        <a:pt x="82" y="0"/>
                        <a:pt x="82" y="0"/>
                      </a:cubicBezTo>
                      <a:cubicBezTo>
                        <a:pt x="82" y="0"/>
                        <a:pt x="82" y="0"/>
                        <a:pt x="82" y="0"/>
                      </a:cubicBezTo>
                      <a:moveTo>
                        <a:pt x="9" y="0"/>
                      </a:moveTo>
                      <a:cubicBezTo>
                        <a:pt x="6" y="1"/>
                        <a:pt x="3" y="2"/>
                        <a:pt x="1" y="3"/>
                      </a:cubicBezTo>
                      <a:cubicBezTo>
                        <a:pt x="3" y="2"/>
                        <a:pt x="6" y="1"/>
                        <a:pt x="9" y="0"/>
                      </a:cubicBezTo>
                      <a:moveTo>
                        <a:pt x="9" y="0"/>
                      </a:moveTo>
                      <a:cubicBezTo>
                        <a:pt x="9" y="0"/>
                        <a:pt x="9" y="0"/>
                        <a:pt x="9" y="0"/>
                      </a:cubicBezTo>
                      <a:cubicBezTo>
                        <a:pt x="9" y="0"/>
                        <a:pt x="9" y="0"/>
                        <a:pt x="9" y="0"/>
                      </a:cubicBezTo>
                      <a:moveTo>
                        <a:pt x="82" y="0"/>
                      </a:moveTo>
                      <a:cubicBezTo>
                        <a:pt x="82" y="0"/>
                        <a:pt x="82" y="0"/>
                        <a:pt x="82" y="0"/>
                      </a:cubicBezTo>
                      <a:cubicBezTo>
                        <a:pt x="82" y="0"/>
                        <a:pt x="82" y="0"/>
                        <a:pt x="82" y="0"/>
                      </a:cubicBezTo>
                      <a:moveTo>
                        <a:pt x="9" y="0"/>
                      </a:moveTo>
                      <a:cubicBezTo>
                        <a:pt x="9" y="0"/>
                        <a:pt x="9" y="0"/>
                        <a:pt x="9" y="0"/>
                      </a:cubicBezTo>
                      <a:cubicBezTo>
                        <a:pt x="9" y="0"/>
                        <a:pt x="9" y="0"/>
                        <a:pt x="9" y="0"/>
                      </a:cubicBezTo>
                      <a:moveTo>
                        <a:pt x="81" y="0"/>
                      </a:moveTo>
                      <a:cubicBezTo>
                        <a:pt x="81" y="0"/>
                        <a:pt x="81" y="0"/>
                        <a:pt x="81" y="0"/>
                      </a:cubicBezTo>
                      <a:cubicBezTo>
                        <a:pt x="81" y="0"/>
                        <a:pt x="81" y="0"/>
                        <a:pt x="81" y="0"/>
                      </a:cubicBezTo>
                    </a:path>
                  </a:pathLst>
                </a:custGeom>
                <a:solidFill>
                  <a:srgbClr val="1B131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pic>
              <p:nvPicPr>
                <p:cNvPr id="1378" name="Picture 188">
                  <a:extLst>
                    <a:ext uri="{FF2B5EF4-FFF2-40B4-BE49-F238E27FC236}">
                      <a16:creationId xmlns:a16="http://schemas.microsoft.com/office/drawing/2014/main" id="{EAF8AB82-EAE6-F29C-DC54-D1E70CC07718}"/>
                    </a:ext>
                  </a:extLst>
                </p:cNvPr>
                <p:cNvPicPr>
                  <a:picLocks noChangeAspect="1"/>
                </p:cNvPicPr>
                <p:nvPr/>
              </p:nvPicPr>
              <p:blipFill>
                <a:blip r:embed="rId33">
                  <a:extLst>
                    <a:ext uri="{28A0092B-C50C-407E-A947-70E740481C1C}">
                      <a14:useLocalDpi xmlns:a14="http://schemas.microsoft.com/office/drawing/2010/main" val="0"/>
                    </a:ext>
                  </a:extLst>
                </a:blip>
                <a:srcRect/>
                <a:stretch>
                  <a:fillRect/>
                </a:stretch>
              </p:blipFill>
              <p:spPr bwMode="auto">
                <a:xfrm>
                  <a:off x="5592" y="3184"/>
                  <a:ext cx="241" cy="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79" name="Picture 189">
                  <a:extLst>
                    <a:ext uri="{FF2B5EF4-FFF2-40B4-BE49-F238E27FC236}">
                      <a16:creationId xmlns:a16="http://schemas.microsoft.com/office/drawing/2014/main" id="{7FD249E5-F2AC-0D92-39E4-92FA6845906C}"/>
                    </a:ext>
                  </a:extLst>
                </p:cNvPr>
                <p:cNvPicPr>
                  <a:picLocks noChangeAspect="1"/>
                </p:cNvPicPr>
                <p:nvPr/>
              </p:nvPicPr>
              <p:blipFill>
                <a:blip r:embed="rId34">
                  <a:extLst>
                    <a:ext uri="{28A0092B-C50C-407E-A947-70E740481C1C}">
                      <a14:useLocalDpi xmlns:a14="http://schemas.microsoft.com/office/drawing/2010/main" val="0"/>
                    </a:ext>
                  </a:extLst>
                </a:blip>
                <a:srcRect/>
                <a:stretch>
                  <a:fillRect/>
                </a:stretch>
              </p:blipFill>
              <p:spPr bwMode="auto">
                <a:xfrm>
                  <a:off x="5684" y="3210"/>
                  <a:ext cx="175" cy="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80" name="Picture 190">
                  <a:extLst>
                    <a:ext uri="{FF2B5EF4-FFF2-40B4-BE49-F238E27FC236}">
                      <a16:creationId xmlns:a16="http://schemas.microsoft.com/office/drawing/2014/main" id="{D59E4718-96F6-885B-B330-FDBE836FCB57}"/>
                    </a:ext>
                  </a:extLst>
                </p:cNvPr>
                <p:cNvPicPr>
                  <a:picLocks noChangeAspect="1"/>
                </p:cNvPicPr>
                <p:nvPr/>
              </p:nvPicPr>
              <p:blipFill>
                <a:blip r:embed="rId35">
                  <a:extLst>
                    <a:ext uri="{28A0092B-C50C-407E-A947-70E740481C1C}">
                      <a14:useLocalDpi xmlns:a14="http://schemas.microsoft.com/office/drawing/2010/main" val="0"/>
                    </a:ext>
                  </a:extLst>
                </a:blip>
                <a:srcRect/>
                <a:stretch>
                  <a:fillRect/>
                </a:stretch>
              </p:blipFill>
              <p:spPr bwMode="auto">
                <a:xfrm>
                  <a:off x="5688" y="3204"/>
                  <a:ext cx="169" cy="1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81" name="Picture 191">
                  <a:extLst>
                    <a:ext uri="{FF2B5EF4-FFF2-40B4-BE49-F238E27FC236}">
                      <a16:creationId xmlns:a16="http://schemas.microsoft.com/office/drawing/2014/main" id="{56A8AD87-CC54-6762-8929-E86BF967254D}"/>
                    </a:ext>
                  </a:extLst>
                </p:cNvPr>
                <p:cNvPicPr>
                  <a:picLocks noChangeAspect="1"/>
                </p:cNvPicPr>
                <p:nvPr/>
              </p:nvPicPr>
              <p:blipFill>
                <a:blip r:embed="rId36">
                  <a:extLst>
                    <a:ext uri="{28A0092B-C50C-407E-A947-70E740481C1C}">
                      <a14:useLocalDpi xmlns:a14="http://schemas.microsoft.com/office/drawing/2010/main" val="0"/>
                    </a:ext>
                  </a:extLst>
                </a:blip>
                <a:srcRect/>
                <a:stretch>
                  <a:fillRect/>
                </a:stretch>
              </p:blipFill>
              <p:spPr bwMode="auto">
                <a:xfrm>
                  <a:off x="5730" y="3200"/>
                  <a:ext cx="123" cy="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82" name="Picture 192">
                  <a:extLst>
                    <a:ext uri="{FF2B5EF4-FFF2-40B4-BE49-F238E27FC236}">
                      <a16:creationId xmlns:a16="http://schemas.microsoft.com/office/drawing/2014/main" id="{3F815AF9-1F0E-1FD4-F9E4-ACCA8D2A27BC}"/>
                    </a:ext>
                  </a:extLst>
                </p:cNvPr>
                <p:cNvPicPr>
                  <a:picLocks noChangeAspect="1"/>
                </p:cNvPicPr>
                <p:nvPr/>
              </p:nvPicPr>
              <p:blipFill>
                <a:blip r:embed="rId37">
                  <a:extLst>
                    <a:ext uri="{28A0092B-C50C-407E-A947-70E740481C1C}">
                      <a14:useLocalDpi xmlns:a14="http://schemas.microsoft.com/office/drawing/2010/main" val="0"/>
                    </a:ext>
                  </a:extLst>
                </a:blip>
                <a:srcRect/>
                <a:stretch>
                  <a:fillRect/>
                </a:stretch>
              </p:blipFill>
              <p:spPr bwMode="auto">
                <a:xfrm>
                  <a:off x="5790" y="3019"/>
                  <a:ext cx="79" cy="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83" name="Picture 193">
                  <a:extLst>
                    <a:ext uri="{FF2B5EF4-FFF2-40B4-BE49-F238E27FC236}">
                      <a16:creationId xmlns:a16="http://schemas.microsoft.com/office/drawing/2014/main" id="{CACEC79B-8265-56DD-7B3B-BA77539FFBDD}"/>
                    </a:ext>
                  </a:extLst>
                </p:cNvPr>
                <p:cNvPicPr>
                  <a:picLocks noChangeAspect="1"/>
                </p:cNvPicPr>
                <p:nvPr/>
              </p:nvPicPr>
              <p:blipFill>
                <a:blip r:embed="rId38">
                  <a:extLst>
                    <a:ext uri="{28A0092B-C50C-407E-A947-70E740481C1C}">
                      <a14:useLocalDpi xmlns:a14="http://schemas.microsoft.com/office/drawing/2010/main" val="0"/>
                    </a:ext>
                  </a:extLst>
                </a:blip>
                <a:srcRect/>
                <a:stretch>
                  <a:fillRect/>
                </a:stretch>
              </p:blipFill>
              <p:spPr bwMode="auto">
                <a:xfrm>
                  <a:off x="5790" y="3025"/>
                  <a:ext cx="73" cy="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84" name="Picture 194">
                  <a:extLst>
                    <a:ext uri="{FF2B5EF4-FFF2-40B4-BE49-F238E27FC236}">
                      <a16:creationId xmlns:a16="http://schemas.microsoft.com/office/drawing/2014/main" id="{3D04226E-DDED-F4EC-9CEA-67693F63539B}"/>
                    </a:ext>
                  </a:extLst>
                </p:cNvPr>
                <p:cNvPicPr>
                  <a:picLocks noChangeAspect="1"/>
                </p:cNvPicPr>
                <p:nvPr/>
              </p:nvPicPr>
              <p:blipFill>
                <a:blip r:embed="rId39">
                  <a:extLst>
                    <a:ext uri="{28A0092B-C50C-407E-A947-70E740481C1C}">
                      <a14:useLocalDpi xmlns:a14="http://schemas.microsoft.com/office/drawing/2010/main" val="0"/>
                    </a:ext>
                  </a:extLst>
                </a:blip>
                <a:srcRect/>
                <a:stretch>
                  <a:fillRect/>
                </a:stretch>
              </p:blipFill>
              <p:spPr bwMode="auto">
                <a:xfrm>
                  <a:off x="5800" y="3029"/>
                  <a:ext cx="53" cy="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85" name="Picture 195">
                  <a:extLst>
                    <a:ext uri="{FF2B5EF4-FFF2-40B4-BE49-F238E27FC236}">
                      <a16:creationId xmlns:a16="http://schemas.microsoft.com/office/drawing/2014/main" id="{BEB3D608-A325-860B-71D6-DEF336A763EF}"/>
                    </a:ext>
                  </a:extLst>
                </p:cNvPr>
                <p:cNvPicPr>
                  <a:picLocks noChangeAspect="1"/>
                </p:cNvPicPr>
                <p:nvPr/>
              </p:nvPicPr>
              <p:blipFill>
                <a:blip r:embed="rId40">
                  <a:extLst>
                    <a:ext uri="{28A0092B-C50C-407E-A947-70E740481C1C}">
                      <a14:useLocalDpi xmlns:a14="http://schemas.microsoft.com/office/drawing/2010/main" val="0"/>
                    </a:ext>
                  </a:extLst>
                </a:blip>
                <a:srcRect/>
                <a:stretch>
                  <a:fillRect/>
                </a:stretch>
              </p:blipFill>
              <p:spPr bwMode="auto">
                <a:xfrm>
                  <a:off x="5584" y="3019"/>
                  <a:ext cx="78" cy="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86" name="Picture 196">
                  <a:extLst>
                    <a:ext uri="{FF2B5EF4-FFF2-40B4-BE49-F238E27FC236}">
                      <a16:creationId xmlns:a16="http://schemas.microsoft.com/office/drawing/2014/main" id="{D4DC3408-3D05-5AD5-D18F-5A4C305C21D0}"/>
                    </a:ext>
                  </a:extLst>
                </p:cNvPr>
                <p:cNvPicPr>
                  <a:picLocks noChangeAspect="1"/>
                </p:cNvPicPr>
                <p:nvPr/>
              </p:nvPicPr>
              <p:blipFill>
                <a:blip r:embed="rId41">
                  <a:extLst>
                    <a:ext uri="{28A0092B-C50C-407E-A947-70E740481C1C}">
                      <a14:useLocalDpi xmlns:a14="http://schemas.microsoft.com/office/drawing/2010/main" val="0"/>
                    </a:ext>
                  </a:extLst>
                </a:blip>
                <a:srcRect/>
                <a:stretch>
                  <a:fillRect/>
                </a:stretch>
              </p:blipFill>
              <p:spPr bwMode="auto">
                <a:xfrm>
                  <a:off x="5584" y="3025"/>
                  <a:ext cx="72" cy="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87" name="Picture 197">
                  <a:extLst>
                    <a:ext uri="{FF2B5EF4-FFF2-40B4-BE49-F238E27FC236}">
                      <a16:creationId xmlns:a16="http://schemas.microsoft.com/office/drawing/2014/main" id="{AA5B389B-0560-81EA-F695-00B5FCB35202}"/>
                    </a:ext>
                  </a:extLst>
                </p:cNvPr>
                <p:cNvPicPr>
                  <a:picLocks noChangeAspect="1"/>
                </p:cNvPicPr>
                <p:nvPr/>
              </p:nvPicPr>
              <p:blipFill>
                <a:blip r:embed="rId42">
                  <a:extLst>
                    <a:ext uri="{28A0092B-C50C-407E-A947-70E740481C1C}">
                      <a14:useLocalDpi xmlns:a14="http://schemas.microsoft.com/office/drawing/2010/main" val="0"/>
                    </a:ext>
                  </a:extLst>
                </a:blip>
                <a:srcRect/>
                <a:stretch>
                  <a:fillRect/>
                </a:stretch>
              </p:blipFill>
              <p:spPr bwMode="auto">
                <a:xfrm>
                  <a:off x="5596" y="3029"/>
                  <a:ext cx="52" cy="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88" name="Picture 198">
                  <a:extLst>
                    <a:ext uri="{FF2B5EF4-FFF2-40B4-BE49-F238E27FC236}">
                      <a16:creationId xmlns:a16="http://schemas.microsoft.com/office/drawing/2014/main" id="{78FB4AE4-63BC-8AF1-47BF-6A033F9C8D87}"/>
                    </a:ext>
                  </a:extLst>
                </p:cNvPr>
                <p:cNvPicPr>
                  <a:picLocks noChangeAspect="1"/>
                </p:cNvPicPr>
                <p:nvPr/>
              </p:nvPicPr>
              <p:blipFill>
                <a:blip r:embed="rId43">
                  <a:extLst>
                    <a:ext uri="{28A0092B-C50C-407E-A947-70E740481C1C}">
                      <a14:useLocalDpi xmlns:a14="http://schemas.microsoft.com/office/drawing/2010/main" val="0"/>
                    </a:ext>
                  </a:extLst>
                </a:blip>
                <a:srcRect/>
                <a:stretch>
                  <a:fillRect/>
                </a:stretch>
              </p:blipFill>
              <p:spPr bwMode="auto">
                <a:xfrm>
                  <a:off x="5592" y="3188"/>
                  <a:ext cx="168" cy="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89" name="Picture 199">
                  <a:extLst>
                    <a:ext uri="{FF2B5EF4-FFF2-40B4-BE49-F238E27FC236}">
                      <a16:creationId xmlns:a16="http://schemas.microsoft.com/office/drawing/2014/main" id="{267E96EB-C82D-B9B8-313B-83AB53359F13}"/>
                    </a:ext>
                  </a:extLst>
                </p:cNvPr>
                <p:cNvPicPr>
                  <a:picLocks noChangeAspect="1"/>
                </p:cNvPicPr>
                <p:nvPr/>
              </p:nvPicPr>
              <p:blipFill>
                <a:blip r:embed="rId44">
                  <a:extLst>
                    <a:ext uri="{28A0092B-C50C-407E-A947-70E740481C1C}">
                      <a14:useLocalDpi xmlns:a14="http://schemas.microsoft.com/office/drawing/2010/main" val="0"/>
                    </a:ext>
                  </a:extLst>
                </a:blip>
                <a:srcRect/>
                <a:stretch>
                  <a:fillRect/>
                </a:stretch>
              </p:blipFill>
              <p:spPr bwMode="auto">
                <a:xfrm>
                  <a:off x="5857" y="3258"/>
                  <a:ext cx="10" cy="2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90" name="Picture 200">
                  <a:extLst>
                    <a:ext uri="{FF2B5EF4-FFF2-40B4-BE49-F238E27FC236}">
                      <a16:creationId xmlns:a16="http://schemas.microsoft.com/office/drawing/2014/main" id="{5DE67E84-1CEE-6003-DB4E-07444BABCB51}"/>
                    </a:ext>
                  </a:extLst>
                </p:cNvPr>
                <p:cNvPicPr>
                  <a:picLocks noChangeAspect="1"/>
                </p:cNvPicPr>
                <p:nvPr/>
              </p:nvPicPr>
              <p:blipFill>
                <a:blip r:embed="rId45">
                  <a:extLst>
                    <a:ext uri="{28A0092B-C50C-407E-A947-70E740481C1C}">
                      <a14:useLocalDpi xmlns:a14="http://schemas.microsoft.com/office/drawing/2010/main" val="0"/>
                    </a:ext>
                  </a:extLst>
                </a:blip>
                <a:srcRect/>
                <a:stretch>
                  <a:fillRect/>
                </a:stretch>
              </p:blipFill>
              <p:spPr bwMode="auto">
                <a:xfrm>
                  <a:off x="5839" y="3258"/>
                  <a:ext cx="30" cy="3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91" name="Picture 201">
                  <a:extLst>
                    <a:ext uri="{FF2B5EF4-FFF2-40B4-BE49-F238E27FC236}">
                      <a16:creationId xmlns:a16="http://schemas.microsoft.com/office/drawing/2014/main" id="{7E81A6F2-BC85-DB39-2816-22DA7D7A32C6}"/>
                    </a:ext>
                  </a:extLst>
                </p:cNvPr>
                <p:cNvPicPr>
                  <a:picLocks noChangeAspect="1"/>
                </p:cNvPicPr>
                <p:nvPr/>
              </p:nvPicPr>
              <p:blipFill>
                <a:blip r:embed="rId46">
                  <a:extLst>
                    <a:ext uri="{28A0092B-C50C-407E-A947-70E740481C1C}">
                      <a14:useLocalDpi xmlns:a14="http://schemas.microsoft.com/office/drawing/2010/main" val="0"/>
                    </a:ext>
                  </a:extLst>
                </a:blip>
                <a:srcRect/>
                <a:stretch>
                  <a:fillRect/>
                </a:stretch>
              </p:blipFill>
              <p:spPr bwMode="auto">
                <a:xfrm>
                  <a:off x="5823" y="3326"/>
                  <a:ext cx="18" cy="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92" name="Picture 202">
                  <a:extLst>
                    <a:ext uri="{FF2B5EF4-FFF2-40B4-BE49-F238E27FC236}">
                      <a16:creationId xmlns:a16="http://schemas.microsoft.com/office/drawing/2014/main" id="{D3E0FDED-2A5B-A60E-1027-A3A05FB13D4B}"/>
                    </a:ext>
                  </a:extLst>
                </p:cNvPr>
                <p:cNvPicPr>
                  <a:picLocks noChangeAspect="1"/>
                </p:cNvPicPr>
                <p:nvPr/>
              </p:nvPicPr>
              <p:blipFill>
                <a:blip r:embed="rId47">
                  <a:extLst>
                    <a:ext uri="{28A0092B-C50C-407E-A947-70E740481C1C}">
                      <a14:useLocalDpi xmlns:a14="http://schemas.microsoft.com/office/drawing/2010/main" val="0"/>
                    </a:ext>
                  </a:extLst>
                </a:blip>
                <a:srcRect/>
                <a:stretch>
                  <a:fillRect/>
                </a:stretch>
              </p:blipFill>
              <p:spPr bwMode="auto">
                <a:xfrm>
                  <a:off x="5823" y="3324"/>
                  <a:ext cx="26" cy="2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93" name="Picture 203">
                  <a:extLst>
                    <a:ext uri="{FF2B5EF4-FFF2-40B4-BE49-F238E27FC236}">
                      <a16:creationId xmlns:a16="http://schemas.microsoft.com/office/drawing/2014/main" id="{C0732392-50B7-7E10-69D0-7D6799F1BBA0}"/>
                    </a:ext>
                  </a:extLst>
                </p:cNvPr>
                <p:cNvPicPr>
                  <a:picLocks noChangeAspect="1"/>
                </p:cNvPicPr>
                <p:nvPr/>
              </p:nvPicPr>
              <p:blipFill>
                <a:blip r:embed="rId48">
                  <a:extLst>
                    <a:ext uri="{28A0092B-C50C-407E-A947-70E740481C1C}">
                      <a14:useLocalDpi xmlns:a14="http://schemas.microsoft.com/office/drawing/2010/main" val="0"/>
                    </a:ext>
                  </a:extLst>
                </a:blip>
                <a:srcRect/>
                <a:stretch>
                  <a:fillRect/>
                </a:stretch>
              </p:blipFill>
              <p:spPr bwMode="auto">
                <a:xfrm>
                  <a:off x="5839" y="3354"/>
                  <a:ext cx="18" cy="1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94" name="Picture 204">
                  <a:extLst>
                    <a:ext uri="{FF2B5EF4-FFF2-40B4-BE49-F238E27FC236}">
                      <a16:creationId xmlns:a16="http://schemas.microsoft.com/office/drawing/2014/main" id="{DE6D27CA-CF35-9B1E-0EF2-432063389E4E}"/>
                    </a:ext>
                  </a:extLst>
                </p:cNvPr>
                <p:cNvPicPr>
                  <a:picLocks noChangeAspect="1"/>
                </p:cNvPicPr>
                <p:nvPr/>
              </p:nvPicPr>
              <p:blipFill>
                <a:blip r:embed="rId49">
                  <a:extLst>
                    <a:ext uri="{28A0092B-C50C-407E-A947-70E740481C1C}">
                      <a14:useLocalDpi xmlns:a14="http://schemas.microsoft.com/office/drawing/2010/main" val="0"/>
                    </a:ext>
                  </a:extLst>
                </a:blip>
                <a:srcRect/>
                <a:stretch>
                  <a:fillRect/>
                </a:stretch>
              </p:blipFill>
              <p:spPr bwMode="auto">
                <a:xfrm>
                  <a:off x="5835" y="3278"/>
                  <a:ext cx="36" cy="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9" name="Group 406">
                <a:extLst>
                  <a:ext uri="{FF2B5EF4-FFF2-40B4-BE49-F238E27FC236}">
                    <a16:creationId xmlns:a16="http://schemas.microsoft.com/office/drawing/2014/main" id="{ADC03533-15FB-91CC-B9E7-BF80D0E2CC26}"/>
                  </a:ext>
                </a:extLst>
              </p:cNvPr>
              <p:cNvGrpSpPr>
                <a:grpSpLocks/>
              </p:cNvGrpSpPr>
              <p:nvPr/>
            </p:nvGrpSpPr>
            <p:grpSpPr bwMode="auto">
              <a:xfrm>
                <a:off x="577097" y="5458809"/>
                <a:ext cx="6017132" cy="1325349"/>
                <a:chOff x="583" y="3220"/>
                <a:chExt cx="5330" cy="1174"/>
              </a:xfrm>
            </p:grpSpPr>
            <p:pic>
              <p:nvPicPr>
                <p:cNvPr id="34" name="Picture 206">
                  <a:extLst>
                    <a:ext uri="{FF2B5EF4-FFF2-40B4-BE49-F238E27FC236}">
                      <a16:creationId xmlns:a16="http://schemas.microsoft.com/office/drawing/2014/main" id="{6823EB87-80A9-BE2A-2B47-5AB6F15B4C6A}"/>
                    </a:ext>
                  </a:extLst>
                </p:cNvPr>
                <p:cNvPicPr>
                  <a:picLocks noChangeAspect="1"/>
                </p:cNvPicPr>
                <p:nvPr/>
              </p:nvPicPr>
              <p:blipFill>
                <a:blip r:embed="rId50">
                  <a:extLst>
                    <a:ext uri="{28A0092B-C50C-407E-A947-70E740481C1C}">
                      <a14:useLocalDpi xmlns:a14="http://schemas.microsoft.com/office/drawing/2010/main" val="0"/>
                    </a:ext>
                  </a:extLst>
                </a:blip>
                <a:srcRect/>
                <a:stretch>
                  <a:fillRect/>
                </a:stretch>
              </p:blipFill>
              <p:spPr bwMode="auto">
                <a:xfrm>
                  <a:off x="5622" y="3552"/>
                  <a:ext cx="150" cy="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 name="Picture 207">
                  <a:extLst>
                    <a:ext uri="{FF2B5EF4-FFF2-40B4-BE49-F238E27FC236}">
                      <a16:creationId xmlns:a16="http://schemas.microsoft.com/office/drawing/2014/main" id="{7A63F11D-E84C-696A-936C-C1B18FE34F59}"/>
                    </a:ext>
                  </a:extLst>
                </p:cNvPr>
                <p:cNvPicPr>
                  <a:picLocks noChangeAspect="1"/>
                </p:cNvPicPr>
                <p:nvPr/>
              </p:nvPicPr>
              <p:blipFill>
                <a:blip r:embed="rId51">
                  <a:extLst>
                    <a:ext uri="{28A0092B-C50C-407E-A947-70E740481C1C}">
                      <a14:useLocalDpi xmlns:a14="http://schemas.microsoft.com/office/drawing/2010/main" val="0"/>
                    </a:ext>
                  </a:extLst>
                </a:blip>
                <a:srcRect/>
                <a:stretch>
                  <a:fillRect/>
                </a:stretch>
              </p:blipFill>
              <p:spPr bwMode="auto">
                <a:xfrm>
                  <a:off x="5815" y="3652"/>
                  <a:ext cx="48" cy="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 name="Picture 208">
                  <a:extLst>
                    <a:ext uri="{FF2B5EF4-FFF2-40B4-BE49-F238E27FC236}">
                      <a16:creationId xmlns:a16="http://schemas.microsoft.com/office/drawing/2014/main" id="{3082A584-B6DF-62BA-47BE-1165E1B3FB3E}"/>
                    </a:ext>
                  </a:extLst>
                </p:cNvPr>
                <p:cNvPicPr>
                  <a:picLocks noChangeAspect="1"/>
                </p:cNvPicPr>
                <p:nvPr/>
              </p:nvPicPr>
              <p:blipFill>
                <a:blip r:embed="rId52">
                  <a:extLst>
                    <a:ext uri="{28A0092B-C50C-407E-A947-70E740481C1C}">
                      <a14:useLocalDpi xmlns:a14="http://schemas.microsoft.com/office/drawing/2010/main" val="0"/>
                    </a:ext>
                  </a:extLst>
                </a:blip>
                <a:srcRect/>
                <a:stretch>
                  <a:fillRect/>
                </a:stretch>
              </p:blipFill>
              <p:spPr bwMode="auto">
                <a:xfrm>
                  <a:off x="5849" y="3656"/>
                  <a:ext cx="18" cy="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 name="Picture 209">
                  <a:extLst>
                    <a:ext uri="{FF2B5EF4-FFF2-40B4-BE49-F238E27FC236}">
                      <a16:creationId xmlns:a16="http://schemas.microsoft.com/office/drawing/2014/main" id="{015C84F3-DBF0-E8F0-343D-BC21B7416F24}"/>
                    </a:ext>
                  </a:extLst>
                </p:cNvPr>
                <p:cNvPicPr>
                  <a:picLocks noChangeAspect="1"/>
                </p:cNvPicPr>
                <p:nvPr/>
              </p:nvPicPr>
              <p:blipFill>
                <a:blip r:embed="rId53">
                  <a:extLst>
                    <a:ext uri="{28A0092B-C50C-407E-A947-70E740481C1C}">
                      <a14:useLocalDpi xmlns:a14="http://schemas.microsoft.com/office/drawing/2010/main" val="0"/>
                    </a:ext>
                  </a:extLst>
                </a:blip>
                <a:srcRect/>
                <a:stretch>
                  <a:fillRect/>
                </a:stretch>
              </p:blipFill>
              <p:spPr bwMode="auto">
                <a:xfrm>
                  <a:off x="5847" y="3658"/>
                  <a:ext cx="18" cy="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 name="Picture 210">
                  <a:extLst>
                    <a:ext uri="{FF2B5EF4-FFF2-40B4-BE49-F238E27FC236}">
                      <a16:creationId xmlns:a16="http://schemas.microsoft.com/office/drawing/2014/main" id="{597EFDB0-C703-F300-9C1E-46EB0B288C4F}"/>
                    </a:ext>
                  </a:extLst>
                </p:cNvPr>
                <p:cNvPicPr>
                  <a:picLocks noChangeAspect="1"/>
                </p:cNvPicPr>
                <p:nvPr/>
              </p:nvPicPr>
              <p:blipFill>
                <a:blip r:embed="rId54">
                  <a:extLst>
                    <a:ext uri="{28A0092B-C50C-407E-A947-70E740481C1C}">
                      <a14:useLocalDpi xmlns:a14="http://schemas.microsoft.com/office/drawing/2010/main" val="0"/>
                    </a:ext>
                  </a:extLst>
                </a:blip>
                <a:srcRect/>
                <a:stretch>
                  <a:fillRect/>
                </a:stretch>
              </p:blipFill>
              <p:spPr bwMode="auto">
                <a:xfrm>
                  <a:off x="5845" y="3668"/>
                  <a:ext cx="18" cy="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 name="Picture 211">
                  <a:extLst>
                    <a:ext uri="{FF2B5EF4-FFF2-40B4-BE49-F238E27FC236}">
                      <a16:creationId xmlns:a16="http://schemas.microsoft.com/office/drawing/2014/main" id="{F191DFC6-23B9-F30E-6DA3-488644751B0C}"/>
                    </a:ext>
                  </a:extLst>
                </p:cNvPr>
                <p:cNvPicPr>
                  <a:picLocks noChangeAspect="1"/>
                </p:cNvPicPr>
                <p:nvPr/>
              </p:nvPicPr>
              <p:blipFill>
                <a:blip r:embed="rId55">
                  <a:extLst>
                    <a:ext uri="{28A0092B-C50C-407E-A947-70E740481C1C}">
                      <a14:useLocalDpi xmlns:a14="http://schemas.microsoft.com/office/drawing/2010/main" val="0"/>
                    </a:ext>
                  </a:extLst>
                </a:blip>
                <a:srcRect/>
                <a:stretch>
                  <a:fillRect/>
                </a:stretch>
              </p:blipFill>
              <p:spPr bwMode="auto">
                <a:xfrm>
                  <a:off x="5847" y="3674"/>
                  <a:ext cx="10" cy="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0" name="Picture 212">
                  <a:extLst>
                    <a:ext uri="{FF2B5EF4-FFF2-40B4-BE49-F238E27FC236}">
                      <a16:creationId xmlns:a16="http://schemas.microsoft.com/office/drawing/2014/main" id="{70174785-4CFC-CF83-957B-5D922C1EE421}"/>
                    </a:ext>
                  </a:extLst>
                </p:cNvPr>
                <p:cNvPicPr>
                  <a:picLocks noChangeAspect="1"/>
                </p:cNvPicPr>
                <p:nvPr/>
              </p:nvPicPr>
              <p:blipFill>
                <a:blip r:embed="rId56">
                  <a:extLst>
                    <a:ext uri="{28A0092B-C50C-407E-A947-70E740481C1C}">
                      <a14:useLocalDpi xmlns:a14="http://schemas.microsoft.com/office/drawing/2010/main" val="0"/>
                    </a:ext>
                  </a:extLst>
                </a:blip>
                <a:srcRect/>
                <a:stretch>
                  <a:fillRect/>
                </a:stretch>
              </p:blipFill>
              <p:spPr bwMode="auto">
                <a:xfrm>
                  <a:off x="5843" y="3672"/>
                  <a:ext cx="18" cy="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 name="Picture 213">
                  <a:extLst>
                    <a:ext uri="{FF2B5EF4-FFF2-40B4-BE49-F238E27FC236}">
                      <a16:creationId xmlns:a16="http://schemas.microsoft.com/office/drawing/2014/main" id="{2D046885-2846-99A3-C9A8-B1B8D65DD61A}"/>
                    </a:ext>
                  </a:extLst>
                </p:cNvPr>
                <p:cNvPicPr>
                  <a:picLocks noChangeAspect="1"/>
                </p:cNvPicPr>
                <p:nvPr/>
              </p:nvPicPr>
              <p:blipFill>
                <a:blip r:embed="rId57">
                  <a:extLst>
                    <a:ext uri="{28A0092B-C50C-407E-A947-70E740481C1C}">
                      <a14:useLocalDpi xmlns:a14="http://schemas.microsoft.com/office/drawing/2010/main" val="0"/>
                    </a:ext>
                  </a:extLst>
                </a:blip>
                <a:srcRect/>
                <a:stretch>
                  <a:fillRect/>
                </a:stretch>
              </p:blipFill>
              <p:spPr bwMode="auto">
                <a:xfrm>
                  <a:off x="5839" y="3678"/>
                  <a:ext cx="18" cy="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2" name="Picture 214">
                  <a:extLst>
                    <a:ext uri="{FF2B5EF4-FFF2-40B4-BE49-F238E27FC236}">
                      <a16:creationId xmlns:a16="http://schemas.microsoft.com/office/drawing/2014/main" id="{CDE21C63-81A9-1305-D645-CD63FA2F8ACC}"/>
                    </a:ext>
                  </a:extLst>
                </p:cNvPr>
                <p:cNvPicPr>
                  <a:picLocks noChangeAspect="1"/>
                </p:cNvPicPr>
                <p:nvPr/>
              </p:nvPicPr>
              <p:blipFill>
                <a:blip r:embed="rId58">
                  <a:extLst>
                    <a:ext uri="{28A0092B-C50C-407E-A947-70E740481C1C}">
                      <a14:useLocalDpi xmlns:a14="http://schemas.microsoft.com/office/drawing/2010/main" val="0"/>
                    </a:ext>
                  </a:extLst>
                </a:blip>
                <a:srcRect/>
                <a:stretch>
                  <a:fillRect/>
                </a:stretch>
              </p:blipFill>
              <p:spPr bwMode="auto">
                <a:xfrm>
                  <a:off x="5819" y="3660"/>
                  <a:ext cx="46" cy="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 name="Picture 215">
                  <a:extLst>
                    <a:ext uri="{FF2B5EF4-FFF2-40B4-BE49-F238E27FC236}">
                      <a16:creationId xmlns:a16="http://schemas.microsoft.com/office/drawing/2014/main" id="{87B14890-BAC6-6A54-6963-BE08A98F1CB3}"/>
                    </a:ext>
                  </a:extLst>
                </p:cNvPr>
                <p:cNvPicPr>
                  <a:picLocks noChangeAspect="1"/>
                </p:cNvPicPr>
                <p:nvPr/>
              </p:nvPicPr>
              <p:blipFill>
                <a:blip r:embed="rId59">
                  <a:extLst>
                    <a:ext uri="{28A0092B-C50C-407E-A947-70E740481C1C}">
                      <a14:useLocalDpi xmlns:a14="http://schemas.microsoft.com/office/drawing/2010/main" val="0"/>
                    </a:ext>
                  </a:extLst>
                </a:blip>
                <a:srcRect/>
                <a:stretch>
                  <a:fillRect/>
                </a:stretch>
              </p:blipFill>
              <p:spPr bwMode="auto">
                <a:xfrm>
                  <a:off x="5586" y="3652"/>
                  <a:ext cx="48" cy="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4" name="Picture 216">
                  <a:extLst>
                    <a:ext uri="{FF2B5EF4-FFF2-40B4-BE49-F238E27FC236}">
                      <a16:creationId xmlns:a16="http://schemas.microsoft.com/office/drawing/2014/main" id="{A5081C26-1AE9-F1B7-AE34-5C318741B045}"/>
                    </a:ext>
                  </a:extLst>
                </p:cNvPr>
                <p:cNvPicPr>
                  <a:picLocks noChangeAspect="1"/>
                </p:cNvPicPr>
                <p:nvPr/>
              </p:nvPicPr>
              <p:blipFill>
                <a:blip r:embed="rId60">
                  <a:extLst>
                    <a:ext uri="{28A0092B-C50C-407E-A947-70E740481C1C}">
                      <a14:useLocalDpi xmlns:a14="http://schemas.microsoft.com/office/drawing/2010/main" val="0"/>
                    </a:ext>
                  </a:extLst>
                </a:blip>
                <a:srcRect/>
                <a:stretch>
                  <a:fillRect/>
                </a:stretch>
              </p:blipFill>
              <p:spPr bwMode="auto">
                <a:xfrm>
                  <a:off x="5586" y="3662"/>
                  <a:ext cx="18"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5" name="Picture 217">
                  <a:extLst>
                    <a:ext uri="{FF2B5EF4-FFF2-40B4-BE49-F238E27FC236}">
                      <a16:creationId xmlns:a16="http://schemas.microsoft.com/office/drawing/2014/main" id="{ED6E0BAF-DAA2-9629-048E-1BECFA9F5030}"/>
                    </a:ext>
                  </a:extLst>
                </p:cNvPr>
                <p:cNvPicPr>
                  <a:picLocks noChangeAspect="1"/>
                </p:cNvPicPr>
                <p:nvPr/>
              </p:nvPicPr>
              <p:blipFill>
                <a:blip r:embed="rId61">
                  <a:extLst>
                    <a:ext uri="{28A0092B-C50C-407E-A947-70E740481C1C}">
                      <a14:useLocalDpi xmlns:a14="http://schemas.microsoft.com/office/drawing/2010/main" val="0"/>
                    </a:ext>
                  </a:extLst>
                </a:blip>
                <a:srcRect/>
                <a:stretch>
                  <a:fillRect/>
                </a:stretch>
              </p:blipFill>
              <p:spPr bwMode="auto">
                <a:xfrm>
                  <a:off x="5588" y="3662"/>
                  <a:ext cx="14" cy="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6" name="Picture 218">
                  <a:extLst>
                    <a:ext uri="{FF2B5EF4-FFF2-40B4-BE49-F238E27FC236}">
                      <a16:creationId xmlns:a16="http://schemas.microsoft.com/office/drawing/2014/main" id="{DFAF70AD-AD30-1FB2-E347-3788B0CA7C83}"/>
                    </a:ext>
                  </a:extLst>
                </p:cNvPr>
                <p:cNvPicPr>
                  <a:picLocks noChangeAspect="1"/>
                </p:cNvPicPr>
                <p:nvPr/>
              </p:nvPicPr>
              <p:blipFill>
                <a:blip r:embed="rId62">
                  <a:extLst>
                    <a:ext uri="{28A0092B-C50C-407E-A947-70E740481C1C}">
                      <a14:useLocalDpi xmlns:a14="http://schemas.microsoft.com/office/drawing/2010/main" val="0"/>
                    </a:ext>
                  </a:extLst>
                </a:blip>
                <a:srcRect/>
                <a:stretch>
                  <a:fillRect/>
                </a:stretch>
              </p:blipFill>
              <p:spPr bwMode="auto">
                <a:xfrm>
                  <a:off x="5590" y="3672"/>
                  <a:ext cx="18" cy="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 name="Picture 219">
                  <a:extLst>
                    <a:ext uri="{FF2B5EF4-FFF2-40B4-BE49-F238E27FC236}">
                      <a16:creationId xmlns:a16="http://schemas.microsoft.com/office/drawing/2014/main" id="{06548ED0-8929-5CCA-E8A7-5FE8C07CC600}"/>
                    </a:ext>
                  </a:extLst>
                </p:cNvPr>
                <p:cNvPicPr>
                  <a:picLocks noChangeAspect="1"/>
                </p:cNvPicPr>
                <p:nvPr/>
              </p:nvPicPr>
              <p:blipFill>
                <a:blip r:embed="rId63">
                  <a:extLst>
                    <a:ext uri="{28A0092B-C50C-407E-A947-70E740481C1C}">
                      <a14:useLocalDpi xmlns:a14="http://schemas.microsoft.com/office/drawing/2010/main" val="0"/>
                    </a:ext>
                  </a:extLst>
                </a:blip>
                <a:srcRect/>
                <a:stretch>
                  <a:fillRect/>
                </a:stretch>
              </p:blipFill>
              <p:spPr bwMode="auto">
                <a:xfrm>
                  <a:off x="5592" y="3674"/>
                  <a:ext cx="38" cy="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 name="Picture 220">
                  <a:extLst>
                    <a:ext uri="{FF2B5EF4-FFF2-40B4-BE49-F238E27FC236}">
                      <a16:creationId xmlns:a16="http://schemas.microsoft.com/office/drawing/2014/main" id="{53B5E78F-7B32-A541-FAD5-C0A954F7A6CB}"/>
                    </a:ext>
                  </a:extLst>
                </p:cNvPr>
                <p:cNvPicPr>
                  <a:picLocks noChangeAspect="1"/>
                </p:cNvPicPr>
                <p:nvPr/>
              </p:nvPicPr>
              <p:blipFill>
                <a:blip r:embed="rId64">
                  <a:extLst>
                    <a:ext uri="{28A0092B-C50C-407E-A947-70E740481C1C}">
                      <a14:useLocalDpi xmlns:a14="http://schemas.microsoft.com/office/drawing/2010/main" val="0"/>
                    </a:ext>
                  </a:extLst>
                </a:blip>
                <a:srcRect/>
                <a:stretch>
                  <a:fillRect/>
                </a:stretch>
              </p:blipFill>
              <p:spPr bwMode="auto">
                <a:xfrm>
                  <a:off x="5588" y="3660"/>
                  <a:ext cx="42" cy="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9" name="Rectangle 221">
                  <a:extLst>
                    <a:ext uri="{FF2B5EF4-FFF2-40B4-BE49-F238E27FC236}">
                      <a16:creationId xmlns:a16="http://schemas.microsoft.com/office/drawing/2014/main" id="{3835E16C-E775-527B-92BE-FB99AA227FD8}"/>
                    </a:ext>
                  </a:extLst>
                </p:cNvPr>
                <p:cNvSpPr>
                  <a:spLocks/>
                </p:cNvSpPr>
                <p:nvPr/>
              </p:nvSpPr>
              <p:spPr bwMode="auto">
                <a:xfrm>
                  <a:off x="5853" y="3568"/>
                  <a:ext cx="22" cy="92"/>
                </a:xfrm>
                <a:prstGeom prst="rect">
                  <a:avLst/>
                </a:prstGeom>
                <a:solidFill>
                  <a:srgbClr val="B30F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50" name="Freeform 222">
                  <a:extLst>
                    <a:ext uri="{FF2B5EF4-FFF2-40B4-BE49-F238E27FC236}">
                      <a16:creationId xmlns:a16="http://schemas.microsoft.com/office/drawing/2014/main" id="{BF96530E-2FEF-AEEE-73F8-CC3A3AC627FB}"/>
                    </a:ext>
                  </a:extLst>
                </p:cNvPr>
                <p:cNvSpPr>
                  <a:spLocks/>
                </p:cNvSpPr>
                <p:nvPr/>
              </p:nvSpPr>
              <p:spPr bwMode="auto">
                <a:xfrm>
                  <a:off x="5849" y="3584"/>
                  <a:ext cx="28" cy="66"/>
                </a:xfrm>
                <a:custGeom>
                  <a:avLst/>
                  <a:gdLst>
                    <a:gd name="T0" fmla="*/ 8 w 14"/>
                    <a:gd name="T1" fmla="*/ 0 h 33"/>
                    <a:gd name="T2" fmla="*/ 1 w 14"/>
                    <a:gd name="T3" fmla="*/ 16 h 33"/>
                    <a:gd name="T4" fmla="*/ 6 w 14"/>
                    <a:gd name="T5" fmla="*/ 33 h 33"/>
                    <a:gd name="T6" fmla="*/ 13 w 14"/>
                    <a:gd name="T7" fmla="*/ 17 h 33"/>
                    <a:gd name="T8" fmla="*/ 8 w 14"/>
                    <a:gd name="T9" fmla="*/ 0 h 33"/>
                  </a:gdLst>
                  <a:ahLst/>
                  <a:cxnLst>
                    <a:cxn ang="0">
                      <a:pos x="T0" y="T1"/>
                    </a:cxn>
                    <a:cxn ang="0">
                      <a:pos x="T2" y="T3"/>
                    </a:cxn>
                    <a:cxn ang="0">
                      <a:pos x="T4" y="T5"/>
                    </a:cxn>
                    <a:cxn ang="0">
                      <a:pos x="T6" y="T7"/>
                    </a:cxn>
                    <a:cxn ang="0">
                      <a:pos x="T8" y="T9"/>
                    </a:cxn>
                  </a:cxnLst>
                  <a:rect l="0" t="0" r="r" b="b"/>
                  <a:pathLst>
                    <a:path w="14" h="33">
                      <a:moveTo>
                        <a:pt x="8" y="0"/>
                      </a:moveTo>
                      <a:cubicBezTo>
                        <a:pt x="5" y="0"/>
                        <a:pt x="2" y="7"/>
                        <a:pt x="1" y="16"/>
                      </a:cubicBezTo>
                      <a:cubicBezTo>
                        <a:pt x="0" y="25"/>
                        <a:pt x="2" y="33"/>
                        <a:pt x="6" y="33"/>
                      </a:cubicBezTo>
                      <a:cubicBezTo>
                        <a:pt x="9" y="33"/>
                        <a:pt x="13" y="26"/>
                        <a:pt x="13" y="17"/>
                      </a:cubicBezTo>
                      <a:cubicBezTo>
                        <a:pt x="14" y="8"/>
                        <a:pt x="12" y="1"/>
                        <a:pt x="8" y="0"/>
                      </a:cubicBezTo>
                      <a:close/>
                    </a:path>
                  </a:pathLst>
                </a:custGeom>
                <a:solidFill>
                  <a:srgbClr val="B30F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51" name="Freeform 223">
                  <a:extLst>
                    <a:ext uri="{FF2B5EF4-FFF2-40B4-BE49-F238E27FC236}">
                      <a16:creationId xmlns:a16="http://schemas.microsoft.com/office/drawing/2014/main" id="{4488D272-E0BB-33ED-E03A-A3A35BEFBEE6}"/>
                    </a:ext>
                  </a:extLst>
                </p:cNvPr>
                <p:cNvSpPr>
                  <a:spLocks/>
                </p:cNvSpPr>
                <p:nvPr/>
              </p:nvSpPr>
              <p:spPr bwMode="auto">
                <a:xfrm>
                  <a:off x="5849" y="3584"/>
                  <a:ext cx="28" cy="66"/>
                </a:xfrm>
                <a:custGeom>
                  <a:avLst/>
                  <a:gdLst>
                    <a:gd name="T0" fmla="*/ 8 w 14"/>
                    <a:gd name="T1" fmla="*/ 0 h 33"/>
                    <a:gd name="T2" fmla="*/ 1 w 14"/>
                    <a:gd name="T3" fmla="*/ 16 h 33"/>
                    <a:gd name="T4" fmla="*/ 6 w 14"/>
                    <a:gd name="T5" fmla="*/ 33 h 33"/>
                    <a:gd name="T6" fmla="*/ 13 w 14"/>
                    <a:gd name="T7" fmla="*/ 17 h 33"/>
                    <a:gd name="T8" fmla="*/ 8 w 14"/>
                    <a:gd name="T9" fmla="*/ 0 h 33"/>
                  </a:gdLst>
                  <a:ahLst/>
                  <a:cxnLst>
                    <a:cxn ang="0">
                      <a:pos x="T0" y="T1"/>
                    </a:cxn>
                    <a:cxn ang="0">
                      <a:pos x="T2" y="T3"/>
                    </a:cxn>
                    <a:cxn ang="0">
                      <a:pos x="T4" y="T5"/>
                    </a:cxn>
                    <a:cxn ang="0">
                      <a:pos x="T6" y="T7"/>
                    </a:cxn>
                    <a:cxn ang="0">
                      <a:pos x="T8" y="T9"/>
                    </a:cxn>
                  </a:cxnLst>
                  <a:rect l="0" t="0" r="r" b="b"/>
                  <a:pathLst>
                    <a:path w="14" h="33">
                      <a:moveTo>
                        <a:pt x="8" y="0"/>
                      </a:moveTo>
                      <a:cubicBezTo>
                        <a:pt x="5" y="0"/>
                        <a:pt x="2" y="7"/>
                        <a:pt x="1" y="16"/>
                      </a:cubicBezTo>
                      <a:cubicBezTo>
                        <a:pt x="0" y="25"/>
                        <a:pt x="2" y="33"/>
                        <a:pt x="6" y="33"/>
                      </a:cubicBezTo>
                      <a:cubicBezTo>
                        <a:pt x="9" y="33"/>
                        <a:pt x="12" y="26"/>
                        <a:pt x="13" y="17"/>
                      </a:cubicBezTo>
                      <a:cubicBezTo>
                        <a:pt x="14" y="8"/>
                        <a:pt x="12" y="1"/>
                        <a:pt x="8" y="0"/>
                      </a:cubicBezTo>
                      <a:close/>
                    </a:path>
                  </a:pathLst>
                </a:custGeom>
                <a:solidFill>
                  <a:srgbClr val="B30F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52" name="Freeform 224">
                  <a:extLst>
                    <a:ext uri="{FF2B5EF4-FFF2-40B4-BE49-F238E27FC236}">
                      <a16:creationId xmlns:a16="http://schemas.microsoft.com/office/drawing/2014/main" id="{AE51AEC2-D3A9-1B79-B701-1BBA6FE74FC8}"/>
                    </a:ext>
                  </a:extLst>
                </p:cNvPr>
                <p:cNvSpPr>
                  <a:spLocks/>
                </p:cNvSpPr>
                <p:nvPr/>
              </p:nvSpPr>
              <p:spPr bwMode="auto">
                <a:xfrm>
                  <a:off x="5849" y="3584"/>
                  <a:ext cx="28" cy="66"/>
                </a:xfrm>
                <a:custGeom>
                  <a:avLst/>
                  <a:gdLst>
                    <a:gd name="T0" fmla="*/ 8 w 14"/>
                    <a:gd name="T1" fmla="*/ 1 h 33"/>
                    <a:gd name="T2" fmla="*/ 1 w 14"/>
                    <a:gd name="T3" fmla="*/ 16 h 33"/>
                    <a:gd name="T4" fmla="*/ 6 w 14"/>
                    <a:gd name="T5" fmla="*/ 33 h 33"/>
                    <a:gd name="T6" fmla="*/ 13 w 14"/>
                    <a:gd name="T7" fmla="*/ 17 h 33"/>
                    <a:gd name="T8" fmla="*/ 8 w 14"/>
                    <a:gd name="T9" fmla="*/ 1 h 33"/>
                  </a:gdLst>
                  <a:ahLst/>
                  <a:cxnLst>
                    <a:cxn ang="0">
                      <a:pos x="T0" y="T1"/>
                    </a:cxn>
                    <a:cxn ang="0">
                      <a:pos x="T2" y="T3"/>
                    </a:cxn>
                    <a:cxn ang="0">
                      <a:pos x="T4" y="T5"/>
                    </a:cxn>
                    <a:cxn ang="0">
                      <a:pos x="T6" y="T7"/>
                    </a:cxn>
                    <a:cxn ang="0">
                      <a:pos x="T8" y="T9"/>
                    </a:cxn>
                  </a:cxnLst>
                  <a:rect l="0" t="0" r="r" b="b"/>
                  <a:pathLst>
                    <a:path w="14" h="33">
                      <a:moveTo>
                        <a:pt x="8" y="1"/>
                      </a:moveTo>
                      <a:cubicBezTo>
                        <a:pt x="5" y="0"/>
                        <a:pt x="2" y="7"/>
                        <a:pt x="1" y="16"/>
                      </a:cubicBezTo>
                      <a:cubicBezTo>
                        <a:pt x="0" y="25"/>
                        <a:pt x="3" y="32"/>
                        <a:pt x="6" y="33"/>
                      </a:cubicBezTo>
                      <a:cubicBezTo>
                        <a:pt x="9" y="33"/>
                        <a:pt x="12" y="26"/>
                        <a:pt x="13" y="17"/>
                      </a:cubicBezTo>
                      <a:cubicBezTo>
                        <a:pt x="14" y="8"/>
                        <a:pt x="12" y="1"/>
                        <a:pt x="8" y="1"/>
                      </a:cubicBezTo>
                      <a:close/>
                    </a:path>
                  </a:pathLst>
                </a:custGeom>
                <a:solidFill>
                  <a:srgbClr val="B410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53" name="Freeform 225">
                  <a:extLst>
                    <a:ext uri="{FF2B5EF4-FFF2-40B4-BE49-F238E27FC236}">
                      <a16:creationId xmlns:a16="http://schemas.microsoft.com/office/drawing/2014/main" id="{439B4A77-94FC-A5CB-3FE2-42F96D3C6BC5}"/>
                    </a:ext>
                  </a:extLst>
                </p:cNvPr>
                <p:cNvSpPr>
                  <a:spLocks/>
                </p:cNvSpPr>
                <p:nvPr/>
              </p:nvSpPr>
              <p:spPr bwMode="auto">
                <a:xfrm>
                  <a:off x="5851" y="3586"/>
                  <a:ext cx="26" cy="64"/>
                </a:xfrm>
                <a:custGeom>
                  <a:avLst/>
                  <a:gdLst>
                    <a:gd name="T0" fmla="*/ 7 w 13"/>
                    <a:gd name="T1" fmla="*/ 0 h 32"/>
                    <a:gd name="T2" fmla="*/ 0 w 13"/>
                    <a:gd name="T3" fmla="*/ 15 h 32"/>
                    <a:gd name="T4" fmla="*/ 5 w 13"/>
                    <a:gd name="T5" fmla="*/ 31 h 32"/>
                    <a:gd name="T6" fmla="*/ 12 w 13"/>
                    <a:gd name="T7" fmla="*/ 16 h 32"/>
                    <a:gd name="T8" fmla="*/ 7 w 13"/>
                    <a:gd name="T9" fmla="*/ 0 h 32"/>
                  </a:gdLst>
                  <a:ahLst/>
                  <a:cxnLst>
                    <a:cxn ang="0">
                      <a:pos x="T0" y="T1"/>
                    </a:cxn>
                    <a:cxn ang="0">
                      <a:pos x="T2" y="T3"/>
                    </a:cxn>
                    <a:cxn ang="0">
                      <a:pos x="T4" y="T5"/>
                    </a:cxn>
                    <a:cxn ang="0">
                      <a:pos x="T6" y="T7"/>
                    </a:cxn>
                    <a:cxn ang="0">
                      <a:pos x="T8" y="T9"/>
                    </a:cxn>
                  </a:cxnLst>
                  <a:rect l="0" t="0" r="r" b="b"/>
                  <a:pathLst>
                    <a:path w="13" h="32">
                      <a:moveTo>
                        <a:pt x="7" y="0"/>
                      </a:moveTo>
                      <a:cubicBezTo>
                        <a:pt x="4" y="0"/>
                        <a:pt x="1" y="6"/>
                        <a:pt x="0" y="15"/>
                      </a:cubicBezTo>
                      <a:cubicBezTo>
                        <a:pt x="0" y="24"/>
                        <a:pt x="2" y="31"/>
                        <a:pt x="5" y="31"/>
                      </a:cubicBezTo>
                      <a:cubicBezTo>
                        <a:pt x="8" y="32"/>
                        <a:pt x="11" y="25"/>
                        <a:pt x="12" y="16"/>
                      </a:cubicBezTo>
                      <a:cubicBezTo>
                        <a:pt x="13" y="7"/>
                        <a:pt x="11" y="0"/>
                        <a:pt x="7" y="0"/>
                      </a:cubicBezTo>
                      <a:close/>
                    </a:path>
                  </a:pathLst>
                </a:custGeom>
                <a:solidFill>
                  <a:srgbClr val="B511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54" name="Freeform 226">
                  <a:extLst>
                    <a:ext uri="{FF2B5EF4-FFF2-40B4-BE49-F238E27FC236}">
                      <a16:creationId xmlns:a16="http://schemas.microsoft.com/office/drawing/2014/main" id="{DCB61655-64DC-CCFC-8A27-665541879C0D}"/>
                    </a:ext>
                  </a:extLst>
                </p:cNvPr>
                <p:cNvSpPr>
                  <a:spLocks/>
                </p:cNvSpPr>
                <p:nvPr/>
              </p:nvSpPr>
              <p:spPr bwMode="auto">
                <a:xfrm>
                  <a:off x="5851" y="3586"/>
                  <a:ext cx="26" cy="64"/>
                </a:xfrm>
                <a:custGeom>
                  <a:avLst/>
                  <a:gdLst>
                    <a:gd name="T0" fmla="*/ 7 w 13"/>
                    <a:gd name="T1" fmla="*/ 0 h 32"/>
                    <a:gd name="T2" fmla="*/ 0 w 13"/>
                    <a:gd name="T3" fmla="*/ 15 h 32"/>
                    <a:gd name="T4" fmla="*/ 5 w 13"/>
                    <a:gd name="T5" fmla="*/ 31 h 32"/>
                    <a:gd name="T6" fmla="*/ 12 w 13"/>
                    <a:gd name="T7" fmla="*/ 16 h 32"/>
                    <a:gd name="T8" fmla="*/ 7 w 13"/>
                    <a:gd name="T9" fmla="*/ 0 h 32"/>
                  </a:gdLst>
                  <a:ahLst/>
                  <a:cxnLst>
                    <a:cxn ang="0">
                      <a:pos x="T0" y="T1"/>
                    </a:cxn>
                    <a:cxn ang="0">
                      <a:pos x="T2" y="T3"/>
                    </a:cxn>
                    <a:cxn ang="0">
                      <a:pos x="T4" y="T5"/>
                    </a:cxn>
                    <a:cxn ang="0">
                      <a:pos x="T6" y="T7"/>
                    </a:cxn>
                    <a:cxn ang="0">
                      <a:pos x="T8" y="T9"/>
                    </a:cxn>
                  </a:cxnLst>
                  <a:rect l="0" t="0" r="r" b="b"/>
                  <a:pathLst>
                    <a:path w="13" h="32">
                      <a:moveTo>
                        <a:pt x="7" y="0"/>
                      </a:moveTo>
                      <a:cubicBezTo>
                        <a:pt x="4" y="0"/>
                        <a:pt x="1" y="7"/>
                        <a:pt x="0" y="15"/>
                      </a:cubicBezTo>
                      <a:cubicBezTo>
                        <a:pt x="0" y="24"/>
                        <a:pt x="2" y="31"/>
                        <a:pt x="5" y="31"/>
                      </a:cubicBezTo>
                      <a:cubicBezTo>
                        <a:pt x="8" y="32"/>
                        <a:pt x="11" y="25"/>
                        <a:pt x="12" y="16"/>
                      </a:cubicBezTo>
                      <a:cubicBezTo>
                        <a:pt x="13" y="8"/>
                        <a:pt x="11" y="0"/>
                        <a:pt x="7" y="0"/>
                      </a:cubicBezTo>
                      <a:close/>
                    </a:path>
                  </a:pathLst>
                </a:custGeom>
                <a:solidFill>
                  <a:srgbClr val="B511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55" name="Freeform 227">
                  <a:extLst>
                    <a:ext uri="{FF2B5EF4-FFF2-40B4-BE49-F238E27FC236}">
                      <a16:creationId xmlns:a16="http://schemas.microsoft.com/office/drawing/2014/main" id="{F592C732-C262-0BE2-453F-8D820CEE927A}"/>
                    </a:ext>
                  </a:extLst>
                </p:cNvPr>
                <p:cNvSpPr>
                  <a:spLocks/>
                </p:cNvSpPr>
                <p:nvPr/>
              </p:nvSpPr>
              <p:spPr bwMode="auto">
                <a:xfrm>
                  <a:off x="5851" y="3586"/>
                  <a:ext cx="26" cy="62"/>
                </a:xfrm>
                <a:custGeom>
                  <a:avLst/>
                  <a:gdLst>
                    <a:gd name="T0" fmla="*/ 7 w 13"/>
                    <a:gd name="T1" fmla="*/ 0 h 31"/>
                    <a:gd name="T2" fmla="*/ 0 w 13"/>
                    <a:gd name="T3" fmla="*/ 15 h 31"/>
                    <a:gd name="T4" fmla="*/ 5 w 13"/>
                    <a:gd name="T5" fmla="*/ 31 h 31"/>
                    <a:gd name="T6" fmla="*/ 12 w 13"/>
                    <a:gd name="T7" fmla="*/ 16 h 31"/>
                    <a:gd name="T8" fmla="*/ 7 w 13"/>
                    <a:gd name="T9" fmla="*/ 0 h 31"/>
                  </a:gdLst>
                  <a:ahLst/>
                  <a:cxnLst>
                    <a:cxn ang="0">
                      <a:pos x="T0" y="T1"/>
                    </a:cxn>
                    <a:cxn ang="0">
                      <a:pos x="T2" y="T3"/>
                    </a:cxn>
                    <a:cxn ang="0">
                      <a:pos x="T4" y="T5"/>
                    </a:cxn>
                    <a:cxn ang="0">
                      <a:pos x="T6" y="T7"/>
                    </a:cxn>
                    <a:cxn ang="0">
                      <a:pos x="T8" y="T9"/>
                    </a:cxn>
                  </a:cxnLst>
                  <a:rect l="0" t="0" r="r" b="b"/>
                  <a:pathLst>
                    <a:path w="13" h="31">
                      <a:moveTo>
                        <a:pt x="7" y="0"/>
                      </a:moveTo>
                      <a:cubicBezTo>
                        <a:pt x="4" y="0"/>
                        <a:pt x="1" y="7"/>
                        <a:pt x="0" y="15"/>
                      </a:cubicBezTo>
                      <a:cubicBezTo>
                        <a:pt x="0" y="24"/>
                        <a:pt x="2" y="31"/>
                        <a:pt x="5" y="31"/>
                      </a:cubicBezTo>
                      <a:cubicBezTo>
                        <a:pt x="8" y="31"/>
                        <a:pt x="11" y="25"/>
                        <a:pt x="12" y="16"/>
                      </a:cubicBezTo>
                      <a:cubicBezTo>
                        <a:pt x="13" y="8"/>
                        <a:pt x="11" y="0"/>
                        <a:pt x="7" y="0"/>
                      </a:cubicBezTo>
                      <a:close/>
                    </a:path>
                  </a:pathLst>
                </a:custGeom>
                <a:solidFill>
                  <a:srgbClr val="B612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56" name="Freeform 228">
                  <a:extLst>
                    <a:ext uri="{FF2B5EF4-FFF2-40B4-BE49-F238E27FC236}">
                      <a16:creationId xmlns:a16="http://schemas.microsoft.com/office/drawing/2014/main" id="{F6D6D764-5EA9-3BC8-9D5A-6CE291A22856}"/>
                    </a:ext>
                  </a:extLst>
                </p:cNvPr>
                <p:cNvSpPr>
                  <a:spLocks/>
                </p:cNvSpPr>
                <p:nvPr/>
              </p:nvSpPr>
              <p:spPr bwMode="auto">
                <a:xfrm>
                  <a:off x="5851" y="3586"/>
                  <a:ext cx="24" cy="62"/>
                </a:xfrm>
                <a:custGeom>
                  <a:avLst/>
                  <a:gdLst>
                    <a:gd name="T0" fmla="*/ 7 w 12"/>
                    <a:gd name="T1" fmla="*/ 0 h 31"/>
                    <a:gd name="T2" fmla="*/ 0 w 12"/>
                    <a:gd name="T3" fmla="*/ 15 h 31"/>
                    <a:gd name="T4" fmla="*/ 5 w 12"/>
                    <a:gd name="T5" fmla="*/ 31 h 31"/>
                    <a:gd name="T6" fmla="*/ 12 w 12"/>
                    <a:gd name="T7" fmla="*/ 16 h 31"/>
                    <a:gd name="T8" fmla="*/ 7 w 12"/>
                    <a:gd name="T9" fmla="*/ 0 h 31"/>
                  </a:gdLst>
                  <a:ahLst/>
                  <a:cxnLst>
                    <a:cxn ang="0">
                      <a:pos x="T0" y="T1"/>
                    </a:cxn>
                    <a:cxn ang="0">
                      <a:pos x="T2" y="T3"/>
                    </a:cxn>
                    <a:cxn ang="0">
                      <a:pos x="T4" y="T5"/>
                    </a:cxn>
                    <a:cxn ang="0">
                      <a:pos x="T6" y="T7"/>
                    </a:cxn>
                    <a:cxn ang="0">
                      <a:pos x="T8" y="T9"/>
                    </a:cxn>
                  </a:cxnLst>
                  <a:rect l="0" t="0" r="r" b="b"/>
                  <a:pathLst>
                    <a:path w="12" h="31">
                      <a:moveTo>
                        <a:pt x="7" y="0"/>
                      </a:moveTo>
                      <a:cubicBezTo>
                        <a:pt x="4" y="0"/>
                        <a:pt x="1" y="7"/>
                        <a:pt x="0" y="15"/>
                      </a:cubicBezTo>
                      <a:cubicBezTo>
                        <a:pt x="0" y="24"/>
                        <a:pt x="2" y="31"/>
                        <a:pt x="5" y="31"/>
                      </a:cubicBezTo>
                      <a:cubicBezTo>
                        <a:pt x="8" y="31"/>
                        <a:pt x="11" y="25"/>
                        <a:pt x="12" y="16"/>
                      </a:cubicBezTo>
                      <a:cubicBezTo>
                        <a:pt x="12" y="8"/>
                        <a:pt x="10" y="1"/>
                        <a:pt x="7" y="0"/>
                      </a:cubicBezTo>
                      <a:close/>
                    </a:path>
                  </a:pathLst>
                </a:custGeom>
                <a:solidFill>
                  <a:srgbClr val="B713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57" name="Freeform 229">
                  <a:extLst>
                    <a:ext uri="{FF2B5EF4-FFF2-40B4-BE49-F238E27FC236}">
                      <a16:creationId xmlns:a16="http://schemas.microsoft.com/office/drawing/2014/main" id="{B038B15A-9613-95F4-5529-228B1E4F81F9}"/>
                    </a:ext>
                  </a:extLst>
                </p:cNvPr>
                <p:cNvSpPr>
                  <a:spLocks/>
                </p:cNvSpPr>
                <p:nvPr/>
              </p:nvSpPr>
              <p:spPr bwMode="auto">
                <a:xfrm>
                  <a:off x="5851" y="3586"/>
                  <a:ext cx="24" cy="62"/>
                </a:xfrm>
                <a:custGeom>
                  <a:avLst/>
                  <a:gdLst>
                    <a:gd name="T0" fmla="*/ 7 w 12"/>
                    <a:gd name="T1" fmla="*/ 1 h 31"/>
                    <a:gd name="T2" fmla="*/ 1 w 12"/>
                    <a:gd name="T3" fmla="*/ 15 h 31"/>
                    <a:gd name="T4" fmla="*/ 5 w 12"/>
                    <a:gd name="T5" fmla="*/ 31 h 31"/>
                    <a:gd name="T6" fmla="*/ 12 w 12"/>
                    <a:gd name="T7" fmla="*/ 16 h 31"/>
                    <a:gd name="T8" fmla="*/ 7 w 12"/>
                    <a:gd name="T9" fmla="*/ 1 h 31"/>
                  </a:gdLst>
                  <a:ahLst/>
                  <a:cxnLst>
                    <a:cxn ang="0">
                      <a:pos x="T0" y="T1"/>
                    </a:cxn>
                    <a:cxn ang="0">
                      <a:pos x="T2" y="T3"/>
                    </a:cxn>
                    <a:cxn ang="0">
                      <a:pos x="T4" y="T5"/>
                    </a:cxn>
                    <a:cxn ang="0">
                      <a:pos x="T6" y="T7"/>
                    </a:cxn>
                    <a:cxn ang="0">
                      <a:pos x="T8" y="T9"/>
                    </a:cxn>
                  </a:cxnLst>
                  <a:rect l="0" t="0" r="r" b="b"/>
                  <a:pathLst>
                    <a:path w="12" h="31">
                      <a:moveTo>
                        <a:pt x="7" y="1"/>
                      </a:moveTo>
                      <a:cubicBezTo>
                        <a:pt x="4" y="0"/>
                        <a:pt x="1" y="7"/>
                        <a:pt x="1" y="15"/>
                      </a:cubicBezTo>
                      <a:cubicBezTo>
                        <a:pt x="0" y="24"/>
                        <a:pt x="2" y="30"/>
                        <a:pt x="5" y="31"/>
                      </a:cubicBezTo>
                      <a:cubicBezTo>
                        <a:pt x="8" y="31"/>
                        <a:pt x="11" y="24"/>
                        <a:pt x="12" y="16"/>
                      </a:cubicBezTo>
                      <a:cubicBezTo>
                        <a:pt x="12" y="8"/>
                        <a:pt x="10" y="1"/>
                        <a:pt x="7" y="1"/>
                      </a:cubicBezTo>
                      <a:close/>
                    </a:path>
                  </a:pathLst>
                </a:custGeom>
                <a:solidFill>
                  <a:srgbClr val="B713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58" name="Freeform 230">
                  <a:extLst>
                    <a:ext uri="{FF2B5EF4-FFF2-40B4-BE49-F238E27FC236}">
                      <a16:creationId xmlns:a16="http://schemas.microsoft.com/office/drawing/2014/main" id="{3C897308-5E14-AECC-97DD-77F6D5420B77}"/>
                    </a:ext>
                  </a:extLst>
                </p:cNvPr>
                <p:cNvSpPr>
                  <a:spLocks/>
                </p:cNvSpPr>
                <p:nvPr/>
              </p:nvSpPr>
              <p:spPr bwMode="auto">
                <a:xfrm>
                  <a:off x="5851" y="3588"/>
                  <a:ext cx="24" cy="60"/>
                </a:xfrm>
                <a:custGeom>
                  <a:avLst/>
                  <a:gdLst>
                    <a:gd name="T0" fmla="*/ 7 w 12"/>
                    <a:gd name="T1" fmla="*/ 0 h 30"/>
                    <a:gd name="T2" fmla="*/ 1 w 12"/>
                    <a:gd name="T3" fmla="*/ 14 h 30"/>
                    <a:gd name="T4" fmla="*/ 5 w 12"/>
                    <a:gd name="T5" fmla="*/ 30 h 30"/>
                    <a:gd name="T6" fmla="*/ 12 w 12"/>
                    <a:gd name="T7" fmla="*/ 15 h 30"/>
                    <a:gd name="T8" fmla="*/ 7 w 12"/>
                    <a:gd name="T9" fmla="*/ 0 h 30"/>
                  </a:gdLst>
                  <a:ahLst/>
                  <a:cxnLst>
                    <a:cxn ang="0">
                      <a:pos x="T0" y="T1"/>
                    </a:cxn>
                    <a:cxn ang="0">
                      <a:pos x="T2" y="T3"/>
                    </a:cxn>
                    <a:cxn ang="0">
                      <a:pos x="T4" y="T5"/>
                    </a:cxn>
                    <a:cxn ang="0">
                      <a:pos x="T6" y="T7"/>
                    </a:cxn>
                    <a:cxn ang="0">
                      <a:pos x="T8" y="T9"/>
                    </a:cxn>
                  </a:cxnLst>
                  <a:rect l="0" t="0" r="r" b="b"/>
                  <a:pathLst>
                    <a:path w="12" h="30">
                      <a:moveTo>
                        <a:pt x="7" y="0"/>
                      </a:moveTo>
                      <a:cubicBezTo>
                        <a:pt x="4" y="0"/>
                        <a:pt x="1" y="6"/>
                        <a:pt x="1" y="14"/>
                      </a:cubicBezTo>
                      <a:cubicBezTo>
                        <a:pt x="0" y="22"/>
                        <a:pt x="2" y="29"/>
                        <a:pt x="5" y="30"/>
                      </a:cubicBezTo>
                      <a:cubicBezTo>
                        <a:pt x="8" y="30"/>
                        <a:pt x="11" y="23"/>
                        <a:pt x="12" y="15"/>
                      </a:cubicBezTo>
                      <a:cubicBezTo>
                        <a:pt x="12" y="7"/>
                        <a:pt x="10" y="0"/>
                        <a:pt x="7" y="0"/>
                      </a:cubicBezTo>
                      <a:close/>
                    </a:path>
                  </a:pathLst>
                </a:custGeom>
                <a:solidFill>
                  <a:srgbClr val="B814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59" name="Freeform 231">
                  <a:extLst>
                    <a:ext uri="{FF2B5EF4-FFF2-40B4-BE49-F238E27FC236}">
                      <a16:creationId xmlns:a16="http://schemas.microsoft.com/office/drawing/2014/main" id="{AE6CE4E3-0D90-C61E-1D7D-603E194C511B}"/>
                    </a:ext>
                  </a:extLst>
                </p:cNvPr>
                <p:cNvSpPr>
                  <a:spLocks/>
                </p:cNvSpPr>
                <p:nvPr/>
              </p:nvSpPr>
              <p:spPr bwMode="auto">
                <a:xfrm>
                  <a:off x="5851" y="3588"/>
                  <a:ext cx="24" cy="60"/>
                </a:xfrm>
                <a:custGeom>
                  <a:avLst/>
                  <a:gdLst>
                    <a:gd name="T0" fmla="*/ 7 w 12"/>
                    <a:gd name="T1" fmla="*/ 0 h 30"/>
                    <a:gd name="T2" fmla="*/ 1 w 12"/>
                    <a:gd name="T3" fmla="*/ 14 h 30"/>
                    <a:gd name="T4" fmla="*/ 5 w 12"/>
                    <a:gd name="T5" fmla="*/ 29 h 30"/>
                    <a:gd name="T6" fmla="*/ 12 w 12"/>
                    <a:gd name="T7" fmla="*/ 15 h 30"/>
                    <a:gd name="T8" fmla="*/ 7 w 12"/>
                    <a:gd name="T9" fmla="*/ 0 h 30"/>
                  </a:gdLst>
                  <a:ahLst/>
                  <a:cxnLst>
                    <a:cxn ang="0">
                      <a:pos x="T0" y="T1"/>
                    </a:cxn>
                    <a:cxn ang="0">
                      <a:pos x="T2" y="T3"/>
                    </a:cxn>
                    <a:cxn ang="0">
                      <a:pos x="T4" y="T5"/>
                    </a:cxn>
                    <a:cxn ang="0">
                      <a:pos x="T6" y="T7"/>
                    </a:cxn>
                    <a:cxn ang="0">
                      <a:pos x="T8" y="T9"/>
                    </a:cxn>
                  </a:cxnLst>
                  <a:rect l="0" t="0" r="r" b="b"/>
                  <a:pathLst>
                    <a:path w="12" h="30">
                      <a:moveTo>
                        <a:pt x="7" y="0"/>
                      </a:moveTo>
                      <a:cubicBezTo>
                        <a:pt x="4" y="0"/>
                        <a:pt x="1" y="6"/>
                        <a:pt x="1" y="14"/>
                      </a:cubicBezTo>
                      <a:cubicBezTo>
                        <a:pt x="0" y="22"/>
                        <a:pt x="2" y="29"/>
                        <a:pt x="5" y="29"/>
                      </a:cubicBezTo>
                      <a:cubicBezTo>
                        <a:pt x="8" y="30"/>
                        <a:pt x="11" y="23"/>
                        <a:pt x="12" y="15"/>
                      </a:cubicBezTo>
                      <a:cubicBezTo>
                        <a:pt x="12" y="7"/>
                        <a:pt x="10" y="0"/>
                        <a:pt x="7" y="0"/>
                      </a:cubicBezTo>
                      <a:close/>
                    </a:path>
                  </a:pathLst>
                </a:custGeom>
                <a:solidFill>
                  <a:srgbClr val="B915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60" name="Freeform 232">
                  <a:extLst>
                    <a:ext uri="{FF2B5EF4-FFF2-40B4-BE49-F238E27FC236}">
                      <a16:creationId xmlns:a16="http://schemas.microsoft.com/office/drawing/2014/main" id="{CD78B5FA-236A-C353-8859-884C6FA84A5A}"/>
                    </a:ext>
                  </a:extLst>
                </p:cNvPr>
                <p:cNvSpPr>
                  <a:spLocks/>
                </p:cNvSpPr>
                <p:nvPr/>
              </p:nvSpPr>
              <p:spPr bwMode="auto">
                <a:xfrm>
                  <a:off x="5851" y="3588"/>
                  <a:ext cx="24" cy="58"/>
                </a:xfrm>
                <a:custGeom>
                  <a:avLst/>
                  <a:gdLst>
                    <a:gd name="T0" fmla="*/ 7 w 12"/>
                    <a:gd name="T1" fmla="*/ 0 h 29"/>
                    <a:gd name="T2" fmla="*/ 1 w 12"/>
                    <a:gd name="T3" fmla="*/ 14 h 29"/>
                    <a:gd name="T4" fmla="*/ 5 w 12"/>
                    <a:gd name="T5" fmla="*/ 29 h 29"/>
                    <a:gd name="T6" fmla="*/ 12 w 12"/>
                    <a:gd name="T7" fmla="*/ 15 h 29"/>
                    <a:gd name="T8" fmla="*/ 7 w 12"/>
                    <a:gd name="T9" fmla="*/ 0 h 29"/>
                  </a:gdLst>
                  <a:ahLst/>
                  <a:cxnLst>
                    <a:cxn ang="0">
                      <a:pos x="T0" y="T1"/>
                    </a:cxn>
                    <a:cxn ang="0">
                      <a:pos x="T2" y="T3"/>
                    </a:cxn>
                    <a:cxn ang="0">
                      <a:pos x="T4" y="T5"/>
                    </a:cxn>
                    <a:cxn ang="0">
                      <a:pos x="T6" y="T7"/>
                    </a:cxn>
                    <a:cxn ang="0">
                      <a:pos x="T8" y="T9"/>
                    </a:cxn>
                  </a:cxnLst>
                  <a:rect l="0" t="0" r="r" b="b"/>
                  <a:pathLst>
                    <a:path w="12" h="29">
                      <a:moveTo>
                        <a:pt x="7" y="0"/>
                      </a:moveTo>
                      <a:cubicBezTo>
                        <a:pt x="4" y="0"/>
                        <a:pt x="1" y="6"/>
                        <a:pt x="1" y="14"/>
                      </a:cubicBezTo>
                      <a:cubicBezTo>
                        <a:pt x="0" y="22"/>
                        <a:pt x="2" y="29"/>
                        <a:pt x="5" y="29"/>
                      </a:cubicBezTo>
                      <a:cubicBezTo>
                        <a:pt x="8" y="29"/>
                        <a:pt x="11" y="23"/>
                        <a:pt x="12" y="15"/>
                      </a:cubicBezTo>
                      <a:cubicBezTo>
                        <a:pt x="12" y="7"/>
                        <a:pt x="10" y="0"/>
                        <a:pt x="7" y="0"/>
                      </a:cubicBezTo>
                      <a:close/>
                    </a:path>
                  </a:pathLst>
                </a:custGeom>
                <a:solidFill>
                  <a:srgbClr val="B916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61" name="Freeform 233">
                  <a:extLst>
                    <a:ext uri="{FF2B5EF4-FFF2-40B4-BE49-F238E27FC236}">
                      <a16:creationId xmlns:a16="http://schemas.microsoft.com/office/drawing/2014/main" id="{36FD447F-6E3C-A197-BDAE-F187F1CC5F11}"/>
                    </a:ext>
                  </a:extLst>
                </p:cNvPr>
                <p:cNvSpPr>
                  <a:spLocks/>
                </p:cNvSpPr>
                <p:nvPr/>
              </p:nvSpPr>
              <p:spPr bwMode="auto">
                <a:xfrm>
                  <a:off x="5851" y="3588"/>
                  <a:ext cx="24" cy="58"/>
                </a:xfrm>
                <a:custGeom>
                  <a:avLst/>
                  <a:gdLst>
                    <a:gd name="T0" fmla="*/ 7 w 12"/>
                    <a:gd name="T1" fmla="*/ 0 h 29"/>
                    <a:gd name="T2" fmla="*/ 1 w 12"/>
                    <a:gd name="T3" fmla="*/ 14 h 29"/>
                    <a:gd name="T4" fmla="*/ 5 w 12"/>
                    <a:gd name="T5" fmla="*/ 29 h 29"/>
                    <a:gd name="T6" fmla="*/ 11 w 12"/>
                    <a:gd name="T7" fmla="*/ 15 h 29"/>
                    <a:gd name="T8" fmla="*/ 7 w 12"/>
                    <a:gd name="T9" fmla="*/ 0 h 29"/>
                  </a:gdLst>
                  <a:ahLst/>
                  <a:cxnLst>
                    <a:cxn ang="0">
                      <a:pos x="T0" y="T1"/>
                    </a:cxn>
                    <a:cxn ang="0">
                      <a:pos x="T2" y="T3"/>
                    </a:cxn>
                    <a:cxn ang="0">
                      <a:pos x="T4" y="T5"/>
                    </a:cxn>
                    <a:cxn ang="0">
                      <a:pos x="T6" y="T7"/>
                    </a:cxn>
                    <a:cxn ang="0">
                      <a:pos x="T8" y="T9"/>
                    </a:cxn>
                  </a:cxnLst>
                  <a:rect l="0" t="0" r="r" b="b"/>
                  <a:pathLst>
                    <a:path w="12" h="29">
                      <a:moveTo>
                        <a:pt x="7" y="0"/>
                      </a:moveTo>
                      <a:cubicBezTo>
                        <a:pt x="4" y="0"/>
                        <a:pt x="1" y="6"/>
                        <a:pt x="1" y="14"/>
                      </a:cubicBezTo>
                      <a:cubicBezTo>
                        <a:pt x="0" y="22"/>
                        <a:pt x="2" y="29"/>
                        <a:pt x="5" y="29"/>
                      </a:cubicBezTo>
                      <a:cubicBezTo>
                        <a:pt x="8" y="29"/>
                        <a:pt x="11" y="23"/>
                        <a:pt x="11" y="15"/>
                      </a:cubicBezTo>
                      <a:cubicBezTo>
                        <a:pt x="12" y="7"/>
                        <a:pt x="10" y="1"/>
                        <a:pt x="7" y="0"/>
                      </a:cubicBezTo>
                      <a:close/>
                    </a:path>
                  </a:pathLst>
                </a:custGeom>
                <a:solidFill>
                  <a:srgbClr val="BA17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62" name="Freeform 234">
                  <a:extLst>
                    <a:ext uri="{FF2B5EF4-FFF2-40B4-BE49-F238E27FC236}">
                      <a16:creationId xmlns:a16="http://schemas.microsoft.com/office/drawing/2014/main" id="{1C188729-4964-322E-2B30-BEE4C56237DA}"/>
                    </a:ext>
                  </a:extLst>
                </p:cNvPr>
                <p:cNvSpPr>
                  <a:spLocks/>
                </p:cNvSpPr>
                <p:nvPr/>
              </p:nvSpPr>
              <p:spPr bwMode="auto">
                <a:xfrm>
                  <a:off x="5851" y="3588"/>
                  <a:ext cx="24" cy="58"/>
                </a:xfrm>
                <a:custGeom>
                  <a:avLst/>
                  <a:gdLst>
                    <a:gd name="T0" fmla="*/ 7 w 12"/>
                    <a:gd name="T1" fmla="*/ 1 h 29"/>
                    <a:gd name="T2" fmla="*/ 1 w 12"/>
                    <a:gd name="T3" fmla="*/ 14 h 29"/>
                    <a:gd name="T4" fmla="*/ 5 w 12"/>
                    <a:gd name="T5" fmla="*/ 29 h 29"/>
                    <a:gd name="T6" fmla="*/ 11 w 12"/>
                    <a:gd name="T7" fmla="*/ 15 h 29"/>
                    <a:gd name="T8" fmla="*/ 7 w 12"/>
                    <a:gd name="T9" fmla="*/ 1 h 29"/>
                  </a:gdLst>
                  <a:ahLst/>
                  <a:cxnLst>
                    <a:cxn ang="0">
                      <a:pos x="T0" y="T1"/>
                    </a:cxn>
                    <a:cxn ang="0">
                      <a:pos x="T2" y="T3"/>
                    </a:cxn>
                    <a:cxn ang="0">
                      <a:pos x="T4" y="T5"/>
                    </a:cxn>
                    <a:cxn ang="0">
                      <a:pos x="T6" y="T7"/>
                    </a:cxn>
                    <a:cxn ang="0">
                      <a:pos x="T8" y="T9"/>
                    </a:cxn>
                  </a:cxnLst>
                  <a:rect l="0" t="0" r="r" b="b"/>
                  <a:pathLst>
                    <a:path w="12" h="29">
                      <a:moveTo>
                        <a:pt x="7" y="1"/>
                      </a:moveTo>
                      <a:cubicBezTo>
                        <a:pt x="4" y="0"/>
                        <a:pt x="1" y="6"/>
                        <a:pt x="1" y="14"/>
                      </a:cubicBezTo>
                      <a:cubicBezTo>
                        <a:pt x="0" y="22"/>
                        <a:pt x="2" y="29"/>
                        <a:pt x="5" y="29"/>
                      </a:cubicBezTo>
                      <a:cubicBezTo>
                        <a:pt x="8" y="29"/>
                        <a:pt x="11" y="23"/>
                        <a:pt x="11" y="15"/>
                      </a:cubicBezTo>
                      <a:cubicBezTo>
                        <a:pt x="12" y="7"/>
                        <a:pt x="10" y="1"/>
                        <a:pt x="7" y="1"/>
                      </a:cubicBezTo>
                      <a:close/>
                    </a:path>
                  </a:pathLst>
                </a:custGeom>
                <a:solidFill>
                  <a:srgbClr val="BB17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63" name="Freeform 235">
                  <a:extLst>
                    <a:ext uri="{FF2B5EF4-FFF2-40B4-BE49-F238E27FC236}">
                      <a16:creationId xmlns:a16="http://schemas.microsoft.com/office/drawing/2014/main" id="{D2417BF0-4A0C-0CFA-6241-A5DC20911BC4}"/>
                    </a:ext>
                  </a:extLst>
                </p:cNvPr>
                <p:cNvSpPr>
                  <a:spLocks/>
                </p:cNvSpPr>
                <p:nvPr/>
              </p:nvSpPr>
              <p:spPr bwMode="auto">
                <a:xfrm>
                  <a:off x="5851" y="3590"/>
                  <a:ext cx="24" cy="56"/>
                </a:xfrm>
                <a:custGeom>
                  <a:avLst/>
                  <a:gdLst>
                    <a:gd name="T0" fmla="*/ 7 w 12"/>
                    <a:gd name="T1" fmla="*/ 0 h 28"/>
                    <a:gd name="T2" fmla="*/ 1 w 12"/>
                    <a:gd name="T3" fmla="*/ 13 h 28"/>
                    <a:gd name="T4" fmla="*/ 5 w 12"/>
                    <a:gd name="T5" fmla="*/ 28 h 28"/>
                    <a:gd name="T6" fmla="*/ 11 w 12"/>
                    <a:gd name="T7" fmla="*/ 14 h 28"/>
                    <a:gd name="T8" fmla="*/ 7 w 12"/>
                    <a:gd name="T9" fmla="*/ 0 h 28"/>
                  </a:gdLst>
                  <a:ahLst/>
                  <a:cxnLst>
                    <a:cxn ang="0">
                      <a:pos x="T0" y="T1"/>
                    </a:cxn>
                    <a:cxn ang="0">
                      <a:pos x="T2" y="T3"/>
                    </a:cxn>
                    <a:cxn ang="0">
                      <a:pos x="T4" y="T5"/>
                    </a:cxn>
                    <a:cxn ang="0">
                      <a:pos x="T6" y="T7"/>
                    </a:cxn>
                    <a:cxn ang="0">
                      <a:pos x="T8" y="T9"/>
                    </a:cxn>
                  </a:cxnLst>
                  <a:rect l="0" t="0" r="r" b="b"/>
                  <a:pathLst>
                    <a:path w="12" h="28">
                      <a:moveTo>
                        <a:pt x="7" y="0"/>
                      </a:moveTo>
                      <a:cubicBezTo>
                        <a:pt x="4" y="0"/>
                        <a:pt x="2" y="6"/>
                        <a:pt x="1" y="13"/>
                      </a:cubicBezTo>
                      <a:cubicBezTo>
                        <a:pt x="0" y="21"/>
                        <a:pt x="2" y="27"/>
                        <a:pt x="5" y="28"/>
                      </a:cubicBezTo>
                      <a:cubicBezTo>
                        <a:pt x="8" y="28"/>
                        <a:pt x="11" y="22"/>
                        <a:pt x="11" y="14"/>
                      </a:cubicBezTo>
                      <a:cubicBezTo>
                        <a:pt x="12" y="6"/>
                        <a:pt x="10" y="0"/>
                        <a:pt x="7" y="0"/>
                      </a:cubicBezTo>
                      <a:close/>
                    </a:path>
                  </a:pathLst>
                </a:custGeom>
                <a:solidFill>
                  <a:srgbClr val="BC182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024" name="Freeform 236">
                  <a:extLst>
                    <a:ext uri="{FF2B5EF4-FFF2-40B4-BE49-F238E27FC236}">
                      <a16:creationId xmlns:a16="http://schemas.microsoft.com/office/drawing/2014/main" id="{C6B633ED-1175-F4B7-88B9-357B48C6862D}"/>
                    </a:ext>
                  </a:extLst>
                </p:cNvPr>
                <p:cNvSpPr>
                  <a:spLocks/>
                </p:cNvSpPr>
                <p:nvPr/>
              </p:nvSpPr>
              <p:spPr bwMode="auto">
                <a:xfrm>
                  <a:off x="5851" y="3590"/>
                  <a:ext cx="24" cy="56"/>
                </a:xfrm>
                <a:custGeom>
                  <a:avLst/>
                  <a:gdLst>
                    <a:gd name="T0" fmla="*/ 7 w 12"/>
                    <a:gd name="T1" fmla="*/ 0 h 28"/>
                    <a:gd name="T2" fmla="*/ 1 w 12"/>
                    <a:gd name="T3" fmla="*/ 13 h 28"/>
                    <a:gd name="T4" fmla="*/ 5 w 12"/>
                    <a:gd name="T5" fmla="*/ 27 h 28"/>
                    <a:gd name="T6" fmla="*/ 11 w 12"/>
                    <a:gd name="T7" fmla="*/ 14 h 28"/>
                    <a:gd name="T8" fmla="*/ 7 w 12"/>
                    <a:gd name="T9" fmla="*/ 0 h 28"/>
                  </a:gdLst>
                  <a:ahLst/>
                  <a:cxnLst>
                    <a:cxn ang="0">
                      <a:pos x="T0" y="T1"/>
                    </a:cxn>
                    <a:cxn ang="0">
                      <a:pos x="T2" y="T3"/>
                    </a:cxn>
                    <a:cxn ang="0">
                      <a:pos x="T4" y="T5"/>
                    </a:cxn>
                    <a:cxn ang="0">
                      <a:pos x="T6" y="T7"/>
                    </a:cxn>
                    <a:cxn ang="0">
                      <a:pos x="T8" y="T9"/>
                    </a:cxn>
                  </a:cxnLst>
                  <a:rect l="0" t="0" r="r" b="b"/>
                  <a:pathLst>
                    <a:path w="12" h="28">
                      <a:moveTo>
                        <a:pt x="7" y="0"/>
                      </a:moveTo>
                      <a:cubicBezTo>
                        <a:pt x="4" y="0"/>
                        <a:pt x="2" y="6"/>
                        <a:pt x="1" y="13"/>
                      </a:cubicBezTo>
                      <a:cubicBezTo>
                        <a:pt x="0" y="21"/>
                        <a:pt x="2" y="27"/>
                        <a:pt x="5" y="27"/>
                      </a:cubicBezTo>
                      <a:cubicBezTo>
                        <a:pt x="8" y="28"/>
                        <a:pt x="11" y="22"/>
                        <a:pt x="11" y="14"/>
                      </a:cubicBezTo>
                      <a:cubicBezTo>
                        <a:pt x="12" y="7"/>
                        <a:pt x="10" y="0"/>
                        <a:pt x="7" y="0"/>
                      </a:cubicBezTo>
                      <a:close/>
                    </a:path>
                  </a:pathLst>
                </a:custGeom>
                <a:solidFill>
                  <a:srgbClr val="BC19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025" name="Freeform 237">
                  <a:extLst>
                    <a:ext uri="{FF2B5EF4-FFF2-40B4-BE49-F238E27FC236}">
                      <a16:creationId xmlns:a16="http://schemas.microsoft.com/office/drawing/2014/main" id="{C04B28D0-4047-0A5E-BC8A-E36DE6AB1AE3}"/>
                    </a:ext>
                  </a:extLst>
                </p:cNvPr>
                <p:cNvSpPr>
                  <a:spLocks/>
                </p:cNvSpPr>
                <p:nvPr/>
              </p:nvSpPr>
              <p:spPr bwMode="auto">
                <a:xfrm>
                  <a:off x="5851" y="3590"/>
                  <a:ext cx="24" cy="54"/>
                </a:xfrm>
                <a:custGeom>
                  <a:avLst/>
                  <a:gdLst>
                    <a:gd name="T0" fmla="*/ 7 w 12"/>
                    <a:gd name="T1" fmla="*/ 0 h 27"/>
                    <a:gd name="T2" fmla="*/ 1 w 12"/>
                    <a:gd name="T3" fmla="*/ 13 h 27"/>
                    <a:gd name="T4" fmla="*/ 5 w 12"/>
                    <a:gd name="T5" fmla="*/ 27 h 27"/>
                    <a:gd name="T6" fmla="*/ 11 w 12"/>
                    <a:gd name="T7" fmla="*/ 14 h 27"/>
                    <a:gd name="T8" fmla="*/ 7 w 12"/>
                    <a:gd name="T9" fmla="*/ 0 h 27"/>
                  </a:gdLst>
                  <a:ahLst/>
                  <a:cxnLst>
                    <a:cxn ang="0">
                      <a:pos x="T0" y="T1"/>
                    </a:cxn>
                    <a:cxn ang="0">
                      <a:pos x="T2" y="T3"/>
                    </a:cxn>
                    <a:cxn ang="0">
                      <a:pos x="T4" y="T5"/>
                    </a:cxn>
                    <a:cxn ang="0">
                      <a:pos x="T6" y="T7"/>
                    </a:cxn>
                    <a:cxn ang="0">
                      <a:pos x="T8" y="T9"/>
                    </a:cxn>
                  </a:cxnLst>
                  <a:rect l="0" t="0" r="r" b="b"/>
                  <a:pathLst>
                    <a:path w="12" h="27">
                      <a:moveTo>
                        <a:pt x="7" y="0"/>
                      </a:moveTo>
                      <a:cubicBezTo>
                        <a:pt x="4" y="0"/>
                        <a:pt x="2" y="6"/>
                        <a:pt x="1" y="13"/>
                      </a:cubicBezTo>
                      <a:cubicBezTo>
                        <a:pt x="0" y="21"/>
                        <a:pt x="2" y="27"/>
                        <a:pt x="5" y="27"/>
                      </a:cubicBezTo>
                      <a:cubicBezTo>
                        <a:pt x="8" y="27"/>
                        <a:pt x="11" y="22"/>
                        <a:pt x="11" y="14"/>
                      </a:cubicBezTo>
                      <a:cubicBezTo>
                        <a:pt x="12" y="7"/>
                        <a:pt x="10" y="0"/>
                        <a:pt x="7" y="0"/>
                      </a:cubicBezTo>
                      <a:close/>
                    </a:path>
                  </a:pathLst>
                </a:custGeom>
                <a:solidFill>
                  <a:srgbClr val="BD1A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027" name="Freeform 238">
                  <a:extLst>
                    <a:ext uri="{FF2B5EF4-FFF2-40B4-BE49-F238E27FC236}">
                      <a16:creationId xmlns:a16="http://schemas.microsoft.com/office/drawing/2014/main" id="{4D0CCFAE-FF32-4AA8-F96A-82B5E746FA8D}"/>
                    </a:ext>
                  </a:extLst>
                </p:cNvPr>
                <p:cNvSpPr>
                  <a:spLocks/>
                </p:cNvSpPr>
                <p:nvPr/>
              </p:nvSpPr>
              <p:spPr bwMode="auto">
                <a:xfrm>
                  <a:off x="5853" y="3590"/>
                  <a:ext cx="22" cy="54"/>
                </a:xfrm>
                <a:custGeom>
                  <a:avLst/>
                  <a:gdLst>
                    <a:gd name="T0" fmla="*/ 6 w 11"/>
                    <a:gd name="T1" fmla="*/ 0 h 27"/>
                    <a:gd name="T2" fmla="*/ 0 w 11"/>
                    <a:gd name="T3" fmla="*/ 13 h 27"/>
                    <a:gd name="T4" fmla="*/ 4 w 11"/>
                    <a:gd name="T5" fmla="*/ 27 h 27"/>
                    <a:gd name="T6" fmla="*/ 10 w 11"/>
                    <a:gd name="T7" fmla="*/ 14 h 27"/>
                    <a:gd name="T8" fmla="*/ 6 w 11"/>
                    <a:gd name="T9" fmla="*/ 0 h 27"/>
                  </a:gdLst>
                  <a:ahLst/>
                  <a:cxnLst>
                    <a:cxn ang="0">
                      <a:pos x="T0" y="T1"/>
                    </a:cxn>
                    <a:cxn ang="0">
                      <a:pos x="T2" y="T3"/>
                    </a:cxn>
                    <a:cxn ang="0">
                      <a:pos x="T4" y="T5"/>
                    </a:cxn>
                    <a:cxn ang="0">
                      <a:pos x="T6" y="T7"/>
                    </a:cxn>
                    <a:cxn ang="0">
                      <a:pos x="T8" y="T9"/>
                    </a:cxn>
                  </a:cxnLst>
                  <a:rect l="0" t="0" r="r" b="b"/>
                  <a:pathLst>
                    <a:path w="11" h="27">
                      <a:moveTo>
                        <a:pt x="6" y="0"/>
                      </a:moveTo>
                      <a:cubicBezTo>
                        <a:pt x="3" y="0"/>
                        <a:pt x="1" y="6"/>
                        <a:pt x="0" y="13"/>
                      </a:cubicBezTo>
                      <a:cubicBezTo>
                        <a:pt x="0" y="21"/>
                        <a:pt x="1" y="27"/>
                        <a:pt x="4" y="27"/>
                      </a:cubicBezTo>
                      <a:cubicBezTo>
                        <a:pt x="7" y="27"/>
                        <a:pt x="10" y="21"/>
                        <a:pt x="10" y="14"/>
                      </a:cubicBezTo>
                      <a:cubicBezTo>
                        <a:pt x="11" y="7"/>
                        <a:pt x="9" y="1"/>
                        <a:pt x="6" y="0"/>
                      </a:cubicBezTo>
                      <a:close/>
                    </a:path>
                  </a:pathLst>
                </a:custGeom>
                <a:solidFill>
                  <a:srgbClr val="BE1B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028" name="Freeform 239">
                  <a:extLst>
                    <a:ext uri="{FF2B5EF4-FFF2-40B4-BE49-F238E27FC236}">
                      <a16:creationId xmlns:a16="http://schemas.microsoft.com/office/drawing/2014/main" id="{82A3E3C6-EFE6-C54A-BAD6-F91CD1E25DC7}"/>
                    </a:ext>
                  </a:extLst>
                </p:cNvPr>
                <p:cNvSpPr>
                  <a:spLocks/>
                </p:cNvSpPr>
                <p:nvPr/>
              </p:nvSpPr>
              <p:spPr bwMode="auto">
                <a:xfrm>
                  <a:off x="5853" y="3590"/>
                  <a:ext cx="22" cy="54"/>
                </a:xfrm>
                <a:custGeom>
                  <a:avLst/>
                  <a:gdLst>
                    <a:gd name="T0" fmla="*/ 6 w 11"/>
                    <a:gd name="T1" fmla="*/ 1 h 27"/>
                    <a:gd name="T2" fmla="*/ 0 w 11"/>
                    <a:gd name="T3" fmla="*/ 13 h 27"/>
                    <a:gd name="T4" fmla="*/ 4 w 11"/>
                    <a:gd name="T5" fmla="*/ 27 h 27"/>
                    <a:gd name="T6" fmla="*/ 10 w 11"/>
                    <a:gd name="T7" fmla="*/ 14 h 27"/>
                    <a:gd name="T8" fmla="*/ 6 w 11"/>
                    <a:gd name="T9" fmla="*/ 1 h 27"/>
                  </a:gdLst>
                  <a:ahLst/>
                  <a:cxnLst>
                    <a:cxn ang="0">
                      <a:pos x="T0" y="T1"/>
                    </a:cxn>
                    <a:cxn ang="0">
                      <a:pos x="T2" y="T3"/>
                    </a:cxn>
                    <a:cxn ang="0">
                      <a:pos x="T4" y="T5"/>
                    </a:cxn>
                    <a:cxn ang="0">
                      <a:pos x="T6" y="T7"/>
                    </a:cxn>
                    <a:cxn ang="0">
                      <a:pos x="T8" y="T9"/>
                    </a:cxn>
                  </a:cxnLst>
                  <a:rect l="0" t="0" r="r" b="b"/>
                  <a:pathLst>
                    <a:path w="11" h="27">
                      <a:moveTo>
                        <a:pt x="6" y="1"/>
                      </a:moveTo>
                      <a:cubicBezTo>
                        <a:pt x="3" y="0"/>
                        <a:pt x="1" y="6"/>
                        <a:pt x="0" y="13"/>
                      </a:cubicBezTo>
                      <a:cubicBezTo>
                        <a:pt x="0" y="21"/>
                        <a:pt x="1" y="27"/>
                        <a:pt x="4" y="27"/>
                      </a:cubicBezTo>
                      <a:cubicBezTo>
                        <a:pt x="7" y="27"/>
                        <a:pt x="9" y="21"/>
                        <a:pt x="10" y="14"/>
                      </a:cubicBezTo>
                      <a:cubicBezTo>
                        <a:pt x="11" y="7"/>
                        <a:pt x="9" y="1"/>
                        <a:pt x="6" y="1"/>
                      </a:cubicBezTo>
                      <a:close/>
                    </a:path>
                  </a:pathLst>
                </a:custGeom>
                <a:solidFill>
                  <a:srgbClr val="BF1B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029" name="Freeform 240">
                  <a:extLst>
                    <a:ext uri="{FF2B5EF4-FFF2-40B4-BE49-F238E27FC236}">
                      <a16:creationId xmlns:a16="http://schemas.microsoft.com/office/drawing/2014/main" id="{0483B525-D5F2-D443-460A-CAF466262AEC}"/>
                    </a:ext>
                  </a:extLst>
                </p:cNvPr>
                <p:cNvSpPr>
                  <a:spLocks/>
                </p:cNvSpPr>
                <p:nvPr/>
              </p:nvSpPr>
              <p:spPr bwMode="auto">
                <a:xfrm>
                  <a:off x="5853" y="3592"/>
                  <a:ext cx="22" cy="52"/>
                </a:xfrm>
                <a:custGeom>
                  <a:avLst/>
                  <a:gdLst>
                    <a:gd name="T0" fmla="*/ 6 w 11"/>
                    <a:gd name="T1" fmla="*/ 0 h 26"/>
                    <a:gd name="T2" fmla="*/ 0 w 11"/>
                    <a:gd name="T3" fmla="*/ 12 h 26"/>
                    <a:gd name="T4" fmla="*/ 4 w 11"/>
                    <a:gd name="T5" fmla="*/ 26 h 26"/>
                    <a:gd name="T6" fmla="*/ 10 w 11"/>
                    <a:gd name="T7" fmla="*/ 13 h 26"/>
                    <a:gd name="T8" fmla="*/ 6 w 11"/>
                    <a:gd name="T9" fmla="*/ 0 h 26"/>
                  </a:gdLst>
                  <a:ahLst/>
                  <a:cxnLst>
                    <a:cxn ang="0">
                      <a:pos x="T0" y="T1"/>
                    </a:cxn>
                    <a:cxn ang="0">
                      <a:pos x="T2" y="T3"/>
                    </a:cxn>
                    <a:cxn ang="0">
                      <a:pos x="T4" y="T5"/>
                    </a:cxn>
                    <a:cxn ang="0">
                      <a:pos x="T6" y="T7"/>
                    </a:cxn>
                    <a:cxn ang="0">
                      <a:pos x="T8" y="T9"/>
                    </a:cxn>
                  </a:cxnLst>
                  <a:rect l="0" t="0" r="r" b="b"/>
                  <a:pathLst>
                    <a:path w="11" h="26">
                      <a:moveTo>
                        <a:pt x="6" y="0"/>
                      </a:moveTo>
                      <a:cubicBezTo>
                        <a:pt x="3" y="0"/>
                        <a:pt x="1" y="5"/>
                        <a:pt x="0" y="12"/>
                      </a:cubicBezTo>
                      <a:cubicBezTo>
                        <a:pt x="0" y="19"/>
                        <a:pt x="1" y="25"/>
                        <a:pt x="4" y="26"/>
                      </a:cubicBezTo>
                      <a:cubicBezTo>
                        <a:pt x="7" y="26"/>
                        <a:pt x="9" y="20"/>
                        <a:pt x="10" y="13"/>
                      </a:cubicBezTo>
                      <a:cubicBezTo>
                        <a:pt x="11" y="6"/>
                        <a:pt x="9" y="0"/>
                        <a:pt x="6" y="0"/>
                      </a:cubicBezTo>
                      <a:close/>
                    </a:path>
                  </a:pathLst>
                </a:custGeom>
                <a:solidFill>
                  <a:srgbClr val="BF1C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030" name="Freeform 241">
                  <a:extLst>
                    <a:ext uri="{FF2B5EF4-FFF2-40B4-BE49-F238E27FC236}">
                      <a16:creationId xmlns:a16="http://schemas.microsoft.com/office/drawing/2014/main" id="{B0E6C0CE-277E-B21F-E50F-B28BFE794638}"/>
                    </a:ext>
                  </a:extLst>
                </p:cNvPr>
                <p:cNvSpPr>
                  <a:spLocks/>
                </p:cNvSpPr>
                <p:nvPr/>
              </p:nvSpPr>
              <p:spPr bwMode="auto">
                <a:xfrm>
                  <a:off x="5853" y="3592"/>
                  <a:ext cx="20" cy="52"/>
                </a:xfrm>
                <a:custGeom>
                  <a:avLst/>
                  <a:gdLst>
                    <a:gd name="T0" fmla="*/ 6 w 10"/>
                    <a:gd name="T1" fmla="*/ 0 h 26"/>
                    <a:gd name="T2" fmla="*/ 0 w 10"/>
                    <a:gd name="T3" fmla="*/ 12 h 26"/>
                    <a:gd name="T4" fmla="*/ 4 w 10"/>
                    <a:gd name="T5" fmla="*/ 25 h 26"/>
                    <a:gd name="T6" fmla="*/ 10 w 10"/>
                    <a:gd name="T7" fmla="*/ 13 h 26"/>
                    <a:gd name="T8" fmla="*/ 6 w 10"/>
                    <a:gd name="T9" fmla="*/ 0 h 26"/>
                  </a:gdLst>
                  <a:ahLst/>
                  <a:cxnLst>
                    <a:cxn ang="0">
                      <a:pos x="T0" y="T1"/>
                    </a:cxn>
                    <a:cxn ang="0">
                      <a:pos x="T2" y="T3"/>
                    </a:cxn>
                    <a:cxn ang="0">
                      <a:pos x="T4" y="T5"/>
                    </a:cxn>
                    <a:cxn ang="0">
                      <a:pos x="T6" y="T7"/>
                    </a:cxn>
                    <a:cxn ang="0">
                      <a:pos x="T8" y="T9"/>
                    </a:cxn>
                  </a:cxnLst>
                  <a:rect l="0" t="0" r="r" b="b"/>
                  <a:pathLst>
                    <a:path w="10" h="26">
                      <a:moveTo>
                        <a:pt x="6" y="0"/>
                      </a:moveTo>
                      <a:cubicBezTo>
                        <a:pt x="4" y="0"/>
                        <a:pt x="1" y="5"/>
                        <a:pt x="0" y="12"/>
                      </a:cubicBezTo>
                      <a:cubicBezTo>
                        <a:pt x="0" y="19"/>
                        <a:pt x="1" y="25"/>
                        <a:pt x="4" y="25"/>
                      </a:cubicBezTo>
                      <a:cubicBezTo>
                        <a:pt x="7" y="26"/>
                        <a:pt x="9" y="20"/>
                        <a:pt x="10" y="13"/>
                      </a:cubicBezTo>
                      <a:cubicBezTo>
                        <a:pt x="10" y="6"/>
                        <a:pt x="9" y="0"/>
                        <a:pt x="6" y="0"/>
                      </a:cubicBezTo>
                      <a:close/>
                    </a:path>
                  </a:pathLst>
                </a:custGeom>
                <a:solidFill>
                  <a:srgbClr val="C01D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031" name="Freeform 242">
                  <a:extLst>
                    <a:ext uri="{FF2B5EF4-FFF2-40B4-BE49-F238E27FC236}">
                      <a16:creationId xmlns:a16="http://schemas.microsoft.com/office/drawing/2014/main" id="{CAD968DA-10FB-58DF-DEB3-D91C102A85E8}"/>
                    </a:ext>
                  </a:extLst>
                </p:cNvPr>
                <p:cNvSpPr>
                  <a:spLocks/>
                </p:cNvSpPr>
                <p:nvPr/>
              </p:nvSpPr>
              <p:spPr bwMode="auto">
                <a:xfrm>
                  <a:off x="5853" y="3592"/>
                  <a:ext cx="20" cy="50"/>
                </a:xfrm>
                <a:custGeom>
                  <a:avLst/>
                  <a:gdLst>
                    <a:gd name="T0" fmla="*/ 6 w 10"/>
                    <a:gd name="T1" fmla="*/ 0 h 25"/>
                    <a:gd name="T2" fmla="*/ 0 w 10"/>
                    <a:gd name="T3" fmla="*/ 12 h 25"/>
                    <a:gd name="T4" fmla="*/ 4 w 10"/>
                    <a:gd name="T5" fmla="*/ 25 h 25"/>
                    <a:gd name="T6" fmla="*/ 10 w 10"/>
                    <a:gd name="T7" fmla="*/ 13 h 25"/>
                    <a:gd name="T8" fmla="*/ 6 w 10"/>
                    <a:gd name="T9" fmla="*/ 0 h 25"/>
                  </a:gdLst>
                  <a:ahLst/>
                  <a:cxnLst>
                    <a:cxn ang="0">
                      <a:pos x="T0" y="T1"/>
                    </a:cxn>
                    <a:cxn ang="0">
                      <a:pos x="T2" y="T3"/>
                    </a:cxn>
                    <a:cxn ang="0">
                      <a:pos x="T4" y="T5"/>
                    </a:cxn>
                    <a:cxn ang="0">
                      <a:pos x="T6" y="T7"/>
                    </a:cxn>
                    <a:cxn ang="0">
                      <a:pos x="T8" y="T9"/>
                    </a:cxn>
                  </a:cxnLst>
                  <a:rect l="0" t="0" r="r" b="b"/>
                  <a:pathLst>
                    <a:path w="10" h="25">
                      <a:moveTo>
                        <a:pt x="6" y="0"/>
                      </a:moveTo>
                      <a:cubicBezTo>
                        <a:pt x="4" y="0"/>
                        <a:pt x="1" y="5"/>
                        <a:pt x="0" y="12"/>
                      </a:cubicBezTo>
                      <a:cubicBezTo>
                        <a:pt x="0" y="19"/>
                        <a:pt x="2" y="25"/>
                        <a:pt x="4" y="25"/>
                      </a:cubicBezTo>
                      <a:cubicBezTo>
                        <a:pt x="7" y="25"/>
                        <a:pt x="9" y="20"/>
                        <a:pt x="10" y="13"/>
                      </a:cubicBezTo>
                      <a:cubicBezTo>
                        <a:pt x="10" y="6"/>
                        <a:pt x="9" y="0"/>
                        <a:pt x="6" y="0"/>
                      </a:cubicBezTo>
                      <a:close/>
                    </a:path>
                  </a:pathLst>
                </a:custGeom>
                <a:solidFill>
                  <a:srgbClr val="C11E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032" name="Freeform 243">
                  <a:extLst>
                    <a:ext uri="{FF2B5EF4-FFF2-40B4-BE49-F238E27FC236}">
                      <a16:creationId xmlns:a16="http://schemas.microsoft.com/office/drawing/2014/main" id="{607B81E1-7E83-D6BC-8128-8CF67EFAE913}"/>
                    </a:ext>
                  </a:extLst>
                </p:cNvPr>
                <p:cNvSpPr>
                  <a:spLocks/>
                </p:cNvSpPr>
                <p:nvPr/>
              </p:nvSpPr>
              <p:spPr bwMode="auto">
                <a:xfrm>
                  <a:off x="5853" y="3592"/>
                  <a:ext cx="20" cy="50"/>
                </a:xfrm>
                <a:custGeom>
                  <a:avLst/>
                  <a:gdLst>
                    <a:gd name="T0" fmla="*/ 6 w 10"/>
                    <a:gd name="T1" fmla="*/ 0 h 25"/>
                    <a:gd name="T2" fmla="*/ 1 w 10"/>
                    <a:gd name="T3" fmla="*/ 12 h 25"/>
                    <a:gd name="T4" fmla="*/ 4 w 10"/>
                    <a:gd name="T5" fmla="*/ 25 h 25"/>
                    <a:gd name="T6" fmla="*/ 10 w 10"/>
                    <a:gd name="T7" fmla="*/ 13 h 25"/>
                    <a:gd name="T8" fmla="*/ 6 w 10"/>
                    <a:gd name="T9" fmla="*/ 0 h 25"/>
                  </a:gdLst>
                  <a:ahLst/>
                  <a:cxnLst>
                    <a:cxn ang="0">
                      <a:pos x="T0" y="T1"/>
                    </a:cxn>
                    <a:cxn ang="0">
                      <a:pos x="T2" y="T3"/>
                    </a:cxn>
                    <a:cxn ang="0">
                      <a:pos x="T4" y="T5"/>
                    </a:cxn>
                    <a:cxn ang="0">
                      <a:pos x="T6" y="T7"/>
                    </a:cxn>
                    <a:cxn ang="0">
                      <a:pos x="T8" y="T9"/>
                    </a:cxn>
                  </a:cxnLst>
                  <a:rect l="0" t="0" r="r" b="b"/>
                  <a:pathLst>
                    <a:path w="10" h="25">
                      <a:moveTo>
                        <a:pt x="6" y="0"/>
                      </a:moveTo>
                      <a:cubicBezTo>
                        <a:pt x="4" y="0"/>
                        <a:pt x="1" y="5"/>
                        <a:pt x="1" y="12"/>
                      </a:cubicBezTo>
                      <a:cubicBezTo>
                        <a:pt x="0" y="19"/>
                        <a:pt x="2" y="25"/>
                        <a:pt x="4" y="25"/>
                      </a:cubicBezTo>
                      <a:cubicBezTo>
                        <a:pt x="7" y="25"/>
                        <a:pt x="9" y="20"/>
                        <a:pt x="10" y="13"/>
                      </a:cubicBezTo>
                      <a:cubicBezTo>
                        <a:pt x="10" y="6"/>
                        <a:pt x="9" y="0"/>
                        <a:pt x="6" y="0"/>
                      </a:cubicBezTo>
                      <a:close/>
                    </a:path>
                  </a:pathLst>
                </a:custGeom>
                <a:solidFill>
                  <a:srgbClr val="C21F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033" name="Freeform 244">
                  <a:extLst>
                    <a:ext uri="{FF2B5EF4-FFF2-40B4-BE49-F238E27FC236}">
                      <a16:creationId xmlns:a16="http://schemas.microsoft.com/office/drawing/2014/main" id="{C64EB70F-B8C0-5195-3988-EA58C0D84C80}"/>
                    </a:ext>
                  </a:extLst>
                </p:cNvPr>
                <p:cNvSpPr>
                  <a:spLocks/>
                </p:cNvSpPr>
                <p:nvPr/>
              </p:nvSpPr>
              <p:spPr bwMode="auto">
                <a:xfrm>
                  <a:off x="5853" y="3592"/>
                  <a:ext cx="20" cy="50"/>
                </a:xfrm>
                <a:custGeom>
                  <a:avLst/>
                  <a:gdLst>
                    <a:gd name="T0" fmla="*/ 6 w 10"/>
                    <a:gd name="T1" fmla="*/ 0 h 25"/>
                    <a:gd name="T2" fmla="*/ 1 w 10"/>
                    <a:gd name="T3" fmla="*/ 12 h 25"/>
                    <a:gd name="T4" fmla="*/ 4 w 10"/>
                    <a:gd name="T5" fmla="*/ 25 h 25"/>
                    <a:gd name="T6" fmla="*/ 10 w 10"/>
                    <a:gd name="T7" fmla="*/ 13 h 25"/>
                    <a:gd name="T8" fmla="*/ 6 w 10"/>
                    <a:gd name="T9" fmla="*/ 0 h 25"/>
                  </a:gdLst>
                  <a:ahLst/>
                  <a:cxnLst>
                    <a:cxn ang="0">
                      <a:pos x="T0" y="T1"/>
                    </a:cxn>
                    <a:cxn ang="0">
                      <a:pos x="T2" y="T3"/>
                    </a:cxn>
                    <a:cxn ang="0">
                      <a:pos x="T4" y="T5"/>
                    </a:cxn>
                    <a:cxn ang="0">
                      <a:pos x="T6" y="T7"/>
                    </a:cxn>
                    <a:cxn ang="0">
                      <a:pos x="T8" y="T9"/>
                    </a:cxn>
                  </a:cxnLst>
                  <a:rect l="0" t="0" r="r" b="b"/>
                  <a:pathLst>
                    <a:path w="10" h="25">
                      <a:moveTo>
                        <a:pt x="6" y="0"/>
                      </a:moveTo>
                      <a:cubicBezTo>
                        <a:pt x="4" y="0"/>
                        <a:pt x="1" y="6"/>
                        <a:pt x="1" y="12"/>
                      </a:cubicBezTo>
                      <a:cubicBezTo>
                        <a:pt x="0" y="19"/>
                        <a:pt x="2" y="25"/>
                        <a:pt x="4" y="25"/>
                      </a:cubicBezTo>
                      <a:cubicBezTo>
                        <a:pt x="7" y="25"/>
                        <a:pt x="9" y="20"/>
                        <a:pt x="10" y="13"/>
                      </a:cubicBezTo>
                      <a:cubicBezTo>
                        <a:pt x="10" y="6"/>
                        <a:pt x="9" y="1"/>
                        <a:pt x="6" y="0"/>
                      </a:cubicBezTo>
                      <a:close/>
                    </a:path>
                  </a:pathLst>
                </a:custGeom>
                <a:solidFill>
                  <a:srgbClr val="C3203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034" name="Freeform 245">
                  <a:extLst>
                    <a:ext uri="{FF2B5EF4-FFF2-40B4-BE49-F238E27FC236}">
                      <a16:creationId xmlns:a16="http://schemas.microsoft.com/office/drawing/2014/main" id="{3E275788-3DC3-B424-2FC9-BB1447EFDA04}"/>
                    </a:ext>
                  </a:extLst>
                </p:cNvPr>
                <p:cNvSpPr>
                  <a:spLocks/>
                </p:cNvSpPr>
                <p:nvPr/>
              </p:nvSpPr>
              <p:spPr bwMode="auto">
                <a:xfrm>
                  <a:off x="5853" y="3592"/>
                  <a:ext cx="20" cy="50"/>
                </a:xfrm>
                <a:custGeom>
                  <a:avLst/>
                  <a:gdLst>
                    <a:gd name="T0" fmla="*/ 6 w 10"/>
                    <a:gd name="T1" fmla="*/ 1 h 25"/>
                    <a:gd name="T2" fmla="*/ 1 w 10"/>
                    <a:gd name="T3" fmla="*/ 12 h 25"/>
                    <a:gd name="T4" fmla="*/ 4 w 10"/>
                    <a:gd name="T5" fmla="*/ 25 h 25"/>
                    <a:gd name="T6" fmla="*/ 10 w 10"/>
                    <a:gd name="T7" fmla="*/ 13 h 25"/>
                    <a:gd name="T8" fmla="*/ 6 w 10"/>
                    <a:gd name="T9" fmla="*/ 1 h 25"/>
                  </a:gdLst>
                  <a:ahLst/>
                  <a:cxnLst>
                    <a:cxn ang="0">
                      <a:pos x="T0" y="T1"/>
                    </a:cxn>
                    <a:cxn ang="0">
                      <a:pos x="T2" y="T3"/>
                    </a:cxn>
                    <a:cxn ang="0">
                      <a:pos x="T4" y="T5"/>
                    </a:cxn>
                    <a:cxn ang="0">
                      <a:pos x="T6" y="T7"/>
                    </a:cxn>
                    <a:cxn ang="0">
                      <a:pos x="T8" y="T9"/>
                    </a:cxn>
                  </a:cxnLst>
                  <a:rect l="0" t="0" r="r" b="b"/>
                  <a:pathLst>
                    <a:path w="10" h="25">
                      <a:moveTo>
                        <a:pt x="6" y="1"/>
                      </a:moveTo>
                      <a:cubicBezTo>
                        <a:pt x="4" y="0"/>
                        <a:pt x="1" y="6"/>
                        <a:pt x="1" y="12"/>
                      </a:cubicBezTo>
                      <a:cubicBezTo>
                        <a:pt x="0" y="19"/>
                        <a:pt x="2" y="24"/>
                        <a:pt x="4" y="25"/>
                      </a:cubicBezTo>
                      <a:cubicBezTo>
                        <a:pt x="7" y="25"/>
                        <a:pt x="9" y="20"/>
                        <a:pt x="10" y="13"/>
                      </a:cubicBezTo>
                      <a:cubicBezTo>
                        <a:pt x="10" y="6"/>
                        <a:pt x="9" y="1"/>
                        <a:pt x="6" y="1"/>
                      </a:cubicBezTo>
                      <a:close/>
                    </a:path>
                  </a:pathLst>
                </a:custGeom>
                <a:solidFill>
                  <a:srgbClr val="C320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035" name="Freeform 246">
                  <a:extLst>
                    <a:ext uri="{FF2B5EF4-FFF2-40B4-BE49-F238E27FC236}">
                      <a16:creationId xmlns:a16="http://schemas.microsoft.com/office/drawing/2014/main" id="{12E1EF8A-8CA2-2290-A03C-B4A4444331AD}"/>
                    </a:ext>
                  </a:extLst>
                </p:cNvPr>
                <p:cNvSpPr>
                  <a:spLocks/>
                </p:cNvSpPr>
                <p:nvPr/>
              </p:nvSpPr>
              <p:spPr bwMode="auto">
                <a:xfrm>
                  <a:off x="5853" y="3594"/>
                  <a:ext cx="20" cy="48"/>
                </a:xfrm>
                <a:custGeom>
                  <a:avLst/>
                  <a:gdLst>
                    <a:gd name="T0" fmla="*/ 6 w 10"/>
                    <a:gd name="T1" fmla="*/ 0 h 24"/>
                    <a:gd name="T2" fmla="*/ 1 w 10"/>
                    <a:gd name="T3" fmla="*/ 11 h 24"/>
                    <a:gd name="T4" fmla="*/ 4 w 10"/>
                    <a:gd name="T5" fmla="*/ 23 h 24"/>
                    <a:gd name="T6" fmla="*/ 10 w 10"/>
                    <a:gd name="T7" fmla="*/ 12 h 24"/>
                    <a:gd name="T8" fmla="*/ 6 w 10"/>
                    <a:gd name="T9" fmla="*/ 0 h 24"/>
                  </a:gdLst>
                  <a:ahLst/>
                  <a:cxnLst>
                    <a:cxn ang="0">
                      <a:pos x="T0" y="T1"/>
                    </a:cxn>
                    <a:cxn ang="0">
                      <a:pos x="T2" y="T3"/>
                    </a:cxn>
                    <a:cxn ang="0">
                      <a:pos x="T4" y="T5"/>
                    </a:cxn>
                    <a:cxn ang="0">
                      <a:pos x="T6" y="T7"/>
                    </a:cxn>
                    <a:cxn ang="0">
                      <a:pos x="T8" y="T9"/>
                    </a:cxn>
                  </a:cxnLst>
                  <a:rect l="0" t="0" r="r" b="b"/>
                  <a:pathLst>
                    <a:path w="10" h="24">
                      <a:moveTo>
                        <a:pt x="6" y="0"/>
                      </a:moveTo>
                      <a:cubicBezTo>
                        <a:pt x="4" y="0"/>
                        <a:pt x="1" y="5"/>
                        <a:pt x="1" y="11"/>
                      </a:cubicBezTo>
                      <a:cubicBezTo>
                        <a:pt x="0" y="18"/>
                        <a:pt x="2" y="23"/>
                        <a:pt x="4" y="23"/>
                      </a:cubicBezTo>
                      <a:cubicBezTo>
                        <a:pt x="7" y="24"/>
                        <a:pt x="9" y="19"/>
                        <a:pt x="10" y="12"/>
                      </a:cubicBezTo>
                      <a:cubicBezTo>
                        <a:pt x="10" y="6"/>
                        <a:pt x="9" y="0"/>
                        <a:pt x="6" y="0"/>
                      </a:cubicBezTo>
                      <a:close/>
                    </a:path>
                  </a:pathLst>
                </a:custGeom>
                <a:solidFill>
                  <a:srgbClr val="C421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036" name="Freeform 247">
                  <a:extLst>
                    <a:ext uri="{FF2B5EF4-FFF2-40B4-BE49-F238E27FC236}">
                      <a16:creationId xmlns:a16="http://schemas.microsoft.com/office/drawing/2014/main" id="{B686EB1F-862F-E3E8-874C-8701B7DACEEC}"/>
                    </a:ext>
                  </a:extLst>
                </p:cNvPr>
                <p:cNvSpPr>
                  <a:spLocks/>
                </p:cNvSpPr>
                <p:nvPr/>
              </p:nvSpPr>
              <p:spPr bwMode="auto">
                <a:xfrm>
                  <a:off x="5853" y="3594"/>
                  <a:ext cx="20" cy="46"/>
                </a:xfrm>
                <a:custGeom>
                  <a:avLst/>
                  <a:gdLst>
                    <a:gd name="T0" fmla="*/ 6 w 10"/>
                    <a:gd name="T1" fmla="*/ 0 h 23"/>
                    <a:gd name="T2" fmla="*/ 1 w 10"/>
                    <a:gd name="T3" fmla="*/ 11 h 23"/>
                    <a:gd name="T4" fmla="*/ 4 w 10"/>
                    <a:gd name="T5" fmla="*/ 23 h 23"/>
                    <a:gd name="T6" fmla="*/ 9 w 10"/>
                    <a:gd name="T7" fmla="*/ 12 h 23"/>
                    <a:gd name="T8" fmla="*/ 6 w 10"/>
                    <a:gd name="T9" fmla="*/ 0 h 23"/>
                  </a:gdLst>
                  <a:ahLst/>
                  <a:cxnLst>
                    <a:cxn ang="0">
                      <a:pos x="T0" y="T1"/>
                    </a:cxn>
                    <a:cxn ang="0">
                      <a:pos x="T2" y="T3"/>
                    </a:cxn>
                    <a:cxn ang="0">
                      <a:pos x="T4" y="T5"/>
                    </a:cxn>
                    <a:cxn ang="0">
                      <a:pos x="T6" y="T7"/>
                    </a:cxn>
                    <a:cxn ang="0">
                      <a:pos x="T8" y="T9"/>
                    </a:cxn>
                  </a:cxnLst>
                  <a:rect l="0" t="0" r="r" b="b"/>
                  <a:pathLst>
                    <a:path w="10" h="23">
                      <a:moveTo>
                        <a:pt x="6" y="0"/>
                      </a:moveTo>
                      <a:cubicBezTo>
                        <a:pt x="4" y="0"/>
                        <a:pt x="1" y="5"/>
                        <a:pt x="1" y="11"/>
                      </a:cubicBezTo>
                      <a:cubicBezTo>
                        <a:pt x="0" y="18"/>
                        <a:pt x="2" y="23"/>
                        <a:pt x="4" y="23"/>
                      </a:cubicBezTo>
                      <a:cubicBezTo>
                        <a:pt x="7" y="23"/>
                        <a:pt x="9" y="18"/>
                        <a:pt x="9" y="12"/>
                      </a:cubicBezTo>
                      <a:cubicBezTo>
                        <a:pt x="10" y="6"/>
                        <a:pt x="8" y="0"/>
                        <a:pt x="6" y="0"/>
                      </a:cubicBezTo>
                      <a:close/>
                    </a:path>
                  </a:pathLst>
                </a:custGeom>
                <a:solidFill>
                  <a:srgbClr val="C522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037" name="Freeform 248">
                  <a:extLst>
                    <a:ext uri="{FF2B5EF4-FFF2-40B4-BE49-F238E27FC236}">
                      <a16:creationId xmlns:a16="http://schemas.microsoft.com/office/drawing/2014/main" id="{4949F6AF-8FB3-9834-57B5-A6949FA9FA0F}"/>
                    </a:ext>
                  </a:extLst>
                </p:cNvPr>
                <p:cNvSpPr>
                  <a:spLocks/>
                </p:cNvSpPr>
                <p:nvPr/>
              </p:nvSpPr>
              <p:spPr bwMode="auto">
                <a:xfrm>
                  <a:off x="5853" y="3594"/>
                  <a:ext cx="20" cy="46"/>
                </a:xfrm>
                <a:custGeom>
                  <a:avLst/>
                  <a:gdLst>
                    <a:gd name="T0" fmla="*/ 6 w 10"/>
                    <a:gd name="T1" fmla="*/ 0 h 23"/>
                    <a:gd name="T2" fmla="*/ 1 w 10"/>
                    <a:gd name="T3" fmla="*/ 11 h 23"/>
                    <a:gd name="T4" fmla="*/ 4 w 10"/>
                    <a:gd name="T5" fmla="*/ 23 h 23"/>
                    <a:gd name="T6" fmla="*/ 9 w 10"/>
                    <a:gd name="T7" fmla="*/ 12 h 23"/>
                    <a:gd name="T8" fmla="*/ 6 w 10"/>
                    <a:gd name="T9" fmla="*/ 0 h 23"/>
                  </a:gdLst>
                  <a:ahLst/>
                  <a:cxnLst>
                    <a:cxn ang="0">
                      <a:pos x="T0" y="T1"/>
                    </a:cxn>
                    <a:cxn ang="0">
                      <a:pos x="T2" y="T3"/>
                    </a:cxn>
                    <a:cxn ang="0">
                      <a:pos x="T4" y="T5"/>
                    </a:cxn>
                    <a:cxn ang="0">
                      <a:pos x="T6" y="T7"/>
                    </a:cxn>
                    <a:cxn ang="0">
                      <a:pos x="T8" y="T9"/>
                    </a:cxn>
                  </a:cxnLst>
                  <a:rect l="0" t="0" r="r" b="b"/>
                  <a:pathLst>
                    <a:path w="10" h="23">
                      <a:moveTo>
                        <a:pt x="6" y="0"/>
                      </a:moveTo>
                      <a:cubicBezTo>
                        <a:pt x="4" y="0"/>
                        <a:pt x="1" y="5"/>
                        <a:pt x="1" y="11"/>
                      </a:cubicBezTo>
                      <a:cubicBezTo>
                        <a:pt x="0" y="18"/>
                        <a:pt x="2" y="23"/>
                        <a:pt x="4" y="23"/>
                      </a:cubicBezTo>
                      <a:cubicBezTo>
                        <a:pt x="7" y="23"/>
                        <a:pt x="9" y="18"/>
                        <a:pt x="9" y="12"/>
                      </a:cubicBezTo>
                      <a:cubicBezTo>
                        <a:pt x="10" y="6"/>
                        <a:pt x="8" y="0"/>
                        <a:pt x="6" y="0"/>
                      </a:cubicBezTo>
                      <a:close/>
                    </a:path>
                  </a:pathLst>
                </a:custGeom>
                <a:solidFill>
                  <a:srgbClr val="C623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038" name="Freeform 249">
                  <a:extLst>
                    <a:ext uri="{FF2B5EF4-FFF2-40B4-BE49-F238E27FC236}">
                      <a16:creationId xmlns:a16="http://schemas.microsoft.com/office/drawing/2014/main" id="{4852EA5E-2AD4-375D-1AE1-1C434B66098F}"/>
                    </a:ext>
                  </a:extLst>
                </p:cNvPr>
                <p:cNvSpPr>
                  <a:spLocks/>
                </p:cNvSpPr>
                <p:nvPr/>
              </p:nvSpPr>
              <p:spPr bwMode="auto">
                <a:xfrm>
                  <a:off x="5853" y="3594"/>
                  <a:ext cx="20" cy="46"/>
                </a:xfrm>
                <a:custGeom>
                  <a:avLst/>
                  <a:gdLst>
                    <a:gd name="T0" fmla="*/ 6 w 10"/>
                    <a:gd name="T1" fmla="*/ 0 h 23"/>
                    <a:gd name="T2" fmla="*/ 1 w 10"/>
                    <a:gd name="T3" fmla="*/ 11 h 23"/>
                    <a:gd name="T4" fmla="*/ 4 w 10"/>
                    <a:gd name="T5" fmla="*/ 23 h 23"/>
                    <a:gd name="T6" fmla="*/ 9 w 10"/>
                    <a:gd name="T7" fmla="*/ 12 h 23"/>
                    <a:gd name="T8" fmla="*/ 6 w 10"/>
                    <a:gd name="T9" fmla="*/ 0 h 23"/>
                  </a:gdLst>
                  <a:ahLst/>
                  <a:cxnLst>
                    <a:cxn ang="0">
                      <a:pos x="T0" y="T1"/>
                    </a:cxn>
                    <a:cxn ang="0">
                      <a:pos x="T2" y="T3"/>
                    </a:cxn>
                    <a:cxn ang="0">
                      <a:pos x="T4" y="T5"/>
                    </a:cxn>
                    <a:cxn ang="0">
                      <a:pos x="T6" y="T7"/>
                    </a:cxn>
                    <a:cxn ang="0">
                      <a:pos x="T8" y="T9"/>
                    </a:cxn>
                  </a:cxnLst>
                  <a:rect l="0" t="0" r="r" b="b"/>
                  <a:pathLst>
                    <a:path w="10" h="23">
                      <a:moveTo>
                        <a:pt x="6" y="0"/>
                      </a:moveTo>
                      <a:cubicBezTo>
                        <a:pt x="4" y="0"/>
                        <a:pt x="1" y="5"/>
                        <a:pt x="1" y="11"/>
                      </a:cubicBezTo>
                      <a:cubicBezTo>
                        <a:pt x="0" y="18"/>
                        <a:pt x="2" y="23"/>
                        <a:pt x="4" y="23"/>
                      </a:cubicBezTo>
                      <a:cubicBezTo>
                        <a:pt x="7" y="23"/>
                        <a:pt x="9" y="18"/>
                        <a:pt x="9" y="12"/>
                      </a:cubicBezTo>
                      <a:cubicBezTo>
                        <a:pt x="10" y="6"/>
                        <a:pt x="8" y="1"/>
                        <a:pt x="6" y="0"/>
                      </a:cubicBezTo>
                      <a:close/>
                    </a:path>
                  </a:pathLst>
                </a:custGeom>
                <a:solidFill>
                  <a:srgbClr val="C724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039" name="Freeform 250">
                  <a:extLst>
                    <a:ext uri="{FF2B5EF4-FFF2-40B4-BE49-F238E27FC236}">
                      <a16:creationId xmlns:a16="http://schemas.microsoft.com/office/drawing/2014/main" id="{52233F48-5FCB-279E-988A-1D34101D41A4}"/>
                    </a:ext>
                  </a:extLst>
                </p:cNvPr>
                <p:cNvSpPr>
                  <a:spLocks/>
                </p:cNvSpPr>
                <p:nvPr/>
              </p:nvSpPr>
              <p:spPr bwMode="auto">
                <a:xfrm>
                  <a:off x="5855" y="3594"/>
                  <a:ext cx="18" cy="46"/>
                </a:xfrm>
                <a:custGeom>
                  <a:avLst/>
                  <a:gdLst>
                    <a:gd name="T0" fmla="*/ 5 w 9"/>
                    <a:gd name="T1" fmla="*/ 1 h 23"/>
                    <a:gd name="T2" fmla="*/ 0 w 9"/>
                    <a:gd name="T3" fmla="*/ 11 h 23"/>
                    <a:gd name="T4" fmla="*/ 3 w 9"/>
                    <a:gd name="T5" fmla="*/ 23 h 23"/>
                    <a:gd name="T6" fmla="*/ 8 w 9"/>
                    <a:gd name="T7" fmla="*/ 12 h 23"/>
                    <a:gd name="T8" fmla="*/ 5 w 9"/>
                    <a:gd name="T9" fmla="*/ 1 h 23"/>
                  </a:gdLst>
                  <a:ahLst/>
                  <a:cxnLst>
                    <a:cxn ang="0">
                      <a:pos x="T0" y="T1"/>
                    </a:cxn>
                    <a:cxn ang="0">
                      <a:pos x="T2" y="T3"/>
                    </a:cxn>
                    <a:cxn ang="0">
                      <a:pos x="T4" y="T5"/>
                    </a:cxn>
                    <a:cxn ang="0">
                      <a:pos x="T6" y="T7"/>
                    </a:cxn>
                    <a:cxn ang="0">
                      <a:pos x="T8" y="T9"/>
                    </a:cxn>
                  </a:cxnLst>
                  <a:rect l="0" t="0" r="r" b="b"/>
                  <a:pathLst>
                    <a:path w="9" h="23">
                      <a:moveTo>
                        <a:pt x="5" y="1"/>
                      </a:moveTo>
                      <a:cubicBezTo>
                        <a:pt x="3" y="0"/>
                        <a:pt x="0" y="5"/>
                        <a:pt x="0" y="11"/>
                      </a:cubicBezTo>
                      <a:cubicBezTo>
                        <a:pt x="0" y="17"/>
                        <a:pt x="1" y="23"/>
                        <a:pt x="3" y="23"/>
                      </a:cubicBezTo>
                      <a:cubicBezTo>
                        <a:pt x="6" y="23"/>
                        <a:pt x="8" y="18"/>
                        <a:pt x="8" y="12"/>
                      </a:cubicBezTo>
                      <a:cubicBezTo>
                        <a:pt x="9" y="6"/>
                        <a:pt x="7" y="1"/>
                        <a:pt x="5" y="1"/>
                      </a:cubicBezTo>
                      <a:close/>
                    </a:path>
                  </a:pathLst>
                </a:custGeom>
                <a:solidFill>
                  <a:srgbClr val="C825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040" name="Freeform 251">
                  <a:extLst>
                    <a:ext uri="{FF2B5EF4-FFF2-40B4-BE49-F238E27FC236}">
                      <a16:creationId xmlns:a16="http://schemas.microsoft.com/office/drawing/2014/main" id="{AFD524CD-49DB-33D8-DD4D-6D1EC685CBAA}"/>
                    </a:ext>
                  </a:extLst>
                </p:cNvPr>
                <p:cNvSpPr>
                  <a:spLocks/>
                </p:cNvSpPr>
                <p:nvPr/>
              </p:nvSpPr>
              <p:spPr bwMode="auto">
                <a:xfrm>
                  <a:off x="5855" y="3596"/>
                  <a:ext cx="18" cy="44"/>
                </a:xfrm>
                <a:custGeom>
                  <a:avLst/>
                  <a:gdLst>
                    <a:gd name="T0" fmla="*/ 5 w 9"/>
                    <a:gd name="T1" fmla="*/ 0 h 22"/>
                    <a:gd name="T2" fmla="*/ 0 w 9"/>
                    <a:gd name="T3" fmla="*/ 10 h 22"/>
                    <a:gd name="T4" fmla="*/ 3 w 9"/>
                    <a:gd name="T5" fmla="*/ 22 h 22"/>
                    <a:gd name="T6" fmla="*/ 8 w 9"/>
                    <a:gd name="T7" fmla="*/ 11 h 22"/>
                    <a:gd name="T8" fmla="*/ 5 w 9"/>
                    <a:gd name="T9" fmla="*/ 0 h 22"/>
                  </a:gdLst>
                  <a:ahLst/>
                  <a:cxnLst>
                    <a:cxn ang="0">
                      <a:pos x="T0" y="T1"/>
                    </a:cxn>
                    <a:cxn ang="0">
                      <a:pos x="T2" y="T3"/>
                    </a:cxn>
                    <a:cxn ang="0">
                      <a:pos x="T4" y="T5"/>
                    </a:cxn>
                    <a:cxn ang="0">
                      <a:pos x="T6" y="T7"/>
                    </a:cxn>
                    <a:cxn ang="0">
                      <a:pos x="T8" y="T9"/>
                    </a:cxn>
                  </a:cxnLst>
                  <a:rect l="0" t="0" r="r" b="b"/>
                  <a:pathLst>
                    <a:path w="9" h="22">
                      <a:moveTo>
                        <a:pt x="5" y="0"/>
                      </a:moveTo>
                      <a:cubicBezTo>
                        <a:pt x="3" y="0"/>
                        <a:pt x="1" y="4"/>
                        <a:pt x="0" y="10"/>
                      </a:cubicBezTo>
                      <a:cubicBezTo>
                        <a:pt x="0" y="16"/>
                        <a:pt x="1" y="21"/>
                        <a:pt x="3" y="22"/>
                      </a:cubicBezTo>
                      <a:cubicBezTo>
                        <a:pt x="5" y="22"/>
                        <a:pt x="8" y="17"/>
                        <a:pt x="8" y="11"/>
                      </a:cubicBezTo>
                      <a:cubicBezTo>
                        <a:pt x="9" y="5"/>
                        <a:pt x="7" y="0"/>
                        <a:pt x="5" y="0"/>
                      </a:cubicBezTo>
                      <a:close/>
                    </a:path>
                  </a:pathLst>
                </a:custGeom>
                <a:solidFill>
                  <a:srgbClr val="C826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041" name="Freeform 252">
                  <a:extLst>
                    <a:ext uri="{FF2B5EF4-FFF2-40B4-BE49-F238E27FC236}">
                      <a16:creationId xmlns:a16="http://schemas.microsoft.com/office/drawing/2014/main" id="{D51AD672-5C74-7AC3-6663-E432F3C9AD04}"/>
                    </a:ext>
                  </a:extLst>
                </p:cNvPr>
                <p:cNvSpPr>
                  <a:spLocks/>
                </p:cNvSpPr>
                <p:nvPr/>
              </p:nvSpPr>
              <p:spPr bwMode="auto">
                <a:xfrm>
                  <a:off x="5855" y="3596"/>
                  <a:ext cx="18" cy="44"/>
                </a:xfrm>
                <a:custGeom>
                  <a:avLst/>
                  <a:gdLst>
                    <a:gd name="T0" fmla="*/ 5 w 9"/>
                    <a:gd name="T1" fmla="*/ 0 h 22"/>
                    <a:gd name="T2" fmla="*/ 0 w 9"/>
                    <a:gd name="T3" fmla="*/ 10 h 22"/>
                    <a:gd name="T4" fmla="*/ 3 w 9"/>
                    <a:gd name="T5" fmla="*/ 21 h 22"/>
                    <a:gd name="T6" fmla="*/ 8 w 9"/>
                    <a:gd name="T7" fmla="*/ 11 h 22"/>
                    <a:gd name="T8" fmla="*/ 5 w 9"/>
                    <a:gd name="T9" fmla="*/ 0 h 22"/>
                  </a:gdLst>
                  <a:ahLst/>
                  <a:cxnLst>
                    <a:cxn ang="0">
                      <a:pos x="T0" y="T1"/>
                    </a:cxn>
                    <a:cxn ang="0">
                      <a:pos x="T2" y="T3"/>
                    </a:cxn>
                    <a:cxn ang="0">
                      <a:pos x="T4" y="T5"/>
                    </a:cxn>
                    <a:cxn ang="0">
                      <a:pos x="T6" y="T7"/>
                    </a:cxn>
                    <a:cxn ang="0">
                      <a:pos x="T8" y="T9"/>
                    </a:cxn>
                  </a:cxnLst>
                  <a:rect l="0" t="0" r="r" b="b"/>
                  <a:pathLst>
                    <a:path w="9" h="22">
                      <a:moveTo>
                        <a:pt x="5" y="0"/>
                      </a:moveTo>
                      <a:cubicBezTo>
                        <a:pt x="3" y="0"/>
                        <a:pt x="1" y="4"/>
                        <a:pt x="0" y="10"/>
                      </a:cubicBezTo>
                      <a:cubicBezTo>
                        <a:pt x="0" y="16"/>
                        <a:pt x="1" y="21"/>
                        <a:pt x="3" y="21"/>
                      </a:cubicBezTo>
                      <a:cubicBezTo>
                        <a:pt x="5" y="22"/>
                        <a:pt x="8" y="17"/>
                        <a:pt x="8" y="11"/>
                      </a:cubicBezTo>
                      <a:cubicBezTo>
                        <a:pt x="9" y="5"/>
                        <a:pt x="7" y="0"/>
                        <a:pt x="5" y="0"/>
                      </a:cubicBezTo>
                      <a:close/>
                    </a:path>
                  </a:pathLst>
                </a:custGeom>
                <a:solidFill>
                  <a:srgbClr val="C927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042" name="Freeform 253">
                  <a:extLst>
                    <a:ext uri="{FF2B5EF4-FFF2-40B4-BE49-F238E27FC236}">
                      <a16:creationId xmlns:a16="http://schemas.microsoft.com/office/drawing/2014/main" id="{8C47FA9C-37C1-6140-BE86-071DECE178BD}"/>
                    </a:ext>
                  </a:extLst>
                </p:cNvPr>
                <p:cNvSpPr>
                  <a:spLocks/>
                </p:cNvSpPr>
                <p:nvPr/>
              </p:nvSpPr>
              <p:spPr bwMode="auto">
                <a:xfrm>
                  <a:off x="5855" y="3596"/>
                  <a:ext cx="16" cy="42"/>
                </a:xfrm>
                <a:custGeom>
                  <a:avLst/>
                  <a:gdLst>
                    <a:gd name="T0" fmla="*/ 5 w 8"/>
                    <a:gd name="T1" fmla="*/ 0 h 21"/>
                    <a:gd name="T2" fmla="*/ 0 w 8"/>
                    <a:gd name="T3" fmla="*/ 10 h 21"/>
                    <a:gd name="T4" fmla="*/ 3 w 8"/>
                    <a:gd name="T5" fmla="*/ 21 h 21"/>
                    <a:gd name="T6" fmla="*/ 8 w 8"/>
                    <a:gd name="T7" fmla="*/ 11 h 21"/>
                    <a:gd name="T8" fmla="*/ 5 w 8"/>
                    <a:gd name="T9" fmla="*/ 0 h 21"/>
                  </a:gdLst>
                  <a:ahLst/>
                  <a:cxnLst>
                    <a:cxn ang="0">
                      <a:pos x="T0" y="T1"/>
                    </a:cxn>
                    <a:cxn ang="0">
                      <a:pos x="T2" y="T3"/>
                    </a:cxn>
                    <a:cxn ang="0">
                      <a:pos x="T4" y="T5"/>
                    </a:cxn>
                    <a:cxn ang="0">
                      <a:pos x="T6" y="T7"/>
                    </a:cxn>
                    <a:cxn ang="0">
                      <a:pos x="T8" y="T9"/>
                    </a:cxn>
                  </a:cxnLst>
                  <a:rect l="0" t="0" r="r" b="b"/>
                  <a:pathLst>
                    <a:path w="8" h="21">
                      <a:moveTo>
                        <a:pt x="5" y="0"/>
                      </a:moveTo>
                      <a:cubicBezTo>
                        <a:pt x="3" y="0"/>
                        <a:pt x="1" y="5"/>
                        <a:pt x="0" y="10"/>
                      </a:cubicBezTo>
                      <a:cubicBezTo>
                        <a:pt x="0" y="16"/>
                        <a:pt x="1" y="21"/>
                        <a:pt x="3" y="21"/>
                      </a:cubicBezTo>
                      <a:cubicBezTo>
                        <a:pt x="5" y="21"/>
                        <a:pt x="8" y="17"/>
                        <a:pt x="8" y="11"/>
                      </a:cubicBezTo>
                      <a:cubicBezTo>
                        <a:pt x="8" y="5"/>
                        <a:pt x="7" y="0"/>
                        <a:pt x="5" y="0"/>
                      </a:cubicBezTo>
                      <a:close/>
                    </a:path>
                  </a:pathLst>
                </a:custGeom>
                <a:solidFill>
                  <a:srgbClr val="CA28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043" name="Freeform 254">
                  <a:extLst>
                    <a:ext uri="{FF2B5EF4-FFF2-40B4-BE49-F238E27FC236}">
                      <a16:creationId xmlns:a16="http://schemas.microsoft.com/office/drawing/2014/main" id="{F673C718-17EB-1FA7-5DAA-30168603AC50}"/>
                    </a:ext>
                  </a:extLst>
                </p:cNvPr>
                <p:cNvSpPr>
                  <a:spLocks/>
                </p:cNvSpPr>
                <p:nvPr/>
              </p:nvSpPr>
              <p:spPr bwMode="auto">
                <a:xfrm>
                  <a:off x="5855" y="3596"/>
                  <a:ext cx="16" cy="42"/>
                </a:xfrm>
                <a:custGeom>
                  <a:avLst/>
                  <a:gdLst>
                    <a:gd name="T0" fmla="*/ 5 w 8"/>
                    <a:gd name="T1" fmla="*/ 0 h 21"/>
                    <a:gd name="T2" fmla="*/ 0 w 8"/>
                    <a:gd name="T3" fmla="*/ 10 h 21"/>
                    <a:gd name="T4" fmla="*/ 3 w 8"/>
                    <a:gd name="T5" fmla="*/ 21 h 21"/>
                    <a:gd name="T6" fmla="*/ 8 w 8"/>
                    <a:gd name="T7" fmla="*/ 11 h 21"/>
                    <a:gd name="T8" fmla="*/ 5 w 8"/>
                    <a:gd name="T9" fmla="*/ 0 h 21"/>
                  </a:gdLst>
                  <a:ahLst/>
                  <a:cxnLst>
                    <a:cxn ang="0">
                      <a:pos x="T0" y="T1"/>
                    </a:cxn>
                    <a:cxn ang="0">
                      <a:pos x="T2" y="T3"/>
                    </a:cxn>
                    <a:cxn ang="0">
                      <a:pos x="T4" y="T5"/>
                    </a:cxn>
                    <a:cxn ang="0">
                      <a:pos x="T6" y="T7"/>
                    </a:cxn>
                    <a:cxn ang="0">
                      <a:pos x="T8" y="T9"/>
                    </a:cxn>
                  </a:cxnLst>
                  <a:rect l="0" t="0" r="r" b="b"/>
                  <a:pathLst>
                    <a:path w="8" h="21">
                      <a:moveTo>
                        <a:pt x="5" y="0"/>
                      </a:moveTo>
                      <a:cubicBezTo>
                        <a:pt x="3" y="0"/>
                        <a:pt x="1" y="5"/>
                        <a:pt x="0" y="10"/>
                      </a:cubicBezTo>
                      <a:cubicBezTo>
                        <a:pt x="0" y="16"/>
                        <a:pt x="1" y="21"/>
                        <a:pt x="3" y="21"/>
                      </a:cubicBezTo>
                      <a:cubicBezTo>
                        <a:pt x="5" y="21"/>
                        <a:pt x="8" y="17"/>
                        <a:pt x="8" y="11"/>
                      </a:cubicBezTo>
                      <a:cubicBezTo>
                        <a:pt x="8" y="5"/>
                        <a:pt x="7" y="1"/>
                        <a:pt x="5" y="0"/>
                      </a:cubicBezTo>
                      <a:close/>
                    </a:path>
                  </a:pathLst>
                </a:custGeom>
                <a:solidFill>
                  <a:srgbClr val="CB29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044" name="Freeform 255">
                  <a:extLst>
                    <a:ext uri="{FF2B5EF4-FFF2-40B4-BE49-F238E27FC236}">
                      <a16:creationId xmlns:a16="http://schemas.microsoft.com/office/drawing/2014/main" id="{5AB02E77-0247-6442-5130-21F8DDF165DF}"/>
                    </a:ext>
                  </a:extLst>
                </p:cNvPr>
                <p:cNvSpPr>
                  <a:spLocks/>
                </p:cNvSpPr>
                <p:nvPr/>
              </p:nvSpPr>
              <p:spPr bwMode="auto">
                <a:xfrm>
                  <a:off x="5855" y="3596"/>
                  <a:ext cx="16" cy="42"/>
                </a:xfrm>
                <a:custGeom>
                  <a:avLst/>
                  <a:gdLst>
                    <a:gd name="T0" fmla="*/ 5 w 8"/>
                    <a:gd name="T1" fmla="*/ 1 h 21"/>
                    <a:gd name="T2" fmla="*/ 0 w 8"/>
                    <a:gd name="T3" fmla="*/ 10 h 21"/>
                    <a:gd name="T4" fmla="*/ 3 w 8"/>
                    <a:gd name="T5" fmla="*/ 21 h 21"/>
                    <a:gd name="T6" fmla="*/ 8 w 8"/>
                    <a:gd name="T7" fmla="*/ 11 h 21"/>
                    <a:gd name="T8" fmla="*/ 5 w 8"/>
                    <a:gd name="T9" fmla="*/ 1 h 21"/>
                  </a:gdLst>
                  <a:ahLst/>
                  <a:cxnLst>
                    <a:cxn ang="0">
                      <a:pos x="T0" y="T1"/>
                    </a:cxn>
                    <a:cxn ang="0">
                      <a:pos x="T2" y="T3"/>
                    </a:cxn>
                    <a:cxn ang="0">
                      <a:pos x="T4" y="T5"/>
                    </a:cxn>
                    <a:cxn ang="0">
                      <a:pos x="T6" y="T7"/>
                    </a:cxn>
                    <a:cxn ang="0">
                      <a:pos x="T8" y="T9"/>
                    </a:cxn>
                  </a:cxnLst>
                  <a:rect l="0" t="0" r="r" b="b"/>
                  <a:pathLst>
                    <a:path w="8" h="21">
                      <a:moveTo>
                        <a:pt x="5" y="1"/>
                      </a:moveTo>
                      <a:cubicBezTo>
                        <a:pt x="3" y="0"/>
                        <a:pt x="1" y="5"/>
                        <a:pt x="0" y="10"/>
                      </a:cubicBezTo>
                      <a:cubicBezTo>
                        <a:pt x="0" y="16"/>
                        <a:pt x="1" y="21"/>
                        <a:pt x="3" y="21"/>
                      </a:cubicBezTo>
                      <a:cubicBezTo>
                        <a:pt x="5" y="21"/>
                        <a:pt x="7" y="17"/>
                        <a:pt x="8" y="11"/>
                      </a:cubicBezTo>
                      <a:cubicBezTo>
                        <a:pt x="8" y="5"/>
                        <a:pt x="7" y="1"/>
                        <a:pt x="5" y="1"/>
                      </a:cubicBezTo>
                      <a:close/>
                    </a:path>
                  </a:pathLst>
                </a:custGeom>
                <a:solidFill>
                  <a:srgbClr val="CC2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045" name="Freeform 256">
                  <a:extLst>
                    <a:ext uri="{FF2B5EF4-FFF2-40B4-BE49-F238E27FC236}">
                      <a16:creationId xmlns:a16="http://schemas.microsoft.com/office/drawing/2014/main" id="{01E09BFA-1A07-FA88-1B76-B25FB09AA1E9}"/>
                    </a:ext>
                  </a:extLst>
                </p:cNvPr>
                <p:cNvSpPr>
                  <a:spLocks/>
                </p:cNvSpPr>
                <p:nvPr/>
              </p:nvSpPr>
              <p:spPr bwMode="auto">
                <a:xfrm>
                  <a:off x="5855" y="3598"/>
                  <a:ext cx="16" cy="40"/>
                </a:xfrm>
                <a:custGeom>
                  <a:avLst/>
                  <a:gdLst>
                    <a:gd name="T0" fmla="*/ 5 w 8"/>
                    <a:gd name="T1" fmla="*/ 0 h 20"/>
                    <a:gd name="T2" fmla="*/ 0 w 8"/>
                    <a:gd name="T3" fmla="*/ 9 h 20"/>
                    <a:gd name="T4" fmla="*/ 3 w 8"/>
                    <a:gd name="T5" fmla="*/ 20 h 20"/>
                    <a:gd name="T6" fmla="*/ 8 w 8"/>
                    <a:gd name="T7" fmla="*/ 10 h 20"/>
                    <a:gd name="T8" fmla="*/ 5 w 8"/>
                    <a:gd name="T9" fmla="*/ 0 h 20"/>
                  </a:gdLst>
                  <a:ahLst/>
                  <a:cxnLst>
                    <a:cxn ang="0">
                      <a:pos x="T0" y="T1"/>
                    </a:cxn>
                    <a:cxn ang="0">
                      <a:pos x="T2" y="T3"/>
                    </a:cxn>
                    <a:cxn ang="0">
                      <a:pos x="T4" y="T5"/>
                    </a:cxn>
                    <a:cxn ang="0">
                      <a:pos x="T6" y="T7"/>
                    </a:cxn>
                    <a:cxn ang="0">
                      <a:pos x="T8" y="T9"/>
                    </a:cxn>
                  </a:cxnLst>
                  <a:rect l="0" t="0" r="r" b="b"/>
                  <a:pathLst>
                    <a:path w="8" h="20">
                      <a:moveTo>
                        <a:pt x="5" y="0"/>
                      </a:moveTo>
                      <a:cubicBezTo>
                        <a:pt x="3" y="0"/>
                        <a:pt x="1" y="4"/>
                        <a:pt x="0" y="9"/>
                      </a:cubicBezTo>
                      <a:cubicBezTo>
                        <a:pt x="0" y="15"/>
                        <a:pt x="1" y="19"/>
                        <a:pt x="3" y="20"/>
                      </a:cubicBezTo>
                      <a:cubicBezTo>
                        <a:pt x="5" y="20"/>
                        <a:pt x="7" y="15"/>
                        <a:pt x="8" y="10"/>
                      </a:cubicBezTo>
                      <a:cubicBezTo>
                        <a:pt x="8" y="4"/>
                        <a:pt x="7" y="0"/>
                        <a:pt x="5" y="0"/>
                      </a:cubicBezTo>
                      <a:close/>
                    </a:path>
                  </a:pathLst>
                </a:custGeom>
                <a:solidFill>
                  <a:srgbClr val="CD2A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046" name="Freeform 257">
                  <a:extLst>
                    <a:ext uri="{FF2B5EF4-FFF2-40B4-BE49-F238E27FC236}">
                      <a16:creationId xmlns:a16="http://schemas.microsoft.com/office/drawing/2014/main" id="{F85B8416-8ED9-BE3C-8F87-FFF915333E8A}"/>
                    </a:ext>
                  </a:extLst>
                </p:cNvPr>
                <p:cNvSpPr>
                  <a:spLocks/>
                </p:cNvSpPr>
                <p:nvPr/>
              </p:nvSpPr>
              <p:spPr bwMode="auto">
                <a:xfrm>
                  <a:off x="5855" y="3598"/>
                  <a:ext cx="16" cy="40"/>
                </a:xfrm>
                <a:custGeom>
                  <a:avLst/>
                  <a:gdLst>
                    <a:gd name="T0" fmla="*/ 5 w 8"/>
                    <a:gd name="T1" fmla="*/ 0 h 20"/>
                    <a:gd name="T2" fmla="*/ 1 w 8"/>
                    <a:gd name="T3" fmla="*/ 9 h 20"/>
                    <a:gd name="T4" fmla="*/ 3 w 8"/>
                    <a:gd name="T5" fmla="*/ 19 h 20"/>
                    <a:gd name="T6" fmla="*/ 8 w 8"/>
                    <a:gd name="T7" fmla="*/ 10 h 20"/>
                    <a:gd name="T8" fmla="*/ 5 w 8"/>
                    <a:gd name="T9" fmla="*/ 0 h 20"/>
                  </a:gdLst>
                  <a:ahLst/>
                  <a:cxnLst>
                    <a:cxn ang="0">
                      <a:pos x="T0" y="T1"/>
                    </a:cxn>
                    <a:cxn ang="0">
                      <a:pos x="T2" y="T3"/>
                    </a:cxn>
                    <a:cxn ang="0">
                      <a:pos x="T4" y="T5"/>
                    </a:cxn>
                    <a:cxn ang="0">
                      <a:pos x="T6" y="T7"/>
                    </a:cxn>
                    <a:cxn ang="0">
                      <a:pos x="T8" y="T9"/>
                    </a:cxn>
                  </a:cxnLst>
                  <a:rect l="0" t="0" r="r" b="b"/>
                  <a:pathLst>
                    <a:path w="8" h="20">
                      <a:moveTo>
                        <a:pt x="5" y="0"/>
                      </a:moveTo>
                      <a:cubicBezTo>
                        <a:pt x="3" y="0"/>
                        <a:pt x="1" y="4"/>
                        <a:pt x="1" y="9"/>
                      </a:cubicBezTo>
                      <a:cubicBezTo>
                        <a:pt x="0" y="15"/>
                        <a:pt x="1" y="19"/>
                        <a:pt x="3" y="19"/>
                      </a:cubicBezTo>
                      <a:cubicBezTo>
                        <a:pt x="5" y="20"/>
                        <a:pt x="7" y="15"/>
                        <a:pt x="8" y="10"/>
                      </a:cubicBezTo>
                      <a:cubicBezTo>
                        <a:pt x="8" y="5"/>
                        <a:pt x="7" y="0"/>
                        <a:pt x="5" y="0"/>
                      </a:cubicBezTo>
                      <a:close/>
                    </a:path>
                  </a:pathLst>
                </a:custGeom>
                <a:solidFill>
                  <a:srgbClr val="CD2B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047" name="Freeform 258">
                  <a:extLst>
                    <a:ext uri="{FF2B5EF4-FFF2-40B4-BE49-F238E27FC236}">
                      <a16:creationId xmlns:a16="http://schemas.microsoft.com/office/drawing/2014/main" id="{3647617D-9BFF-2FC0-8738-57F30D8E92BE}"/>
                    </a:ext>
                  </a:extLst>
                </p:cNvPr>
                <p:cNvSpPr>
                  <a:spLocks/>
                </p:cNvSpPr>
                <p:nvPr/>
              </p:nvSpPr>
              <p:spPr bwMode="auto">
                <a:xfrm>
                  <a:off x="5855" y="3598"/>
                  <a:ext cx="16" cy="38"/>
                </a:xfrm>
                <a:custGeom>
                  <a:avLst/>
                  <a:gdLst>
                    <a:gd name="T0" fmla="*/ 5 w 8"/>
                    <a:gd name="T1" fmla="*/ 0 h 19"/>
                    <a:gd name="T2" fmla="*/ 1 w 8"/>
                    <a:gd name="T3" fmla="*/ 9 h 19"/>
                    <a:gd name="T4" fmla="*/ 3 w 8"/>
                    <a:gd name="T5" fmla="*/ 19 h 19"/>
                    <a:gd name="T6" fmla="*/ 8 w 8"/>
                    <a:gd name="T7" fmla="*/ 10 h 19"/>
                    <a:gd name="T8" fmla="*/ 5 w 8"/>
                    <a:gd name="T9" fmla="*/ 0 h 19"/>
                  </a:gdLst>
                  <a:ahLst/>
                  <a:cxnLst>
                    <a:cxn ang="0">
                      <a:pos x="T0" y="T1"/>
                    </a:cxn>
                    <a:cxn ang="0">
                      <a:pos x="T2" y="T3"/>
                    </a:cxn>
                    <a:cxn ang="0">
                      <a:pos x="T4" y="T5"/>
                    </a:cxn>
                    <a:cxn ang="0">
                      <a:pos x="T6" y="T7"/>
                    </a:cxn>
                    <a:cxn ang="0">
                      <a:pos x="T8" y="T9"/>
                    </a:cxn>
                  </a:cxnLst>
                  <a:rect l="0" t="0" r="r" b="b"/>
                  <a:pathLst>
                    <a:path w="8" h="19">
                      <a:moveTo>
                        <a:pt x="5" y="0"/>
                      </a:moveTo>
                      <a:cubicBezTo>
                        <a:pt x="3" y="0"/>
                        <a:pt x="1" y="4"/>
                        <a:pt x="1" y="9"/>
                      </a:cubicBezTo>
                      <a:cubicBezTo>
                        <a:pt x="0" y="15"/>
                        <a:pt x="1" y="19"/>
                        <a:pt x="3" y="19"/>
                      </a:cubicBezTo>
                      <a:cubicBezTo>
                        <a:pt x="5" y="19"/>
                        <a:pt x="7" y="15"/>
                        <a:pt x="8" y="10"/>
                      </a:cubicBezTo>
                      <a:cubicBezTo>
                        <a:pt x="8" y="5"/>
                        <a:pt x="7" y="0"/>
                        <a:pt x="5" y="0"/>
                      </a:cubicBezTo>
                      <a:close/>
                    </a:path>
                  </a:pathLst>
                </a:custGeom>
                <a:solidFill>
                  <a:srgbClr val="CE2C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048" name="Freeform 259">
                  <a:extLst>
                    <a:ext uri="{FF2B5EF4-FFF2-40B4-BE49-F238E27FC236}">
                      <a16:creationId xmlns:a16="http://schemas.microsoft.com/office/drawing/2014/main" id="{FF6454C5-726B-6561-D887-881A71A12EE0}"/>
                    </a:ext>
                  </a:extLst>
                </p:cNvPr>
                <p:cNvSpPr>
                  <a:spLocks/>
                </p:cNvSpPr>
                <p:nvPr/>
              </p:nvSpPr>
              <p:spPr bwMode="auto">
                <a:xfrm>
                  <a:off x="5855" y="3598"/>
                  <a:ext cx="16" cy="38"/>
                </a:xfrm>
                <a:custGeom>
                  <a:avLst/>
                  <a:gdLst>
                    <a:gd name="T0" fmla="*/ 5 w 8"/>
                    <a:gd name="T1" fmla="*/ 0 h 19"/>
                    <a:gd name="T2" fmla="*/ 1 w 8"/>
                    <a:gd name="T3" fmla="*/ 9 h 19"/>
                    <a:gd name="T4" fmla="*/ 3 w 8"/>
                    <a:gd name="T5" fmla="*/ 19 h 19"/>
                    <a:gd name="T6" fmla="*/ 8 w 8"/>
                    <a:gd name="T7" fmla="*/ 10 h 19"/>
                    <a:gd name="T8" fmla="*/ 5 w 8"/>
                    <a:gd name="T9" fmla="*/ 0 h 19"/>
                  </a:gdLst>
                  <a:ahLst/>
                  <a:cxnLst>
                    <a:cxn ang="0">
                      <a:pos x="T0" y="T1"/>
                    </a:cxn>
                    <a:cxn ang="0">
                      <a:pos x="T2" y="T3"/>
                    </a:cxn>
                    <a:cxn ang="0">
                      <a:pos x="T4" y="T5"/>
                    </a:cxn>
                    <a:cxn ang="0">
                      <a:pos x="T6" y="T7"/>
                    </a:cxn>
                    <a:cxn ang="0">
                      <a:pos x="T8" y="T9"/>
                    </a:cxn>
                  </a:cxnLst>
                  <a:rect l="0" t="0" r="r" b="b"/>
                  <a:pathLst>
                    <a:path w="8" h="19">
                      <a:moveTo>
                        <a:pt x="5" y="0"/>
                      </a:moveTo>
                      <a:cubicBezTo>
                        <a:pt x="3" y="0"/>
                        <a:pt x="1" y="4"/>
                        <a:pt x="1" y="9"/>
                      </a:cubicBezTo>
                      <a:cubicBezTo>
                        <a:pt x="0" y="15"/>
                        <a:pt x="1" y="19"/>
                        <a:pt x="3" y="19"/>
                      </a:cubicBezTo>
                      <a:cubicBezTo>
                        <a:pt x="5" y="19"/>
                        <a:pt x="7" y="15"/>
                        <a:pt x="8" y="10"/>
                      </a:cubicBezTo>
                      <a:cubicBezTo>
                        <a:pt x="8" y="5"/>
                        <a:pt x="7" y="0"/>
                        <a:pt x="5" y="0"/>
                      </a:cubicBezTo>
                      <a:close/>
                    </a:path>
                  </a:pathLst>
                </a:custGeom>
                <a:solidFill>
                  <a:srgbClr val="CF2D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049" name="Freeform 260">
                  <a:extLst>
                    <a:ext uri="{FF2B5EF4-FFF2-40B4-BE49-F238E27FC236}">
                      <a16:creationId xmlns:a16="http://schemas.microsoft.com/office/drawing/2014/main" id="{BF6AB127-1212-566E-E921-6B804B5D18D2}"/>
                    </a:ext>
                  </a:extLst>
                </p:cNvPr>
                <p:cNvSpPr>
                  <a:spLocks/>
                </p:cNvSpPr>
                <p:nvPr/>
              </p:nvSpPr>
              <p:spPr bwMode="auto">
                <a:xfrm>
                  <a:off x="5855" y="3598"/>
                  <a:ext cx="16" cy="38"/>
                </a:xfrm>
                <a:custGeom>
                  <a:avLst/>
                  <a:gdLst>
                    <a:gd name="T0" fmla="*/ 5 w 8"/>
                    <a:gd name="T1" fmla="*/ 1 h 19"/>
                    <a:gd name="T2" fmla="*/ 1 w 8"/>
                    <a:gd name="T3" fmla="*/ 9 h 19"/>
                    <a:gd name="T4" fmla="*/ 3 w 8"/>
                    <a:gd name="T5" fmla="*/ 19 h 19"/>
                    <a:gd name="T6" fmla="*/ 8 w 8"/>
                    <a:gd name="T7" fmla="*/ 10 h 19"/>
                    <a:gd name="T8" fmla="*/ 5 w 8"/>
                    <a:gd name="T9" fmla="*/ 1 h 19"/>
                  </a:gdLst>
                  <a:ahLst/>
                  <a:cxnLst>
                    <a:cxn ang="0">
                      <a:pos x="T0" y="T1"/>
                    </a:cxn>
                    <a:cxn ang="0">
                      <a:pos x="T2" y="T3"/>
                    </a:cxn>
                    <a:cxn ang="0">
                      <a:pos x="T4" y="T5"/>
                    </a:cxn>
                    <a:cxn ang="0">
                      <a:pos x="T6" y="T7"/>
                    </a:cxn>
                    <a:cxn ang="0">
                      <a:pos x="T8" y="T9"/>
                    </a:cxn>
                  </a:cxnLst>
                  <a:rect l="0" t="0" r="r" b="b"/>
                  <a:pathLst>
                    <a:path w="8" h="19">
                      <a:moveTo>
                        <a:pt x="5" y="1"/>
                      </a:moveTo>
                      <a:cubicBezTo>
                        <a:pt x="3" y="0"/>
                        <a:pt x="1" y="4"/>
                        <a:pt x="1" y="9"/>
                      </a:cubicBezTo>
                      <a:cubicBezTo>
                        <a:pt x="0" y="14"/>
                        <a:pt x="2" y="19"/>
                        <a:pt x="3" y="19"/>
                      </a:cubicBezTo>
                      <a:cubicBezTo>
                        <a:pt x="5" y="19"/>
                        <a:pt x="7" y="15"/>
                        <a:pt x="8" y="10"/>
                      </a:cubicBezTo>
                      <a:cubicBezTo>
                        <a:pt x="8" y="5"/>
                        <a:pt x="7" y="1"/>
                        <a:pt x="5" y="1"/>
                      </a:cubicBezTo>
                      <a:close/>
                    </a:path>
                  </a:pathLst>
                </a:custGeom>
                <a:solidFill>
                  <a:srgbClr val="D02E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050" name="Freeform 261">
                  <a:extLst>
                    <a:ext uri="{FF2B5EF4-FFF2-40B4-BE49-F238E27FC236}">
                      <a16:creationId xmlns:a16="http://schemas.microsoft.com/office/drawing/2014/main" id="{3B681079-18A2-8605-7DF9-243C640F23E2}"/>
                    </a:ext>
                  </a:extLst>
                </p:cNvPr>
                <p:cNvSpPr>
                  <a:spLocks/>
                </p:cNvSpPr>
                <p:nvPr/>
              </p:nvSpPr>
              <p:spPr bwMode="auto">
                <a:xfrm>
                  <a:off x="5855" y="3600"/>
                  <a:ext cx="16" cy="36"/>
                </a:xfrm>
                <a:custGeom>
                  <a:avLst/>
                  <a:gdLst>
                    <a:gd name="T0" fmla="*/ 5 w 8"/>
                    <a:gd name="T1" fmla="*/ 0 h 18"/>
                    <a:gd name="T2" fmla="*/ 1 w 8"/>
                    <a:gd name="T3" fmla="*/ 8 h 18"/>
                    <a:gd name="T4" fmla="*/ 3 w 8"/>
                    <a:gd name="T5" fmla="*/ 18 h 18"/>
                    <a:gd name="T6" fmla="*/ 7 w 8"/>
                    <a:gd name="T7" fmla="*/ 9 h 18"/>
                    <a:gd name="T8" fmla="*/ 5 w 8"/>
                    <a:gd name="T9" fmla="*/ 0 h 18"/>
                  </a:gdLst>
                  <a:ahLst/>
                  <a:cxnLst>
                    <a:cxn ang="0">
                      <a:pos x="T0" y="T1"/>
                    </a:cxn>
                    <a:cxn ang="0">
                      <a:pos x="T2" y="T3"/>
                    </a:cxn>
                    <a:cxn ang="0">
                      <a:pos x="T4" y="T5"/>
                    </a:cxn>
                    <a:cxn ang="0">
                      <a:pos x="T6" y="T7"/>
                    </a:cxn>
                    <a:cxn ang="0">
                      <a:pos x="T8" y="T9"/>
                    </a:cxn>
                  </a:cxnLst>
                  <a:rect l="0" t="0" r="r" b="b"/>
                  <a:pathLst>
                    <a:path w="8" h="18">
                      <a:moveTo>
                        <a:pt x="5" y="0"/>
                      </a:moveTo>
                      <a:cubicBezTo>
                        <a:pt x="3" y="0"/>
                        <a:pt x="1" y="3"/>
                        <a:pt x="1" y="8"/>
                      </a:cubicBezTo>
                      <a:cubicBezTo>
                        <a:pt x="0" y="13"/>
                        <a:pt x="2" y="17"/>
                        <a:pt x="3" y="18"/>
                      </a:cubicBezTo>
                      <a:cubicBezTo>
                        <a:pt x="5" y="18"/>
                        <a:pt x="7" y="14"/>
                        <a:pt x="7" y="9"/>
                      </a:cubicBezTo>
                      <a:cubicBezTo>
                        <a:pt x="8" y="4"/>
                        <a:pt x="7" y="0"/>
                        <a:pt x="5" y="0"/>
                      </a:cubicBezTo>
                      <a:close/>
                    </a:path>
                  </a:pathLst>
                </a:custGeom>
                <a:solidFill>
                  <a:srgbClr val="D12F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051" name="Freeform 262">
                  <a:extLst>
                    <a:ext uri="{FF2B5EF4-FFF2-40B4-BE49-F238E27FC236}">
                      <a16:creationId xmlns:a16="http://schemas.microsoft.com/office/drawing/2014/main" id="{5BAB5A41-A0DD-CCB0-720C-E79CA88A339F}"/>
                    </a:ext>
                  </a:extLst>
                </p:cNvPr>
                <p:cNvSpPr>
                  <a:spLocks/>
                </p:cNvSpPr>
                <p:nvPr/>
              </p:nvSpPr>
              <p:spPr bwMode="auto">
                <a:xfrm>
                  <a:off x="5855" y="3600"/>
                  <a:ext cx="16" cy="36"/>
                </a:xfrm>
                <a:custGeom>
                  <a:avLst/>
                  <a:gdLst>
                    <a:gd name="T0" fmla="*/ 5 w 8"/>
                    <a:gd name="T1" fmla="*/ 0 h 18"/>
                    <a:gd name="T2" fmla="*/ 1 w 8"/>
                    <a:gd name="T3" fmla="*/ 8 h 18"/>
                    <a:gd name="T4" fmla="*/ 3 w 8"/>
                    <a:gd name="T5" fmla="*/ 17 h 18"/>
                    <a:gd name="T6" fmla="*/ 7 w 8"/>
                    <a:gd name="T7" fmla="*/ 9 h 18"/>
                    <a:gd name="T8" fmla="*/ 5 w 8"/>
                    <a:gd name="T9" fmla="*/ 0 h 18"/>
                  </a:gdLst>
                  <a:ahLst/>
                  <a:cxnLst>
                    <a:cxn ang="0">
                      <a:pos x="T0" y="T1"/>
                    </a:cxn>
                    <a:cxn ang="0">
                      <a:pos x="T2" y="T3"/>
                    </a:cxn>
                    <a:cxn ang="0">
                      <a:pos x="T4" y="T5"/>
                    </a:cxn>
                    <a:cxn ang="0">
                      <a:pos x="T6" y="T7"/>
                    </a:cxn>
                    <a:cxn ang="0">
                      <a:pos x="T8" y="T9"/>
                    </a:cxn>
                  </a:cxnLst>
                  <a:rect l="0" t="0" r="r" b="b"/>
                  <a:pathLst>
                    <a:path w="8" h="18">
                      <a:moveTo>
                        <a:pt x="5" y="0"/>
                      </a:moveTo>
                      <a:cubicBezTo>
                        <a:pt x="3" y="0"/>
                        <a:pt x="1" y="4"/>
                        <a:pt x="1" y="8"/>
                      </a:cubicBezTo>
                      <a:cubicBezTo>
                        <a:pt x="0" y="13"/>
                        <a:pt x="2" y="17"/>
                        <a:pt x="3" y="17"/>
                      </a:cubicBezTo>
                      <a:cubicBezTo>
                        <a:pt x="5" y="18"/>
                        <a:pt x="7" y="14"/>
                        <a:pt x="7" y="9"/>
                      </a:cubicBezTo>
                      <a:cubicBezTo>
                        <a:pt x="8" y="4"/>
                        <a:pt x="7" y="0"/>
                        <a:pt x="5" y="0"/>
                      </a:cubicBezTo>
                      <a:close/>
                    </a:path>
                  </a:pathLst>
                </a:custGeom>
                <a:solidFill>
                  <a:srgbClr val="D230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052" name="Freeform 263">
                  <a:extLst>
                    <a:ext uri="{FF2B5EF4-FFF2-40B4-BE49-F238E27FC236}">
                      <a16:creationId xmlns:a16="http://schemas.microsoft.com/office/drawing/2014/main" id="{C4E5D392-B176-7248-EAB6-758F83C1159E}"/>
                    </a:ext>
                  </a:extLst>
                </p:cNvPr>
                <p:cNvSpPr>
                  <a:spLocks/>
                </p:cNvSpPr>
                <p:nvPr/>
              </p:nvSpPr>
              <p:spPr bwMode="auto">
                <a:xfrm>
                  <a:off x="5857" y="3600"/>
                  <a:ext cx="14" cy="34"/>
                </a:xfrm>
                <a:custGeom>
                  <a:avLst/>
                  <a:gdLst>
                    <a:gd name="T0" fmla="*/ 4 w 7"/>
                    <a:gd name="T1" fmla="*/ 0 h 17"/>
                    <a:gd name="T2" fmla="*/ 0 w 7"/>
                    <a:gd name="T3" fmla="*/ 8 h 17"/>
                    <a:gd name="T4" fmla="*/ 2 w 7"/>
                    <a:gd name="T5" fmla="*/ 17 h 17"/>
                    <a:gd name="T6" fmla="*/ 6 w 7"/>
                    <a:gd name="T7" fmla="*/ 9 h 17"/>
                    <a:gd name="T8" fmla="*/ 4 w 7"/>
                    <a:gd name="T9" fmla="*/ 0 h 17"/>
                  </a:gdLst>
                  <a:ahLst/>
                  <a:cxnLst>
                    <a:cxn ang="0">
                      <a:pos x="T0" y="T1"/>
                    </a:cxn>
                    <a:cxn ang="0">
                      <a:pos x="T2" y="T3"/>
                    </a:cxn>
                    <a:cxn ang="0">
                      <a:pos x="T4" y="T5"/>
                    </a:cxn>
                    <a:cxn ang="0">
                      <a:pos x="T6" y="T7"/>
                    </a:cxn>
                    <a:cxn ang="0">
                      <a:pos x="T8" y="T9"/>
                    </a:cxn>
                  </a:cxnLst>
                  <a:rect l="0" t="0" r="r" b="b"/>
                  <a:pathLst>
                    <a:path w="7" h="17">
                      <a:moveTo>
                        <a:pt x="4" y="0"/>
                      </a:moveTo>
                      <a:cubicBezTo>
                        <a:pt x="2" y="0"/>
                        <a:pt x="0" y="4"/>
                        <a:pt x="0" y="8"/>
                      </a:cubicBezTo>
                      <a:cubicBezTo>
                        <a:pt x="0" y="13"/>
                        <a:pt x="1" y="17"/>
                        <a:pt x="2" y="17"/>
                      </a:cubicBezTo>
                      <a:cubicBezTo>
                        <a:pt x="4" y="17"/>
                        <a:pt x="6" y="14"/>
                        <a:pt x="6" y="9"/>
                      </a:cubicBezTo>
                      <a:cubicBezTo>
                        <a:pt x="7" y="4"/>
                        <a:pt x="6" y="0"/>
                        <a:pt x="4" y="0"/>
                      </a:cubicBezTo>
                      <a:close/>
                    </a:path>
                  </a:pathLst>
                </a:custGeom>
                <a:solidFill>
                  <a:srgbClr val="D331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053" name="Freeform 264">
                  <a:extLst>
                    <a:ext uri="{FF2B5EF4-FFF2-40B4-BE49-F238E27FC236}">
                      <a16:creationId xmlns:a16="http://schemas.microsoft.com/office/drawing/2014/main" id="{81BA433E-1CE1-FAC4-2C80-BB9EBDD2E499}"/>
                    </a:ext>
                  </a:extLst>
                </p:cNvPr>
                <p:cNvSpPr>
                  <a:spLocks/>
                </p:cNvSpPr>
                <p:nvPr/>
              </p:nvSpPr>
              <p:spPr bwMode="auto">
                <a:xfrm>
                  <a:off x="5857" y="3600"/>
                  <a:ext cx="14" cy="34"/>
                </a:xfrm>
                <a:custGeom>
                  <a:avLst/>
                  <a:gdLst>
                    <a:gd name="T0" fmla="*/ 4 w 7"/>
                    <a:gd name="T1" fmla="*/ 0 h 17"/>
                    <a:gd name="T2" fmla="*/ 0 w 7"/>
                    <a:gd name="T3" fmla="*/ 8 h 17"/>
                    <a:gd name="T4" fmla="*/ 2 w 7"/>
                    <a:gd name="T5" fmla="*/ 17 h 17"/>
                    <a:gd name="T6" fmla="*/ 6 w 7"/>
                    <a:gd name="T7" fmla="*/ 9 h 17"/>
                    <a:gd name="T8" fmla="*/ 4 w 7"/>
                    <a:gd name="T9" fmla="*/ 0 h 17"/>
                  </a:gdLst>
                  <a:ahLst/>
                  <a:cxnLst>
                    <a:cxn ang="0">
                      <a:pos x="T0" y="T1"/>
                    </a:cxn>
                    <a:cxn ang="0">
                      <a:pos x="T2" y="T3"/>
                    </a:cxn>
                    <a:cxn ang="0">
                      <a:pos x="T4" y="T5"/>
                    </a:cxn>
                    <a:cxn ang="0">
                      <a:pos x="T6" y="T7"/>
                    </a:cxn>
                    <a:cxn ang="0">
                      <a:pos x="T8" y="T9"/>
                    </a:cxn>
                  </a:cxnLst>
                  <a:rect l="0" t="0" r="r" b="b"/>
                  <a:pathLst>
                    <a:path w="7" h="17">
                      <a:moveTo>
                        <a:pt x="4" y="0"/>
                      </a:moveTo>
                      <a:cubicBezTo>
                        <a:pt x="2" y="0"/>
                        <a:pt x="0" y="4"/>
                        <a:pt x="0" y="8"/>
                      </a:cubicBezTo>
                      <a:cubicBezTo>
                        <a:pt x="0" y="13"/>
                        <a:pt x="1" y="17"/>
                        <a:pt x="2" y="17"/>
                      </a:cubicBezTo>
                      <a:cubicBezTo>
                        <a:pt x="4" y="17"/>
                        <a:pt x="6" y="14"/>
                        <a:pt x="6" y="9"/>
                      </a:cubicBezTo>
                      <a:cubicBezTo>
                        <a:pt x="7" y="4"/>
                        <a:pt x="6" y="0"/>
                        <a:pt x="4" y="0"/>
                      </a:cubicBezTo>
                      <a:close/>
                    </a:path>
                  </a:pathLst>
                </a:custGeom>
                <a:solidFill>
                  <a:srgbClr val="D432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054" name="Freeform 265">
                  <a:extLst>
                    <a:ext uri="{FF2B5EF4-FFF2-40B4-BE49-F238E27FC236}">
                      <a16:creationId xmlns:a16="http://schemas.microsoft.com/office/drawing/2014/main" id="{01F1630D-BB69-B80B-CF44-C2EF662EB4CD}"/>
                    </a:ext>
                  </a:extLst>
                </p:cNvPr>
                <p:cNvSpPr>
                  <a:spLocks/>
                </p:cNvSpPr>
                <p:nvPr/>
              </p:nvSpPr>
              <p:spPr bwMode="auto">
                <a:xfrm>
                  <a:off x="5857" y="3600"/>
                  <a:ext cx="14" cy="34"/>
                </a:xfrm>
                <a:custGeom>
                  <a:avLst/>
                  <a:gdLst>
                    <a:gd name="T0" fmla="*/ 4 w 7"/>
                    <a:gd name="T1" fmla="*/ 0 h 17"/>
                    <a:gd name="T2" fmla="*/ 0 w 7"/>
                    <a:gd name="T3" fmla="*/ 8 h 17"/>
                    <a:gd name="T4" fmla="*/ 2 w 7"/>
                    <a:gd name="T5" fmla="*/ 17 h 17"/>
                    <a:gd name="T6" fmla="*/ 6 w 7"/>
                    <a:gd name="T7" fmla="*/ 9 h 17"/>
                    <a:gd name="T8" fmla="*/ 4 w 7"/>
                    <a:gd name="T9" fmla="*/ 0 h 17"/>
                  </a:gdLst>
                  <a:ahLst/>
                  <a:cxnLst>
                    <a:cxn ang="0">
                      <a:pos x="T0" y="T1"/>
                    </a:cxn>
                    <a:cxn ang="0">
                      <a:pos x="T2" y="T3"/>
                    </a:cxn>
                    <a:cxn ang="0">
                      <a:pos x="T4" y="T5"/>
                    </a:cxn>
                    <a:cxn ang="0">
                      <a:pos x="T6" y="T7"/>
                    </a:cxn>
                    <a:cxn ang="0">
                      <a:pos x="T8" y="T9"/>
                    </a:cxn>
                  </a:cxnLst>
                  <a:rect l="0" t="0" r="r" b="b"/>
                  <a:pathLst>
                    <a:path w="7" h="17">
                      <a:moveTo>
                        <a:pt x="4" y="0"/>
                      </a:moveTo>
                      <a:cubicBezTo>
                        <a:pt x="2" y="0"/>
                        <a:pt x="0" y="4"/>
                        <a:pt x="0" y="8"/>
                      </a:cubicBezTo>
                      <a:cubicBezTo>
                        <a:pt x="0" y="13"/>
                        <a:pt x="1" y="17"/>
                        <a:pt x="2" y="17"/>
                      </a:cubicBezTo>
                      <a:cubicBezTo>
                        <a:pt x="4" y="17"/>
                        <a:pt x="6" y="13"/>
                        <a:pt x="6" y="9"/>
                      </a:cubicBezTo>
                      <a:cubicBezTo>
                        <a:pt x="7" y="4"/>
                        <a:pt x="5" y="1"/>
                        <a:pt x="4" y="0"/>
                      </a:cubicBezTo>
                      <a:close/>
                    </a:path>
                  </a:pathLst>
                </a:custGeom>
                <a:solidFill>
                  <a:srgbClr val="D433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055" name="Freeform 266">
                  <a:extLst>
                    <a:ext uri="{FF2B5EF4-FFF2-40B4-BE49-F238E27FC236}">
                      <a16:creationId xmlns:a16="http://schemas.microsoft.com/office/drawing/2014/main" id="{FDBF4379-5961-5EBD-28B1-61DBA3518E33}"/>
                    </a:ext>
                  </a:extLst>
                </p:cNvPr>
                <p:cNvSpPr>
                  <a:spLocks/>
                </p:cNvSpPr>
                <p:nvPr/>
              </p:nvSpPr>
              <p:spPr bwMode="auto">
                <a:xfrm>
                  <a:off x="5857" y="3602"/>
                  <a:ext cx="12" cy="32"/>
                </a:xfrm>
                <a:custGeom>
                  <a:avLst/>
                  <a:gdLst>
                    <a:gd name="T0" fmla="*/ 4 w 6"/>
                    <a:gd name="T1" fmla="*/ 0 h 16"/>
                    <a:gd name="T2" fmla="*/ 0 w 6"/>
                    <a:gd name="T3" fmla="*/ 7 h 16"/>
                    <a:gd name="T4" fmla="*/ 2 w 6"/>
                    <a:gd name="T5" fmla="*/ 16 h 16"/>
                    <a:gd name="T6" fmla="*/ 6 w 6"/>
                    <a:gd name="T7" fmla="*/ 8 h 16"/>
                    <a:gd name="T8" fmla="*/ 4 w 6"/>
                    <a:gd name="T9" fmla="*/ 0 h 16"/>
                  </a:gdLst>
                  <a:ahLst/>
                  <a:cxnLst>
                    <a:cxn ang="0">
                      <a:pos x="T0" y="T1"/>
                    </a:cxn>
                    <a:cxn ang="0">
                      <a:pos x="T2" y="T3"/>
                    </a:cxn>
                    <a:cxn ang="0">
                      <a:pos x="T4" y="T5"/>
                    </a:cxn>
                    <a:cxn ang="0">
                      <a:pos x="T6" y="T7"/>
                    </a:cxn>
                    <a:cxn ang="0">
                      <a:pos x="T8" y="T9"/>
                    </a:cxn>
                  </a:cxnLst>
                  <a:rect l="0" t="0" r="r" b="b"/>
                  <a:pathLst>
                    <a:path w="6" h="16">
                      <a:moveTo>
                        <a:pt x="4" y="0"/>
                      </a:moveTo>
                      <a:cubicBezTo>
                        <a:pt x="2" y="0"/>
                        <a:pt x="0" y="3"/>
                        <a:pt x="0" y="7"/>
                      </a:cubicBezTo>
                      <a:cubicBezTo>
                        <a:pt x="0" y="12"/>
                        <a:pt x="1" y="16"/>
                        <a:pt x="2" y="16"/>
                      </a:cubicBezTo>
                      <a:cubicBezTo>
                        <a:pt x="4" y="16"/>
                        <a:pt x="6" y="12"/>
                        <a:pt x="6" y="8"/>
                      </a:cubicBezTo>
                      <a:cubicBezTo>
                        <a:pt x="6" y="3"/>
                        <a:pt x="5" y="0"/>
                        <a:pt x="4" y="0"/>
                      </a:cubicBezTo>
                      <a:close/>
                    </a:path>
                  </a:pathLst>
                </a:custGeom>
                <a:solidFill>
                  <a:srgbClr val="D534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056" name="Freeform 267">
                  <a:extLst>
                    <a:ext uri="{FF2B5EF4-FFF2-40B4-BE49-F238E27FC236}">
                      <a16:creationId xmlns:a16="http://schemas.microsoft.com/office/drawing/2014/main" id="{73655343-9E50-477D-F87F-96CB88B6140C}"/>
                    </a:ext>
                  </a:extLst>
                </p:cNvPr>
                <p:cNvSpPr>
                  <a:spLocks/>
                </p:cNvSpPr>
                <p:nvPr/>
              </p:nvSpPr>
              <p:spPr bwMode="auto">
                <a:xfrm>
                  <a:off x="5857" y="3602"/>
                  <a:ext cx="12" cy="32"/>
                </a:xfrm>
                <a:custGeom>
                  <a:avLst/>
                  <a:gdLst>
                    <a:gd name="T0" fmla="*/ 4 w 6"/>
                    <a:gd name="T1" fmla="*/ 0 h 16"/>
                    <a:gd name="T2" fmla="*/ 0 w 6"/>
                    <a:gd name="T3" fmla="*/ 7 h 16"/>
                    <a:gd name="T4" fmla="*/ 3 w 6"/>
                    <a:gd name="T5" fmla="*/ 15 h 16"/>
                    <a:gd name="T6" fmla="*/ 6 w 6"/>
                    <a:gd name="T7" fmla="*/ 8 h 16"/>
                    <a:gd name="T8" fmla="*/ 4 w 6"/>
                    <a:gd name="T9" fmla="*/ 0 h 16"/>
                  </a:gdLst>
                  <a:ahLst/>
                  <a:cxnLst>
                    <a:cxn ang="0">
                      <a:pos x="T0" y="T1"/>
                    </a:cxn>
                    <a:cxn ang="0">
                      <a:pos x="T2" y="T3"/>
                    </a:cxn>
                    <a:cxn ang="0">
                      <a:pos x="T4" y="T5"/>
                    </a:cxn>
                    <a:cxn ang="0">
                      <a:pos x="T6" y="T7"/>
                    </a:cxn>
                    <a:cxn ang="0">
                      <a:pos x="T8" y="T9"/>
                    </a:cxn>
                  </a:cxnLst>
                  <a:rect l="0" t="0" r="r" b="b"/>
                  <a:pathLst>
                    <a:path w="6" h="16">
                      <a:moveTo>
                        <a:pt x="4" y="0"/>
                      </a:moveTo>
                      <a:cubicBezTo>
                        <a:pt x="2" y="0"/>
                        <a:pt x="1" y="3"/>
                        <a:pt x="0" y="7"/>
                      </a:cubicBezTo>
                      <a:cubicBezTo>
                        <a:pt x="0" y="12"/>
                        <a:pt x="1" y="15"/>
                        <a:pt x="3" y="15"/>
                      </a:cubicBezTo>
                      <a:cubicBezTo>
                        <a:pt x="4" y="16"/>
                        <a:pt x="6" y="12"/>
                        <a:pt x="6" y="8"/>
                      </a:cubicBezTo>
                      <a:cubicBezTo>
                        <a:pt x="6" y="4"/>
                        <a:pt x="5" y="0"/>
                        <a:pt x="4" y="0"/>
                      </a:cubicBezTo>
                      <a:close/>
                    </a:path>
                  </a:pathLst>
                </a:custGeom>
                <a:solidFill>
                  <a:srgbClr val="D63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057" name="Freeform 268">
                  <a:extLst>
                    <a:ext uri="{FF2B5EF4-FFF2-40B4-BE49-F238E27FC236}">
                      <a16:creationId xmlns:a16="http://schemas.microsoft.com/office/drawing/2014/main" id="{327B4E82-2E89-5771-5842-F478A8757314}"/>
                    </a:ext>
                  </a:extLst>
                </p:cNvPr>
                <p:cNvSpPr>
                  <a:spLocks/>
                </p:cNvSpPr>
                <p:nvPr/>
              </p:nvSpPr>
              <p:spPr bwMode="auto">
                <a:xfrm>
                  <a:off x="5857" y="3602"/>
                  <a:ext cx="12" cy="30"/>
                </a:xfrm>
                <a:custGeom>
                  <a:avLst/>
                  <a:gdLst>
                    <a:gd name="T0" fmla="*/ 4 w 6"/>
                    <a:gd name="T1" fmla="*/ 0 h 15"/>
                    <a:gd name="T2" fmla="*/ 0 w 6"/>
                    <a:gd name="T3" fmla="*/ 7 h 15"/>
                    <a:gd name="T4" fmla="*/ 3 w 6"/>
                    <a:gd name="T5" fmla="*/ 15 h 15"/>
                    <a:gd name="T6" fmla="*/ 6 w 6"/>
                    <a:gd name="T7" fmla="*/ 8 h 15"/>
                    <a:gd name="T8" fmla="*/ 4 w 6"/>
                    <a:gd name="T9" fmla="*/ 0 h 15"/>
                  </a:gdLst>
                  <a:ahLst/>
                  <a:cxnLst>
                    <a:cxn ang="0">
                      <a:pos x="T0" y="T1"/>
                    </a:cxn>
                    <a:cxn ang="0">
                      <a:pos x="T2" y="T3"/>
                    </a:cxn>
                    <a:cxn ang="0">
                      <a:pos x="T4" y="T5"/>
                    </a:cxn>
                    <a:cxn ang="0">
                      <a:pos x="T6" y="T7"/>
                    </a:cxn>
                    <a:cxn ang="0">
                      <a:pos x="T8" y="T9"/>
                    </a:cxn>
                  </a:cxnLst>
                  <a:rect l="0" t="0" r="r" b="b"/>
                  <a:pathLst>
                    <a:path w="6" h="15">
                      <a:moveTo>
                        <a:pt x="4" y="0"/>
                      </a:moveTo>
                      <a:cubicBezTo>
                        <a:pt x="2" y="0"/>
                        <a:pt x="1" y="3"/>
                        <a:pt x="0" y="7"/>
                      </a:cubicBezTo>
                      <a:cubicBezTo>
                        <a:pt x="0" y="12"/>
                        <a:pt x="1" y="15"/>
                        <a:pt x="3" y="15"/>
                      </a:cubicBezTo>
                      <a:cubicBezTo>
                        <a:pt x="4" y="15"/>
                        <a:pt x="6" y="12"/>
                        <a:pt x="6" y="8"/>
                      </a:cubicBezTo>
                      <a:cubicBezTo>
                        <a:pt x="6" y="4"/>
                        <a:pt x="5" y="0"/>
                        <a:pt x="4" y="0"/>
                      </a:cubicBezTo>
                      <a:close/>
                    </a:path>
                  </a:pathLst>
                </a:custGeom>
                <a:solidFill>
                  <a:srgbClr val="D736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058" name="Freeform 269">
                  <a:extLst>
                    <a:ext uri="{FF2B5EF4-FFF2-40B4-BE49-F238E27FC236}">
                      <a16:creationId xmlns:a16="http://schemas.microsoft.com/office/drawing/2014/main" id="{1E8BFE6F-2158-F7A2-5406-7E8E040E3E3A}"/>
                    </a:ext>
                  </a:extLst>
                </p:cNvPr>
                <p:cNvSpPr>
                  <a:spLocks/>
                </p:cNvSpPr>
                <p:nvPr/>
              </p:nvSpPr>
              <p:spPr bwMode="auto">
                <a:xfrm>
                  <a:off x="5857" y="3602"/>
                  <a:ext cx="12" cy="30"/>
                </a:xfrm>
                <a:custGeom>
                  <a:avLst/>
                  <a:gdLst>
                    <a:gd name="T0" fmla="*/ 4 w 6"/>
                    <a:gd name="T1" fmla="*/ 0 h 15"/>
                    <a:gd name="T2" fmla="*/ 0 w 6"/>
                    <a:gd name="T3" fmla="*/ 7 h 15"/>
                    <a:gd name="T4" fmla="*/ 3 w 6"/>
                    <a:gd name="T5" fmla="*/ 15 h 15"/>
                    <a:gd name="T6" fmla="*/ 6 w 6"/>
                    <a:gd name="T7" fmla="*/ 8 h 15"/>
                    <a:gd name="T8" fmla="*/ 4 w 6"/>
                    <a:gd name="T9" fmla="*/ 0 h 15"/>
                  </a:gdLst>
                  <a:ahLst/>
                  <a:cxnLst>
                    <a:cxn ang="0">
                      <a:pos x="T0" y="T1"/>
                    </a:cxn>
                    <a:cxn ang="0">
                      <a:pos x="T2" y="T3"/>
                    </a:cxn>
                    <a:cxn ang="0">
                      <a:pos x="T4" y="T5"/>
                    </a:cxn>
                    <a:cxn ang="0">
                      <a:pos x="T6" y="T7"/>
                    </a:cxn>
                    <a:cxn ang="0">
                      <a:pos x="T8" y="T9"/>
                    </a:cxn>
                  </a:cxnLst>
                  <a:rect l="0" t="0" r="r" b="b"/>
                  <a:pathLst>
                    <a:path w="6" h="15">
                      <a:moveTo>
                        <a:pt x="4" y="0"/>
                      </a:moveTo>
                      <a:cubicBezTo>
                        <a:pt x="2" y="0"/>
                        <a:pt x="1" y="3"/>
                        <a:pt x="0" y="7"/>
                      </a:cubicBezTo>
                      <a:cubicBezTo>
                        <a:pt x="0" y="12"/>
                        <a:pt x="1" y="15"/>
                        <a:pt x="3" y="15"/>
                      </a:cubicBezTo>
                      <a:cubicBezTo>
                        <a:pt x="4" y="15"/>
                        <a:pt x="6" y="12"/>
                        <a:pt x="6" y="8"/>
                      </a:cubicBezTo>
                      <a:cubicBezTo>
                        <a:pt x="6" y="4"/>
                        <a:pt x="5" y="0"/>
                        <a:pt x="4" y="0"/>
                      </a:cubicBezTo>
                      <a:close/>
                    </a:path>
                  </a:pathLst>
                </a:custGeom>
                <a:solidFill>
                  <a:srgbClr val="D837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059" name="Freeform 270">
                  <a:extLst>
                    <a:ext uri="{FF2B5EF4-FFF2-40B4-BE49-F238E27FC236}">
                      <a16:creationId xmlns:a16="http://schemas.microsoft.com/office/drawing/2014/main" id="{C4D77C7E-9934-FA17-C01B-018569DD9E9D}"/>
                    </a:ext>
                  </a:extLst>
                </p:cNvPr>
                <p:cNvSpPr>
                  <a:spLocks/>
                </p:cNvSpPr>
                <p:nvPr/>
              </p:nvSpPr>
              <p:spPr bwMode="auto">
                <a:xfrm>
                  <a:off x="5857" y="3602"/>
                  <a:ext cx="12" cy="30"/>
                </a:xfrm>
                <a:custGeom>
                  <a:avLst/>
                  <a:gdLst>
                    <a:gd name="T0" fmla="*/ 4 w 6"/>
                    <a:gd name="T1" fmla="*/ 0 h 15"/>
                    <a:gd name="T2" fmla="*/ 0 w 6"/>
                    <a:gd name="T3" fmla="*/ 7 h 15"/>
                    <a:gd name="T4" fmla="*/ 3 w 6"/>
                    <a:gd name="T5" fmla="*/ 15 h 15"/>
                    <a:gd name="T6" fmla="*/ 6 w 6"/>
                    <a:gd name="T7" fmla="*/ 8 h 15"/>
                    <a:gd name="T8" fmla="*/ 4 w 6"/>
                    <a:gd name="T9" fmla="*/ 0 h 15"/>
                  </a:gdLst>
                  <a:ahLst/>
                  <a:cxnLst>
                    <a:cxn ang="0">
                      <a:pos x="T0" y="T1"/>
                    </a:cxn>
                    <a:cxn ang="0">
                      <a:pos x="T2" y="T3"/>
                    </a:cxn>
                    <a:cxn ang="0">
                      <a:pos x="T4" y="T5"/>
                    </a:cxn>
                    <a:cxn ang="0">
                      <a:pos x="T6" y="T7"/>
                    </a:cxn>
                    <a:cxn ang="0">
                      <a:pos x="T8" y="T9"/>
                    </a:cxn>
                  </a:cxnLst>
                  <a:rect l="0" t="0" r="r" b="b"/>
                  <a:pathLst>
                    <a:path w="6" h="15">
                      <a:moveTo>
                        <a:pt x="4" y="0"/>
                      </a:moveTo>
                      <a:cubicBezTo>
                        <a:pt x="2" y="0"/>
                        <a:pt x="1" y="3"/>
                        <a:pt x="0" y="7"/>
                      </a:cubicBezTo>
                      <a:cubicBezTo>
                        <a:pt x="0" y="11"/>
                        <a:pt x="1" y="15"/>
                        <a:pt x="3" y="15"/>
                      </a:cubicBezTo>
                      <a:cubicBezTo>
                        <a:pt x="4" y="15"/>
                        <a:pt x="6" y="12"/>
                        <a:pt x="6" y="8"/>
                      </a:cubicBezTo>
                      <a:cubicBezTo>
                        <a:pt x="6" y="4"/>
                        <a:pt x="5" y="1"/>
                        <a:pt x="4" y="0"/>
                      </a:cubicBezTo>
                      <a:close/>
                    </a:path>
                  </a:pathLst>
                </a:custGeom>
                <a:solidFill>
                  <a:srgbClr val="D938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060" name="Freeform 271">
                  <a:extLst>
                    <a:ext uri="{FF2B5EF4-FFF2-40B4-BE49-F238E27FC236}">
                      <a16:creationId xmlns:a16="http://schemas.microsoft.com/office/drawing/2014/main" id="{56980F06-9E61-C564-A278-9D5D9E669DD1}"/>
                    </a:ext>
                  </a:extLst>
                </p:cNvPr>
                <p:cNvSpPr>
                  <a:spLocks/>
                </p:cNvSpPr>
                <p:nvPr/>
              </p:nvSpPr>
              <p:spPr bwMode="auto">
                <a:xfrm>
                  <a:off x="5857" y="3604"/>
                  <a:ext cx="12" cy="28"/>
                </a:xfrm>
                <a:custGeom>
                  <a:avLst/>
                  <a:gdLst>
                    <a:gd name="T0" fmla="*/ 4 w 6"/>
                    <a:gd name="T1" fmla="*/ 0 h 14"/>
                    <a:gd name="T2" fmla="*/ 0 w 6"/>
                    <a:gd name="T3" fmla="*/ 6 h 14"/>
                    <a:gd name="T4" fmla="*/ 3 w 6"/>
                    <a:gd name="T5" fmla="*/ 14 h 14"/>
                    <a:gd name="T6" fmla="*/ 6 w 6"/>
                    <a:gd name="T7" fmla="*/ 7 h 14"/>
                    <a:gd name="T8" fmla="*/ 4 w 6"/>
                    <a:gd name="T9" fmla="*/ 0 h 14"/>
                  </a:gdLst>
                  <a:ahLst/>
                  <a:cxnLst>
                    <a:cxn ang="0">
                      <a:pos x="T0" y="T1"/>
                    </a:cxn>
                    <a:cxn ang="0">
                      <a:pos x="T2" y="T3"/>
                    </a:cxn>
                    <a:cxn ang="0">
                      <a:pos x="T4" y="T5"/>
                    </a:cxn>
                    <a:cxn ang="0">
                      <a:pos x="T6" y="T7"/>
                    </a:cxn>
                    <a:cxn ang="0">
                      <a:pos x="T8" y="T9"/>
                    </a:cxn>
                  </a:cxnLst>
                  <a:rect l="0" t="0" r="r" b="b"/>
                  <a:pathLst>
                    <a:path w="6" h="14">
                      <a:moveTo>
                        <a:pt x="4" y="0"/>
                      </a:moveTo>
                      <a:cubicBezTo>
                        <a:pt x="2" y="0"/>
                        <a:pt x="1" y="3"/>
                        <a:pt x="0" y="6"/>
                      </a:cubicBezTo>
                      <a:cubicBezTo>
                        <a:pt x="0" y="10"/>
                        <a:pt x="1" y="14"/>
                        <a:pt x="3" y="14"/>
                      </a:cubicBezTo>
                      <a:cubicBezTo>
                        <a:pt x="4" y="14"/>
                        <a:pt x="5" y="11"/>
                        <a:pt x="6" y="7"/>
                      </a:cubicBezTo>
                      <a:cubicBezTo>
                        <a:pt x="6" y="3"/>
                        <a:pt x="5" y="0"/>
                        <a:pt x="4" y="0"/>
                      </a:cubicBezTo>
                      <a:close/>
                    </a:path>
                  </a:pathLst>
                </a:custGeom>
                <a:solidFill>
                  <a:srgbClr val="DA39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061" name="Freeform 272">
                  <a:extLst>
                    <a:ext uri="{FF2B5EF4-FFF2-40B4-BE49-F238E27FC236}">
                      <a16:creationId xmlns:a16="http://schemas.microsoft.com/office/drawing/2014/main" id="{33C70808-B647-DAE5-6AE3-47ACED2D0887}"/>
                    </a:ext>
                  </a:extLst>
                </p:cNvPr>
                <p:cNvSpPr>
                  <a:spLocks/>
                </p:cNvSpPr>
                <p:nvPr/>
              </p:nvSpPr>
              <p:spPr bwMode="auto">
                <a:xfrm>
                  <a:off x="5857" y="3604"/>
                  <a:ext cx="12" cy="28"/>
                </a:xfrm>
                <a:custGeom>
                  <a:avLst/>
                  <a:gdLst>
                    <a:gd name="T0" fmla="*/ 4 w 6"/>
                    <a:gd name="T1" fmla="*/ 0 h 14"/>
                    <a:gd name="T2" fmla="*/ 1 w 6"/>
                    <a:gd name="T3" fmla="*/ 6 h 14"/>
                    <a:gd name="T4" fmla="*/ 3 w 6"/>
                    <a:gd name="T5" fmla="*/ 14 h 14"/>
                    <a:gd name="T6" fmla="*/ 6 w 6"/>
                    <a:gd name="T7" fmla="*/ 7 h 14"/>
                    <a:gd name="T8" fmla="*/ 4 w 6"/>
                    <a:gd name="T9" fmla="*/ 0 h 14"/>
                  </a:gdLst>
                  <a:ahLst/>
                  <a:cxnLst>
                    <a:cxn ang="0">
                      <a:pos x="T0" y="T1"/>
                    </a:cxn>
                    <a:cxn ang="0">
                      <a:pos x="T2" y="T3"/>
                    </a:cxn>
                    <a:cxn ang="0">
                      <a:pos x="T4" y="T5"/>
                    </a:cxn>
                    <a:cxn ang="0">
                      <a:pos x="T6" y="T7"/>
                    </a:cxn>
                    <a:cxn ang="0">
                      <a:pos x="T8" y="T9"/>
                    </a:cxn>
                  </a:cxnLst>
                  <a:rect l="0" t="0" r="r" b="b"/>
                  <a:pathLst>
                    <a:path w="6" h="14">
                      <a:moveTo>
                        <a:pt x="4" y="0"/>
                      </a:moveTo>
                      <a:cubicBezTo>
                        <a:pt x="2" y="0"/>
                        <a:pt x="1" y="3"/>
                        <a:pt x="1" y="6"/>
                      </a:cubicBezTo>
                      <a:cubicBezTo>
                        <a:pt x="0" y="10"/>
                        <a:pt x="1" y="13"/>
                        <a:pt x="3" y="14"/>
                      </a:cubicBezTo>
                      <a:cubicBezTo>
                        <a:pt x="4" y="14"/>
                        <a:pt x="5" y="11"/>
                        <a:pt x="6" y="7"/>
                      </a:cubicBezTo>
                      <a:cubicBezTo>
                        <a:pt x="6" y="3"/>
                        <a:pt x="5" y="0"/>
                        <a:pt x="4" y="0"/>
                      </a:cubicBezTo>
                      <a:close/>
                    </a:path>
                  </a:pathLst>
                </a:custGeom>
                <a:solidFill>
                  <a:srgbClr val="DB3A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062" name="Freeform 273">
                  <a:extLst>
                    <a:ext uri="{FF2B5EF4-FFF2-40B4-BE49-F238E27FC236}">
                      <a16:creationId xmlns:a16="http://schemas.microsoft.com/office/drawing/2014/main" id="{F7E84403-48F9-218F-AB44-EB7C7DE4189B}"/>
                    </a:ext>
                  </a:extLst>
                </p:cNvPr>
                <p:cNvSpPr>
                  <a:spLocks/>
                </p:cNvSpPr>
                <p:nvPr/>
              </p:nvSpPr>
              <p:spPr bwMode="auto">
                <a:xfrm>
                  <a:off x="5857" y="3604"/>
                  <a:ext cx="12" cy="26"/>
                </a:xfrm>
                <a:custGeom>
                  <a:avLst/>
                  <a:gdLst>
                    <a:gd name="T0" fmla="*/ 4 w 6"/>
                    <a:gd name="T1" fmla="*/ 0 h 13"/>
                    <a:gd name="T2" fmla="*/ 1 w 6"/>
                    <a:gd name="T3" fmla="*/ 6 h 13"/>
                    <a:gd name="T4" fmla="*/ 3 w 6"/>
                    <a:gd name="T5" fmla="*/ 13 h 13"/>
                    <a:gd name="T6" fmla="*/ 6 w 6"/>
                    <a:gd name="T7" fmla="*/ 7 h 13"/>
                    <a:gd name="T8" fmla="*/ 4 w 6"/>
                    <a:gd name="T9" fmla="*/ 0 h 13"/>
                  </a:gdLst>
                  <a:ahLst/>
                  <a:cxnLst>
                    <a:cxn ang="0">
                      <a:pos x="T0" y="T1"/>
                    </a:cxn>
                    <a:cxn ang="0">
                      <a:pos x="T2" y="T3"/>
                    </a:cxn>
                    <a:cxn ang="0">
                      <a:pos x="T4" y="T5"/>
                    </a:cxn>
                    <a:cxn ang="0">
                      <a:pos x="T6" y="T7"/>
                    </a:cxn>
                    <a:cxn ang="0">
                      <a:pos x="T8" y="T9"/>
                    </a:cxn>
                  </a:cxnLst>
                  <a:rect l="0" t="0" r="r" b="b"/>
                  <a:pathLst>
                    <a:path w="6" h="13">
                      <a:moveTo>
                        <a:pt x="4" y="0"/>
                      </a:moveTo>
                      <a:cubicBezTo>
                        <a:pt x="2" y="0"/>
                        <a:pt x="1" y="3"/>
                        <a:pt x="1" y="6"/>
                      </a:cubicBezTo>
                      <a:cubicBezTo>
                        <a:pt x="0" y="10"/>
                        <a:pt x="1" y="13"/>
                        <a:pt x="3" y="13"/>
                      </a:cubicBezTo>
                      <a:cubicBezTo>
                        <a:pt x="4" y="13"/>
                        <a:pt x="5" y="11"/>
                        <a:pt x="6" y="7"/>
                      </a:cubicBezTo>
                      <a:cubicBezTo>
                        <a:pt x="6" y="3"/>
                        <a:pt x="5" y="0"/>
                        <a:pt x="4" y="0"/>
                      </a:cubicBezTo>
                      <a:close/>
                    </a:path>
                  </a:pathLst>
                </a:custGeom>
                <a:solidFill>
                  <a:srgbClr val="DC3A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063" name="Freeform 274">
                  <a:extLst>
                    <a:ext uri="{FF2B5EF4-FFF2-40B4-BE49-F238E27FC236}">
                      <a16:creationId xmlns:a16="http://schemas.microsoft.com/office/drawing/2014/main" id="{FF1222A8-E622-AB7B-28C9-8696D446F28D}"/>
                    </a:ext>
                  </a:extLst>
                </p:cNvPr>
                <p:cNvSpPr>
                  <a:spLocks/>
                </p:cNvSpPr>
                <p:nvPr/>
              </p:nvSpPr>
              <p:spPr bwMode="auto">
                <a:xfrm>
                  <a:off x="5857" y="3604"/>
                  <a:ext cx="12" cy="26"/>
                </a:xfrm>
                <a:custGeom>
                  <a:avLst/>
                  <a:gdLst>
                    <a:gd name="T0" fmla="*/ 4 w 6"/>
                    <a:gd name="T1" fmla="*/ 0 h 13"/>
                    <a:gd name="T2" fmla="*/ 1 w 6"/>
                    <a:gd name="T3" fmla="*/ 6 h 13"/>
                    <a:gd name="T4" fmla="*/ 3 w 6"/>
                    <a:gd name="T5" fmla="*/ 13 h 13"/>
                    <a:gd name="T6" fmla="*/ 6 w 6"/>
                    <a:gd name="T7" fmla="*/ 7 h 13"/>
                    <a:gd name="T8" fmla="*/ 4 w 6"/>
                    <a:gd name="T9" fmla="*/ 0 h 13"/>
                  </a:gdLst>
                  <a:ahLst/>
                  <a:cxnLst>
                    <a:cxn ang="0">
                      <a:pos x="T0" y="T1"/>
                    </a:cxn>
                    <a:cxn ang="0">
                      <a:pos x="T2" y="T3"/>
                    </a:cxn>
                    <a:cxn ang="0">
                      <a:pos x="T4" y="T5"/>
                    </a:cxn>
                    <a:cxn ang="0">
                      <a:pos x="T6" y="T7"/>
                    </a:cxn>
                    <a:cxn ang="0">
                      <a:pos x="T8" y="T9"/>
                    </a:cxn>
                  </a:cxnLst>
                  <a:rect l="0" t="0" r="r" b="b"/>
                  <a:pathLst>
                    <a:path w="6" h="13">
                      <a:moveTo>
                        <a:pt x="4" y="0"/>
                      </a:moveTo>
                      <a:cubicBezTo>
                        <a:pt x="2" y="0"/>
                        <a:pt x="1" y="3"/>
                        <a:pt x="1" y="6"/>
                      </a:cubicBezTo>
                      <a:cubicBezTo>
                        <a:pt x="0" y="10"/>
                        <a:pt x="1" y="13"/>
                        <a:pt x="3" y="13"/>
                      </a:cubicBezTo>
                      <a:cubicBezTo>
                        <a:pt x="4" y="13"/>
                        <a:pt x="5" y="10"/>
                        <a:pt x="6" y="7"/>
                      </a:cubicBezTo>
                      <a:cubicBezTo>
                        <a:pt x="6" y="3"/>
                        <a:pt x="5" y="0"/>
                        <a:pt x="4" y="0"/>
                      </a:cubicBezTo>
                      <a:close/>
                    </a:path>
                  </a:pathLst>
                </a:custGeom>
                <a:solidFill>
                  <a:srgbClr val="DD3B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064" name="Freeform 275">
                  <a:extLst>
                    <a:ext uri="{FF2B5EF4-FFF2-40B4-BE49-F238E27FC236}">
                      <a16:creationId xmlns:a16="http://schemas.microsoft.com/office/drawing/2014/main" id="{B31E5E9C-E380-70FB-69DE-1727752E0CE7}"/>
                    </a:ext>
                  </a:extLst>
                </p:cNvPr>
                <p:cNvSpPr>
                  <a:spLocks/>
                </p:cNvSpPr>
                <p:nvPr/>
              </p:nvSpPr>
              <p:spPr bwMode="auto">
                <a:xfrm>
                  <a:off x="5859" y="3604"/>
                  <a:ext cx="10" cy="26"/>
                </a:xfrm>
                <a:custGeom>
                  <a:avLst/>
                  <a:gdLst>
                    <a:gd name="T0" fmla="*/ 3 w 5"/>
                    <a:gd name="T1" fmla="*/ 0 h 13"/>
                    <a:gd name="T2" fmla="*/ 0 w 5"/>
                    <a:gd name="T3" fmla="*/ 6 h 13"/>
                    <a:gd name="T4" fmla="*/ 2 w 5"/>
                    <a:gd name="T5" fmla="*/ 13 h 13"/>
                    <a:gd name="T6" fmla="*/ 4 w 5"/>
                    <a:gd name="T7" fmla="*/ 7 h 13"/>
                    <a:gd name="T8" fmla="*/ 3 w 5"/>
                    <a:gd name="T9" fmla="*/ 0 h 13"/>
                  </a:gdLst>
                  <a:ahLst/>
                  <a:cxnLst>
                    <a:cxn ang="0">
                      <a:pos x="T0" y="T1"/>
                    </a:cxn>
                    <a:cxn ang="0">
                      <a:pos x="T2" y="T3"/>
                    </a:cxn>
                    <a:cxn ang="0">
                      <a:pos x="T4" y="T5"/>
                    </a:cxn>
                    <a:cxn ang="0">
                      <a:pos x="T6" y="T7"/>
                    </a:cxn>
                    <a:cxn ang="0">
                      <a:pos x="T8" y="T9"/>
                    </a:cxn>
                  </a:cxnLst>
                  <a:rect l="0" t="0" r="r" b="b"/>
                  <a:pathLst>
                    <a:path w="5" h="13">
                      <a:moveTo>
                        <a:pt x="3" y="0"/>
                      </a:moveTo>
                      <a:cubicBezTo>
                        <a:pt x="1" y="0"/>
                        <a:pt x="0" y="3"/>
                        <a:pt x="0" y="6"/>
                      </a:cubicBezTo>
                      <a:cubicBezTo>
                        <a:pt x="0" y="10"/>
                        <a:pt x="0" y="13"/>
                        <a:pt x="2" y="13"/>
                      </a:cubicBezTo>
                      <a:cubicBezTo>
                        <a:pt x="3" y="13"/>
                        <a:pt x="4" y="10"/>
                        <a:pt x="4" y="7"/>
                      </a:cubicBezTo>
                      <a:cubicBezTo>
                        <a:pt x="5" y="3"/>
                        <a:pt x="4" y="0"/>
                        <a:pt x="3" y="0"/>
                      </a:cubicBezTo>
                      <a:close/>
                    </a:path>
                  </a:pathLst>
                </a:custGeom>
                <a:solidFill>
                  <a:srgbClr val="DE3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065" name="Freeform 276">
                  <a:extLst>
                    <a:ext uri="{FF2B5EF4-FFF2-40B4-BE49-F238E27FC236}">
                      <a16:creationId xmlns:a16="http://schemas.microsoft.com/office/drawing/2014/main" id="{F2C6800E-5271-1A44-4F23-2AD7AC61E520}"/>
                    </a:ext>
                  </a:extLst>
                </p:cNvPr>
                <p:cNvSpPr>
                  <a:spLocks/>
                </p:cNvSpPr>
                <p:nvPr/>
              </p:nvSpPr>
              <p:spPr bwMode="auto">
                <a:xfrm>
                  <a:off x="5859" y="3604"/>
                  <a:ext cx="10" cy="26"/>
                </a:xfrm>
                <a:custGeom>
                  <a:avLst/>
                  <a:gdLst>
                    <a:gd name="T0" fmla="*/ 3 w 5"/>
                    <a:gd name="T1" fmla="*/ 1 h 13"/>
                    <a:gd name="T2" fmla="*/ 0 w 5"/>
                    <a:gd name="T3" fmla="*/ 6 h 13"/>
                    <a:gd name="T4" fmla="*/ 2 w 5"/>
                    <a:gd name="T5" fmla="*/ 13 h 13"/>
                    <a:gd name="T6" fmla="*/ 4 w 5"/>
                    <a:gd name="T7" fmla="*/ 7 h 13"/>
                    <a:gd name="T8" fmla="*/ 3 w 5"/>
                    <a:gd name="T9" fmla="*/ 1 h 13"/>
                  </a:gdLst>
                  <a:ahLst/>
                  <a:cxnLst>
                    <a:cxn ang="0">
                      <a:pos x="T0" y="T1"/>
                    </a:cxn>
                    <a:cxn ang="0">
                      <a:pos x="T2" y="T3"/>
                    </a:cxn>
                    <a:cxn ang="0">
                      <a:pos x="T4" y="T5"/>
                    </a:cxn>
                    <a:cxn ang="0">
                      <a:pos x="T6" y="T7"/>
                    </a:cxn>
                    <a:cxn ang="0">
                      <a:pos x="T8" y="T9"/>
                    </a:cxn>
                  </a:cxnLst>
                  <a:rect l="0" t="0" r="r" b="b"/>
                  <a:pathLst>
                    <a:path w="5" h="13">
                      <a:moveTo>
                        <a:pt x="3" y="1"/>
                      </a:moveTo>
                      <a:cubicBezTo>
                        <a:pt x="1" y="0"/>
                        <a:pt x="0" y="3"/>
                        <a:pt x="0" y="6"/>
                      </a:cubicBezTo>
                      <a:cubicBezTo>
                        <a:pt x="0" y="10"/>
                        <a:pt x="0" y="13"/>
                        <a:pt x="2" y="13"/>
                      </a:cubicBezTo>
                      <a:cubicBezTo>
                        <a:pt x="3" y="13"/>
                        <a:pt x="4" y="10"/>
                        <a:pt x="4" y="7"/>
                      </a:cubicBezTo>
                      <a:cubicBezTo>
                        <a:pt x="5" y="3"/>
                        <a:pt x="4" y="1"/>
                        <a:pt x="3" y="1"/>
                      </a:cubicBezTo>
                      <a:close/>
                    </a:path>
                  </a:pathLst>
                </a:custGeom>
                <a:solidFill>
                  <a:srgbClr val="DE3D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066" name="Freeform 277">
                  <a:extLst>
                    <a:ext uri="{FF2B5EF4-FFF2-40B4-BE49-F238E27FC236}">
                      <a16:creationId xmlns:a16="http://schemas.microsoft.com/office/drawing/2014/main" id="{4DFC5452-00AD-F18D-D0BC-8F44B91A895F}"/>
                    </a:ext>
                  </a:extLst>
                </p:cNvPr>
                <p:cNvSpPr>
                  <a:spLocks/>
                </p:cNvSpPr>
                <p:nvPr/>
              </p:nvSpPr>
              <p:spPr bwMode="auto">
                <a:xfrm>
                  <a:off x="5859" y="3606"/>
                  <a:ext cx="10" cy="24"/>
                </a:xfrm>
                <a:custGeom>
                  <a:avLst/>
                  <a:gdLst>
                    <a:gd name="T0" fmla="*/ 3 w 5"/>
                    <a:gd name="T1" fmla="*/ 0 h 12"/>
                    <a:gd name="T2" fmla="*/ 0 w 5"/>
                    <a:gd name="T3" fmla="*/ 5 h 12"/>
                    <a:gd name="T4" fmla="*/ 2 w 5"/>
                    <a:gd name="T5" fmla="*/ 12 h 12"/>
                    <a:gd name="T6" fmla="*/ 4 w 5"/>
                    <a:gd name="T7" fmla="*/ 6 h 12"/>
                    <a:gd name="T8" fmla="*/ 3 w 5"/>
                    <a:gd name="T9" fmla="*/ 0 h 12"/>
                  </a:gdLst>
                  <a:ahLst/>
                  <a:cxnLst>
                    <a:cxn ang="0">
                      <a:pos x="T0" y="T1"/>
                    </a:cxn>
                    <a:cxn ang="0">
                      <a:pos x="T2" y="T3"/>
                    </a:cxn>
                    <a:cxn ang="0">
                      <a:pos x="T4" y="T5"/>
                    </a:cxn>
                    <a:cxn ang="0">
                      <a:pos x="T6" y="T7"/>
                    </a:cxn>
                    <a:cxn ang="0">
                      <a:pos x="T8" y="T9"/>
                    </a:cxn>
                  </a:cxnLst>
                  <a:rect l="0" t="0" r="r" b="b"/>
                  <a:pathLst>
                    <a:path w="5" h="12">
                      <a:moveTo>
                        <a:pt x="3" y="0"/>
                      </a:moveTo>
                      <a:cubicBezTo>
                        <a:pt x="1" y="0"/>
                        <a:pt x="0" y="2"/>
                        <a:pt x="0" y="5"/>
                      </a:cubicBezTo>
                      <a:cubicBezTo>
                        <a:pt x="0" y="9"/>
                        <a:pt x="0" y="11"/>
                        <a:pt x="2" y="12"/>
                      </a:cubicBezTo>
                      <a:cubicBezTo>
                        <a:pt x="3" y="12"/>
                        <a:pt x="4" y="9"/>
                        <a:pt x="4" y="6"/>
                      </a:cubicBezTo>
                      <a:cubicBezTo>
                        <a:pt x="5" y="3"/>
                        <a:pt x="4" y="0"/>
                        <a:pt x="3" y="0"/>
                      </a:cubicBezTo>
                      <a:close/>
                    </a:path>
                  </a:pathLst>
                </a:custGeom>
                <a:solidFill>
                  <a:srgbClr val="DF3E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067" name="Freeform 278">
                  <a:extLst>
                    <a:ext uri="{FF2B5EF4-FFF2-40B4-BE49-F238E27FC236}">
                      <a16:creationId xmlns:a16="http://schemas.microsoft.com/office/drawing/2014/main" id="{3568F3EB-7F68-AAE2-AB62-4163C20551E3}"/>
                    </a:ext>
                  </a:extLst>
                </p:cNvPr>
                <p:cNvSpPr>
                  <a:spLocks/>
                </p:cNvSpPr>
                <p:nvPr/>
              </p:nvSpPr>
              <p:spPr bwMode="auto">
                <a:xfrm>
                  <a:off x="5859" y="3606"/>
                  <a:ext cx="10" cy="22"/>
                </a:xfrm>
                <a:custGeom>
                  <a:avLst/>
                  <a:gdLst>
                    <a:gd name="T0" fmla="*/ 3 w 5"/>
                    <a:gd name="T1" fmla="*/ 0 h 11"/>
                    <a:gd name="T2" fmla="*/ 0 w 5"/>
                    <a:gd name="T3" fmla="*/ 6 h 11"/>
                    <a:gd name="T4" fmla="*/ 2 w 5"/>
                    <a:gd name="T5" fmla="*/ 11 h 11"/>
                    <a:gd name="T6" fmla="*/ 4 w 5"/>
                    <a:gd name="T7" fmla="*/ 6 h 11"/>
                    <a:gd name="T8" fmla="*/ 3 w 5"/>
                    <a:gd name="T9" fmla="*/ 0 h 11"/>
                  </a:gdLst>
                  <a:ahLst/>
                  <a:cxnLst>
                    <a:cxn ang="0">
                      <a:pos x="T0" y="T1"/>
                    </a:cxn>
                    <a:cxn ang="0">
                      <a:pos x="T2" y="T3"/>
                    </a:cxn>
                    <a:cxn ang="0">
                      <a:pos x="T4" y="T5"/>
                    </a:cxn>
                    <a:cxn ang="0">
                      <a:pos x="T6" y="T7"/>
                    </a:cxn>
                    <a:cxn ang="0">
                      <a:pos x="T8" y="T9"/>
                    </a:cxn>
                  </a:cxnLst>
                  <a:rect l="0" t="0" r="r" b="b"/>
                  <a:pathLst>
                    <a:path w="5" h="11">
                      <a:moveTo>
                        <a:pt x="3" y="0"/>
                      </a:moveTo>
                      <a:cubicBezTo>
                        <a:pt x="1" y="0"/>
                        <a:pt x="0" y="2"/>
                        <a:pt x="0" y="6"/>
                      </a:cubicBezTo>
                      <a:cubicBezTo>
                        <a:pt x="0" y="9"/>
                        <a:pt x="0" y="11"/>
                        <a:pt x="2" y="11"/>
                      </a:cubicBezTo>
                      <a:cubicBezTo>
                        <a:pt x="3" y="11"/>
                        <a:pt x="4" y="9"/>
                        <a:pt x="4" y="6"/>
                      </a:cubicBezTo>
                      <a:cubicBezTo>
                        <a:pt x="5" y="3"/>
                        <a:pt x="4" y="0"/>
                        <a:pt x="3" y="0"/>
                      </a:cubicBezTo>
                      <a:close/>
                    </a:path>
                  </a:pathLst>
                </a:custGeom>
                <a:solidFill>
                  <a:srgbClr val="E03F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068" name="Freeform 279">
                  <a:extLst>
                    <a:ext uri="{FF2B5EF4-FFF2-40B4-BE49-F238E27FC236}">
                      <a16:creationId xmlns:a16="http://schemas.microsoft.com/office/drawing/2014/main" id="{7A24FE89-460D-36FF-6045-5166449EDAA2}"/>
                    </a:ext>
                  </a:extLst>
                </p:cNvPr>
                <p:cNvSpPr>
                  <a:spLocks/>
                </p:cNvSpPr>
                <p:nvPr/>
              </p:nvSpPr>
              <p:spPr bwMode="auto">
                <a:xfrm>
                  <a:off x="5859" y="3606"/>
                  <a:ext cx="8" cy="22"/>
                </a:xfrm>
                <a:custGeom>
                  <a:avLst/>
                  <a:gdLst>
                    <a:gd name="T0" fmla="*/ 3 w 4"/>
                    <a:gd name="T1" fmla="*/ 0 h 11"/>
                    <a:gd name="T2" fmla="*/ 0 w 4"/>
                    <a:gd name="T3" fmla="*/ 6 h 11"/>
                    <a:gd name="T4" fmla="*/ 2 w 4"/>
                    <a:gd name="T5" fmla="*/ 11 h 11"/>
                    <a:gd name="T6" fmla="*/ 4 w 4"/>
                    <a:gd name="T7" fmla="*/ 6 h 11"/>
                    <a:gd name="T8" fmla="*/ 3 w 4"/>
                    <a:gd name="T9" fmla="*/ 0 h 11"/>
                  </a:gdLst>
                  <a:ahLst/>
                  <a:cxnLst>
                    <a:cxn ang="0">
                      <a:pos x="T0" y="T1"/>
                    </a:cxn>
                    <a:cxn ang="0">
                      <a:pos x="T2" y="T3"/>
                    </a:cxn>
                    <a:cxn ang="0">
                      <a:pos x="T4" y="T5"/>
                    </a:cxn>
                    <a:cxn ang="0">
                      <a:pos x="T6" y="T7"/>
                    </a:cxn>
                    <a:cxn ang="0">
                      <a:pos x="T8" y="T9"/>
                    </a:cxn>
                  </a:cxnLst>
                  <a:rect l="0" t="0" r="r" b="b"/>
                  <a:pathLst>
                    <a:path w="4" h="11">
                      <a:moveTo>
                        <a:pt x="3" y="0"/>
                      </a:moveTo>
                      <a:cubicBezTo>
                        <a:pt x="1" y="0"/>
                        <a:pt x="0" y="2"/>
                        <a:pt x="0" y="6"/>
                      </a:cubicBezTo>
                      <a:cubicBezTo>
                        <a:pt x="0" y="9"/>
                        <a:pt x="1" y="11"/>
                        <a:pt x="2" y="11"/>
                      </a:cubicBezTo>
                      <a:cubicBezTo>
                        <a:pt x="3" y="11"/>
                        <a:pt x="4" y="9"/>
                        <a:pt x="4" y="6"/>
                      </a:cubicBezTo>
                      <a:cubicBezTo>
                        <a:pt x="4" y="3"/>
                        <a:pt x="4" y="0"/>
                        <a:pt x="3" y="0"/>
                      </a:cubicBezTo>
                      <a:close/>
                    </a:path>
                  </a:pathLst>
                </a:custGeom>
                <a:solidFill>
                  <a:srgbClr val="E14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069" name="Freeform 280">
                  <a:extLst>
                    <a:ext uri="{FF2B5EF4-FFF2-40B4-BE49-F238E27FC236}">
                      <a16:creationId xmlns:a16="http://schemas.microsoft.com/office/drawing/2014/main" id="{4CB4ED05-1979-EC9A-3653-5DBA58F0EE32}"/>
                    </a:ext>
                  </a:extLst>
                </p:cNvPr>
                <p:cNvSpPr>
                  <a:spLocks/>
                </p:cNvSpPr>
                <p:nvPr/>
              </p:nvSpPr>
              <p:spPr bwMode="auto">
                <a:xfrm>
                  <a:off x="5859" y="3606"/>
                  <a:ext cx="8" cy="22"/>
                </a:xfrm>
                <a:custGeom>
                  <a:avLst/>
                  <a:gdLst>
                    <a:gd name="T0" fmla="*/ 3 w 4"/>
                    <a:gd name="T1" fmla="*/ 0 h 11"/>
                    <a:gd name="T2" fmla="*/ 0 w 4"/>
                    <a:gd name="T3" fmla="*/ 6 h 11"/>
                    <a:gd name="T4" fmla="*/ 2 w 4"/>
                    <a:gd name="T5" fmla="*/ 11 h 11"/>
                    <a:gd name="T6" fmla="*/ 4 w 4"/>
                    <a:gd name="T7" fmla="*/ 6 h 11"/>
                    <a:gd name="T8" fmla="*/ 3 w 4"/>
                    <a:gd name="T9" fmla="*/ 0 h 11"/>
                  </a:gdLst>
                  <a:ahLst/>
                  <a:cxnLst>
                    <a:cxn ang="0">
                      <a:pos x="T0" y="T1"/>
                    </a:cxn>
                    <a:cxn ang="0">
                      <a:pos x="T2" y="T3"/>
                    </a:cxn>
                    <a:cxn ang="0">
                      <a:pos x="T4" y="T5"/>
                    </a:cxn>
                    <a:cxn ang="0">
                      <a:pos x="T6" y="T7"/>
                    </a:cxn>
                    <a:cxn ang="0">
                      <a:pos x="T8" y="T9"/>
                    </a:cxn>
                  </a:cxnLst>
                  <a:rect l="0" t="0" r="r" b="b"/>
                  <a:pathLst>
                    <a:path w="4" h="11">
                      <a:moveTo>
                        <a:pt x="3" y="0"/>
                      </a:moveTo>
                      <a:cubicBezTo>
                        <a:pt x="1" y="0"/>
                        <a:pt x="0" y="3"/>
                        <a:pt x="0" y="6"/>
                      </a:cubicBezTo>
                      <a:cubicBezTo>
                        <a:pt x="0" y="8"/>
                        <a:pt x="1" y="11"/>
                        <a:pt x="2" y="11"/>
                      </a:cubicBezTo>
                      <a:cubicBezTo>
                        <a:pt x="3" y="11"/>
                        <a:pt x="4" y="9"/>
                        <a:pt x="4" y="6"/>
                      </a:cubicBezTo>
                      <a:cubicBezTo>
                        <a:pt x="4" y="3"/>
                        <a:pt x="4" y="0"/>
                        <a:pt x="3" y="0"/>
                      </a:cubicBezTo>
                      <a:close/>
                    </a:path>
                  </a:pathLst>
                </a:custGeom>
                <a:solidFill>
                  <a:srgbClr val="E24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070" name="Freeform 281">
                  <a:extLst>
                    <a:ext uri="{FF2B5EF4-FFF2-40B4-BE49-F238E27FC236}">
                      <a16:creationId xmlns:a16="http://schemas.microsoft.com/office/drawing/2014/main" id="{AC176C77-3C73-FB0A-B454-AA361FC153A2}"/>
                    </a:ext>
                  </a:extLst>
                </p:cNvPr>
                <p:cNvSpPr>
                  <a:spLocks/>
                </p:cNvSpPr>
                <p:nvPr/>
              </p:nvSpPr>
              <p:spPr bwMode="auto">
                <a:xfrm>
                  <a:off x="5859" y="3606"/>
                  <a:ext cx="8" cy="22"/>
                </a:xfrm>
                <a:custGeom>
                  <a:avLst/>
                  <a:gdLst>
                    <a:gd name="T0" fmla="*/ 3 w 4"/>
                    <a:gd name="T1" fmla="*/ 1 h 11"/>
                    <a:gd name="T2" fmla="*/ 0 w 4"/>
                    <a:gd name="T3" fmla="*/ 6 h 11"/>
                    <a:gd name="T4" fmla="*/ 2 w 4"/>
                    <a:gd name="T5" fmla="*/ 11 h 11"/>
                    <a:gd name="T6" fmla="*/ 4 w 4"/>
                    <a:gd name="T7" fmla="*/ 6 h 11"/>
                    <a:gd name="T8" fmla="*/ 3 w 4"/>
                    <a:gd name="T9" fmla="*/ 1 h 11"/>
                  </a:gdLst>
                  <a:ahLst/>
                  <a:cxnLst>
                    <a:cxn ang="0">
                      <a:pos x="T0" y="T1"/>
                    </a:cxn>
                    <a:cxn ang="0">
                      <a:pos x="T2" y="T3"/>
                    </a:cxn>
                    <a:cxn ang="0">
                      <a:pos x="T4" y="T5"/>
                    </a:cxn>
                    <a:cxn ang="0">
                      <a:pos x="T6" y="T7"/>
                    </a:cxn>
                    <a:cxn ang="0">
                      <a:pos x="T8" y="T9"/>
                    </a:cxn>
                  </a:cxnLst>
                  <a:rect l="0" t="0" r="r" b="b"/>
                  <a:pathLst>
                    <a:path w="4" h="11">
                      <a:moveTo>
                        <a:pt x="3" y="1"/>
                      </a:moveTo>
                      <a:cubicBezTo>
                        <a:pt x="1" y="0"/>
                        <a:pt x="0" y="3"/>
                        <a:pt x="0" y="6"/>
                      </a:cubicBezTo>
                      <a:cubicBezTo>
                        <a:pt x="0" y="8"/>
                        <a:pt x="1" y="11"/>
                        <a:pt x="2" y="11"/>
                      </a:cubicBezTo>
                      <a:cubicBezTo>
                        <a:pt x="3" y="11"/>
                        <a:pt x="4" y="9"/>
                        <a:pt x="4" y="6"/>
                      </a:cubicBezTo>
                      <a:cubicBezTo>
                        <a:pt x="4" y="3"/>
                        <a:pt x="4" y="1"/>
                        <a:pt x="3" y="1"/>
                      </a:cubicBezTo>
                      <a:close/>
                    </a:path>
                  </a:pathLst>
                </a:custGeom>
                <a:solidFill>
                  <a:srgbClr val="E342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071" name="Freeform 282">
                  <a:extLst>
                    <a:ext uri="{FF2B5EF4-FFF2-40B4-BE49-F238E27FC236}">
                      <a16:creationId xmlns:a16="http://schemas.microsoft.com/office/drawing/2014/main" id="{43063612-3B21-C74F-DF1E-411821C3EF76}"/>
                    </a:ext>
                  </a:extLst>
                </p:cNvPr>
                <p:cNvSpPr>
                  <a:spLocks/>
                </p:cNvSpPr>
                <p:nvPr/>
              </p:nvSpPr>
              <p:spPr bwMode="auto">
                <a:xfrm>
                  <a:off x="5859" y="3608"/>
                  <a:ext cx="8" cy="20"/>
                </a:xfrm>
                <a:custGeom>
                  <a:avLst/>
                  <a:gdLst>
                    <a:gd name="T0" fmla="*/ 3 w 4"/>
                    <a:gd name="T1" fmla="*/ 0 h 10"/>
                    <a:gd name="T2" fmla="*/ 0 w 4"/>
                    <a:gd name="T3" fmla="*/ 5 h 10"/>
                    <a:gd name="T4" fmla="*/ 2 w 4"/>
                    <a:gd name="T5" fmla="*/ 10 h 10"/>
                    <a:gd name="T6" fmla="*/ 4 w 4"/>
                    <a:gd name="T7" fmla="*/ 5 h 10"/>
                    <a:gd name="T8" fmla="*/ 3 w 4"/>
                    <a:gd name="T9" fmla="*/ 0 h 10"/>
                  </a:gdLst>
                  <a:ahLst/>
                  <a:cxnLst>
                    <a:cxn ang="0">
                      <a:pos x="T0" y="T1"/>
                    </a:cxn>
                    <a:cxn ang="0">
                      <a:pos x="T2" y="T3"/>
                    </a:cxn>
                    <a:cxn ang="0">
                      <a:pos x="T4" y="T5"/>
                    </a:cxn>
                    <a:cxn ang="0">
                      <a:pos x="T6" y="T7"/>
                    </a:cxn>
                    <a:cxn ang="0">
                      <a:pos x="T8" y="T9"/>
                    </a:cxn>
                  </a:cxnLst>
                  <a:rect l="0" t="0" r="r" b="b"/>
                  <a:pathLst>
                    <a:path w="4" h="10">
                      <a:moveTo>
                        <a:pt x="3" y="0"/>
                      </a:moveTo>
                      <a:cubicBezTo>
                        <a:pt x="2" y="0"/>
                        <a:pt x="0" y="2"/>
                        <a:pt x="0" y="5"/>
                      </a:cubicBezTo>
                      <a:cubicBezTo>
                        <a:pt x="0" y="7"/>
                        <a:pt x="1" y="10"/>
                        <a:pt x="2" y="10"/>
                      </a:cubicBezTo>
                      <a:cubicBezTo>
                        <a:pt x="3" y="10"/>
                        <a:pt x="4" y="8"/>
                        <a:pt x="4" y="5"/>
                      </a:cubicBezTo>
                      <a:cubicBezTo>
                        <a:pt x="4" y="2"/>
                        <a:pt x="4" y="0"/>
                        <a:pt x="3" y="0"/>
                      </a:cubicBezTo>
                      <a:close/>
                    </a:path>
                  </a:pathLst>
                </a:custGeom>
                <a:solidFill>
                  <a:srgbClr val="E443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072" name="Freeform 283">
                  <a:extLst>
                    <a:ext uri="{FF2B5EF4-FFF2-40B4-BE49-F238E27FC236}">
                      <a16:creationId xmlns:a16="http://schemas.microsoft.com/office/drawing/2014/main" id="{474863AF-7313-481D-CD65-9D1C6EEBE7DF}"/>
                    </a:ext>
                  </a:extLst>
                </p:cNvPr>
                <p:cNvSpPr>
                  <a:spLocks/>
                </p:cNvSpPr>
                <p:nvPr/>
              </p:nvSpPr>
              <p:spPr bwMode="auto">
                <a:xfrm>
                  <a:off x="5859" y="3608"/>
                  <a:ext cx="8" cy="20"/>
                </a:xfrm>
                <a:custGeom>
                  <a:avLst/>
                  <a:gdLst>
                    <a:gd name="T0" fmla="*/ 3 w 4"/>
                    <a:gd name="T1" fmla="*/ 0 h 10"/>
                    <a:gd name="T2" fmla="*/ 0 w 4"/>
                    <a:gd name="T3" fmla="*/ 5 h 10"/>
                    <a:gd name="T4" fmla="*/ 2 w 4"/>
                    <a:gd name="T5" fmla="*/ 9 h 10"/>
                    <a:gd name="T6" fmla="*/ 4 w 4"/>
                    <a:gd name="T7" fmla="*/ 5 h 10"/>
                    <a:gd name="T8" fmla="*/ 3 w 4"/>
                    <a:gd name="T9" fmla="*/ 0 h 10"/>
                  </a:gdLst>
                  <a:ahLst/>
                  <a:cxnLst>
                    <a:cxn ang="0">
                      <a:pos x="T0" y="T1"/>
                    </a:cxn>
                    <a:cxn ang="0">
                      <a:pos x="T2" y="T3"/>
                    </a:cxn>
                    <a:cxn ang="0">
                      <a:pos x="T4" y="T5"/>
                    </a:cxn>
                    <a:cxn ang="0">
                      <a:pos x="T6" y="T7"/>
                    </a:cxn>
                    <a:cxn ang="0">
                      <a:pos x="T8" y="T9"/>
                    </a:cxn>
                  </a:cxnLst>
                  <a:rect l="0" t="0" r="r" b="b"/>
                  <a:pathLst>
                    <a:path w="4" h="10">
                      <a:moveTo>
                        <a:pt x="3" y="0"/>
                      </a:moveTo>
                      <a:cubicBezTo>
                        <a:pt x="2" y="0"/>
                        <a:pt x="1" y="2"/>
                        <a:pt x="0" y="5"/>
                      </a:cubicBezTo>
                      <a:cubicBezTo>
                        <a:pt x="0" y="7"/>
                        <a:pt x="1" y="9"/>
                        <a:pt x="2" y="9"/>
                      </a:cubicBezTo>
                      <a:cubicBezTo>
                        <a:pt x="3" y="10"/>
                        <a:pt x="4" y="7"/>
                        <a:pt x="4" y="5"/>
                      </a:cubicBezTo>
                      <a:cubicBezTo>
                        <a:pt x="4" y="2"/>
                        <a:pt x="3" y="0"/>
                        <a:pt x="3" y="0"/>
                      </a:cubicBezTo>
                      <a:close/>
                    </a:path>
                  </a:pathLst>
                </a:custGeom>
                <a:solidFill>
                  <a:srgbClr val="E544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073" name="Freeform 284">
                  <a:extLst>
                    <a:ext uri="{FF2B5EF4-FFF2-40B4-BE49-F238E27FC236}">
                      <a16:creationId xmlns:a16="http://schemas.microsoft.com/office/drawing/2014/main" id="{9DBACC5F-D148-7098-F332-153F831F5F3D}"/>
                    </a:ext>
                  </a:extLst>
                </p:cNvPr>
                <p:cNvSpPr>
                  <a:spLocks/>
                </p:cNvSpPr>
                <p:nvPr/>
              </p:nvSpPr>
              <p:spPr bwMode="auto">
                <a:xfrm>
                  <a:off x="5859" y="3608"/>
                  <a:ext cx="8" cy="18"/>
                </a:xfrm>
                <a:custGeom>
                  <a:avLst/>
                  <a:gdLst>
                    <a:gd name="T0" fmla="*/ 2 w 4"/>
                    <a:gd name="T1" fmla="*/ 0 h 9"/>
                    <a:gd name="T2" fmla="*/ 0 w 4"/>
                    <a:gd name="T3" fmla="*/ 5 h 9"/>
                    <a:gd name="T4" fmla="*/ 2 w 4"/>
                    <a:gd name="T5" fmla="*/ 9 h 9"/>
                    <a:gd name="T6" fmla="*/ 4 w 4"/>
                    <a:gd name="T7" fmla="*/ 5 h 9"/>
                    <a:gd name="T8" fmla="*/ 2 w 4"/>
                    <a:gd name="T9" fmla="*/ 0 h 9"/>
                  </a:gdLst>
                  <a:ahLst/>
                  <a:cxnLst>
                    <a:cxn ang="0">
                      <a:pos x="T0" y="T1"/>
                    </a:cxn>
                    <a:cxn ang="0">
                      <a:pos x="T2" y="T3"/>
                    </a:cxn>
                    <a:cxn ang="0">
                      <a:pos x="T4" y="T5"/>
                    </a:cxn>
                    <a:cxn ang="0">
                      <a:pos x="T6" y="T7"/>
                    </a:cxn>
                    <a:cxn ang="0">
                      <a:pos x="T8" y="T9"/>
                    </a:cxn>
                  </a:cxnLst>
                  <a:rect l="0" t="0" r="r" b="b"/>
                  <a:pathLst>
                    <a:path w="4" h="9">
                      <a:moveTo>
                        <a:pt x="2" y="0"/>
                      </a:moveTo>
                      <a:cubicBezTo>
                        <a:pt x="2" y="0"/>
                        <a:pt x="1" y="2"/>
                        <a:pt x="0" y="5"/>
                      </a:cubicBezTo>
                      <a:cubicBezTo>
                        <a:pt x="0" y="7"/>
                        <a:pt x="1" y="9"/>
                        <a:pt x="2" y="9"/>
                      </a:cubicBezTo>
                      <a:cubicBezTo>
                        <a:pt x="3" y="9"/>
                        <a:pt x="4" y="7"/>
                        <a:pt x="4" y="5"/>
                      </a:cubicBezTo>
                      <a:cubicBezTo>
                        <a:pt x="4" y="2"/>
                        <a:pt x="3" y="0"/>
                        <a:pt x="2" y="0"/>
                      </a:cubicBezTo>
                      <a:close/>
                    </a:path>
                  </a:pathLst>
                </a:custGeom>
                <a:solidFill>
                  <a:srgbClr val="E6456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074" name="Freeform 285">
                  <a:extLst>
                    <a:ext uri="{FF2B5EF4-FFF2-40B4-BE49-F238E27FC236}">
                      <a16:creationId xmlns:a16="http://schemas.microsoft.com/office/drawing/2014/main" id="{B5954768-4580-C319-CF2F-D0F638AAC998}"/>
                    </a:ext>
                  </a:extLst>
                </p:cNvPr>
                <p:cNvSpPr>
                  <a:spLocks/>
                </p:cNvSpPr>
                <p:nvPr/>
              </p:nvSpPr>
              <p:spPr bwMode="auto">
                <a:xfrm>
                  <a:off x="5859" y="3608"/>
                  <a:ext cx="8" cy="18"/>
                </a:xfrm>
                <a:custGeom>
                  <a:avLst/>
                  <a:gdLst>
                    <a:gd name="T0" fmla="*/ 2 w 4"/>
                    <a:gd name="T1" fmla="*/ 0 h 9"/>
                    <a:gd name="T2" fmla="*/ 0 w 4"/>
                    <a:gd name="T3" fmla="*/ 5 h 9"/>
                    <a:gd name="T4" fmla="*/ 2 w 4"/>
                    <a:gd name="T5" fmla="*/ 9 h 9"/>
                    <a:gd name="T6" fmla="*/ 4 w 4"/>
                    <a:gd name="T7" fmla="*/ 5 h 9"/>
                    <a:gd name="T8" fmla="*/ 2 w 4"/>
                    <a:gd name="T9" fmla="*/ 0 h 9"/>
                  </a:gdLst>
                  <a:ahLst/>
                  <a:cxnLst>
                    <a:cxn ang="0">
                      <a:pos x="T0" y="T1"/>
                    </a:cxn>
                    <a:cxn ang="0">
                      <a:pos x="T2" y="T3"/>
                    </a:cxn>
                    <a:cxn ang="0">
                      <a:pos x="T4" y="T5"/>
                    </a:cxn>
                    <a:cxn ang="0">
                      <a:pos x="T6" y="T7"/>
                    </a:cxn>
                    <a:cxn ang="0">
                      <a:pos x="T8" y="T9"/>
                    </a:cxn>
                  </a:cxnLst>
                  <a:rect l="0" t="0" r="r" b="b"/>
                  <a:pathLst>
                    <a:path w="4" h="9">
                      <a:moveTo>
                        <a:pt x="2" y="0"/>
                      </a:moveTo>
                      <a:cubicBezTo>
                        <a:pt x="2" y="0"/>
                        <a:pt x="1" y="2"/>
                        <a:pt x="0" y="5"/>
                      </a:cubicBezTo>
                      <a:cubicBezTo>
                        <a:pt x="0" y="7"/>
                        <a:pt x="1" y="9"/>
                        <a:pt x="2" y="9"/>
                      </a:cubicBezTo>
                      <a:cubicBezTo>
                        <a:pt x="3" y="9"/>
                        <a:pt x="4" y="7"/>
                        <a:pt x="4" y="5"/>
                      </a:cubicBezTo>
                      <a:cubicBezTo>
                        <a:pt x="4" y="2"/>
                        <a:pt x="3" y="0"/>
                        <a:pt x="2" y="0"/>
                      </a:cubicBezTo>
                      <a:close/>
                    </a:path>
                  </a:pathLst>
                </a:custGeom>
                <a:solidFill>
                  <a:srgbClr val="E746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075" name="Freeform 286">
                  <a:extLst>
                    <a:ext uri="{FF2B5EF4-FFF2-40B4-BE49-F238E27FC236}">
                      <a16:creationId xmlns:a16="http://schemas.microsoft.com/office/drawing/2014/main" id="{28B76C5A-45A5-72BC-CC98-2FE0CC89F62B}"/>
                    </a:ext>
                  </a:extLst>
                </p:cNvPr>
                <p:cNvSpPr>
                  <a:spLocks/>
                </p:cNvSpPr>
                <p:nvPr/>
              </p:nvSpPr>
              <p:spPr bwMode="auto">
                <a:xfrm>
                  <a:off x="5859" y="3608"/>
                  <a:ext cx="8" cy="18"/>
                </a:xfrm>
                <a:custGeom>
                  <a:avLst/>
                  <a:gdLst>
                    <a:gd name="T0" fmla="*/ 2 w 4"/>
                    <a:gd name="T1" fmla="*/ 0 h 9"/>
                    <a:gd name="T2" fmla="*/ 1 w 4"/>
                    <a:gd name="T3" fmla="*/ 5 h 9"/>
                    <a:gd name="T4" fmla="*/ 2 w 4"/>
                    <a:gd name="T5" fmla="*/ 9 h 9"/>
                    <a:gd name="T6" fmla="*/ 4 w 4"/>
                    <a:gd name="T7" fmla="*/ 5 h 9"/>
                    <a:gd name="T8" fmla="*/ 2 w 4"/>
                    <a:gd name="T9" fmla="*/ 0 h 9"/>
                  </a:gdLst>
                  <a:ahLst/>
                  <a:cxnLst>
                    <a:cxn ang="0">
                      <a:pos x="T0" y="T1"/>
                    </a:cxn>
                    <a:cxn ang="0">
                      <a:pos x="T2" y="T3"/>
                    </a:cxn>
                    <a:cxn ang="0">
                      <a:pos x="T4" y="T5"/>
                    </a:cxn>
                    <a:cxn ang="0">
                      <a:pos x="T6" y="T7"/>
                    </a:cxn>
                    <a:cxn ang="0">
                      <a:pos x="T8" y="T9"/>
                    </a:cxn>
                  </a:cxnLst>
                  <a:rect l="0" t="0" r="r" b="b"/>
                  <a:pathLst>
                    <a:path w="4" h="9">
                      <a:moveTo>
                        <a:pt x="2" y="0"/>
                      </a:moveTo>
                      <a:cubicBezTo>
                        <a:pt x="2" y="0"/>
                        <a:pt x="1" y="2"/>
                        <a:pt x="1" y="5"/>
                      </a:cubicBezTo>
                      <a:cubicBezTo>
                        <a:pt x="0" y="7"/>
                        <a:pt x="1" y="9"/>
                        <a:pt x="2" y="9"/>
                      </a:cubicBezTo>
                      <a:cubicBezTo>
                        <a:pt x="3" y="9"/>
                        <a:pt x="4" y="7"/>
                        <a:pt x="4" y="5"/>
                      </a:cubicBezTo>
                      <a:cubicBezTo>
                        <a:pt x="4" y="2"/>
                        <a:pt x="3" y="1"/>
                        <a:pt x="2" y="0"/>
                      </a:cubicBezTo>
                      <a:close/>
                    </a:path>
                  </a:pathLst>
                </a:custGeom>
                <a:solidFill>
                  <a:srgbClr val="E847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076" name="Freeform 287">
                  <a:extLst>
                    <a:ext uri="{FF2B5EF4-FFF2-40B4-BE49-F238E27FC236}">
                      <a16:creationId xmlns:a16="http://schemas.microsoft.com/office/drawing/2014/main" id="{E81F1221-DD8C-8813-9609-A8FBE423CF7D}"/>
                    </a:ext>
                  </a:extLst>
                </p:cNvPr>
                <p:cNvSpPr>
                  <a:spLocks/>
                </p:cNvSpPr>
                <p:nvPr/>
              </p:nvSpPr>
              <p:spPr bwMode="auto">
                <a:xfrm>
                  <a:off x="5859" y="3610"/>
                  <a:ext cx="8" cy="16"/>
                </a:xfrm>
                <a:custGeom>
                  <a:avLst/>
                  <a:gdLst>
                    <a:gd name="T0" fmla="*/ 2 w 4"/>
                    <a:gd name="T1" fmla="*/ 0 h 8"/>
                    <a:gd name="T2" fmla="*/ 1 w 4"/>
                    <a:gd name="T3" fmla="*/ 4 h 8"/>
                    <a:gd name="T4" fmla="*/ 2 w 4"/>
                    <a:gd name="T5" fmla="*/ 8 h 8"/>
                    <a:gd name="T6" fmla="*/ 4 w 4"/>
                    <a:gd name="T7" fmla="*/ 4 h 8"/>
                    <a:gd name="T8" fmla="*/ 2 w 4"/>
                    <a:gd name="T9" fmla="*/ 0 h 8"/>
                  </a:gdLst>
                  <a:ahLst/>
                  <a:cxnLst>
                    <a:cxn ang="0">
                      <a:pos x="T0" y="T1"/>
                    </a:cxn>
                    <a:cxn ang="0">
                      <a:pos x="T2" y="T3"/>
                    </a:cxn>
                    <a:cxn ang="0">
                      <a:pos x="T4" y="T5"/>
                    </a:cxn>
                    <a:cxn ang="0">
                      <a:pos x="T6" y="T7"/>
                    </a:cxn>
                    <a:cxn ang="0">
                      <a:pos x="T8" y="T9"/>
                    </a:cxn>
                  </a:cxnLst>
                  <a:rect l="0" t="0" r="r" b="b"/>
                  <a:pathLst>
                    <a:path w="4" h="8">
                      <a:moveTo>
                        <a:pt x="2" y="0"/>
                      </a:moveTo>
                      <a:cubicBezTo>
                        <a:pt x="2" y="0"/>
                        <a:pt x="1" y="1"/>
                        <a:pt x="1" y="4"/>
                      </a:cubicBezTo>
                      <a:cubicBezTo>
                        <a:pt x="0" y="6"/>
                        <a:pt x="1" y="8"/>
                        <a:pt x="2" y="8"/>
                      </a:cubicBezTo>
                      <a:cubicBezTo>
                        <a:pt x="3" y="8"/>
                        <a:pt x="3" y="6"/>
                        <a:pt x="4" y="4"/>
                      </a:cubicBezTo>
                      <a:cubicBezTo>
                        <a:pt x="4" y="2"/>
                        <a:pt x="3" y="0"/>
                        <a:pt x="2" y="0"/>
                      </a:cubicBezTo>
                      <a:close/>
                    </a:path>
                  </a:pathLst>
                </a:custGeom>
                <a:solidFill>
                  <a:srgbClr val="E948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077" name="Freeform 288">
                  <a:extLst>
                    <a:ext uri="{FF2B5EF4-FFF2-40B4-BE49-F238E27FC236}">
                      <a16:creationId xmlns:a16="http://schemas.microsoft.com/office/drawing/2014/main" id="{CE93AB8C-3182-FBA6-69B1-3386D69D68CB}"/>
                    </a:ext>
                  </a:extLst>
                </p:cNvPr>
                <p:cNvSpPr>
                  <a:spLocks/>
                </p:cNvSpPr>
                <p:nvPr/>
              </p:nvSpPr>
              <p:spPr bwMode="auto">
                <a:xfrm>
                  <a:off x="5861" y="3610"/>
                  <a:ext cx="6" cy="16"/>
                </a:xfrm>
                <a:custGeom>
                  <a:avLst/>
                  <a:gdLst>
                    <a:gd name="T0" fmla="*/ 1 w 3"/>
                    <a:gd name="T1" fmla="*/ 0 h 8"/>
                    <a:gd name="T2" fmla="*/ 0 w 3"/>
                    <a:gd name="T3" fmla="*/ 4 h 8"/>
                    <a:gd name="T4" fmla="*/ 1 w 3"/>
                    <a:gd name="T5" fmla="*/ 7 h 8"/>
                    <a:gd name="T6" fmla="*/ 3 w 3"/>
                    <a:gd name="T7" fmla="*/ 4 h 8"/>
                    <a:gd name="T8" fmla="*/ 1 w 3"/>
                    <a:gd name="T9" fmla="*/ 0 h 8"/>
                  </a:gdLst>
                  <a:ahLst/>
                  <a:cxnLst>
                    <a:cxn ang="0">
                      <a:pos x="T0" y="T1"/>
                    </a:cxn>
                    <a:cxn ang="0">
                      <a:pos x="T2" y="T3"/>
                    </a:cxn>
                    <a:cxn ang="0">
                      <a:pos x="T4" y="T5"/>
                    </a:cxn>
                    <a:cxn ang="0">
                      <a:pos x="T6" y="T7"/>
                    </a:cxn>
                    <a:cxn ang="0">
                      <a:pos x="T8" y="T9"/>
                    </a:cxn>
                  </a:cxnLst>
                  <a:rect l="0" t="0" r="r" b="b"/>
                  <a:pathLst>
                    <a:path w="3" h="8">
                      <a:moveTo>
                        <a:pt x="1" y="0"/>
                      </a:moveTo>
                      <a:cubicBezTo>
                        <a:pt x="1" y="0"/>
                        <a:pt x="0" y="1"/>
                        <a:pt x="0" y="4"/>
                      </a:cubicBezTo>
                      <a:cubicBezTo>
                        <a:pt x="0" y="6"/>
                        <a:pt x="0" y="7"/>
                        <a:pt x="1" y="7"/>
                      </a:cubicBezTo>
                      <a:cubicBezTo>
                        <a:pt x="2" y="8"/>
                        <a:pt x="2" y="6"/>
                        <a:pt x="3" y="4"/>
                      </a:cubicBezTo>
                      <a:cubicBezTo>
                        <a:pt x="3" y="2"/>
                        <a:pt x="2" y="0"/>
                        <a:pt x="1" y="0"/>
                      </a:cubicBezTo>
                      <a:close/>
                    </a:path>
                  </a:pathLst>
                </a:custGeom>
                <a:solidFill>
                  <a:srgbClr val="EA496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078" name="Freeform 289">
                  <a:extLst>
                    <a:ext uri="{FF2B5EF4-FFF2-40B4-BE49-F238E27FC236}">
                      <a16:creationId xmlns:a16="http://schemas.microsoft.com/office/drawing/2014/main" id="{039F740E-0137-C58A-60F0-EE1B2C9CF784}"/>
                    </a:ext>
                  </a:extLst>
                </p:cNvPr>
                <p:cNvSpPr>
                  <a:spLocks/>
                </p:cNvSpPr>
                <p:nvPr/>
              </p:nvSpPr>
              <p:spPr bwMode="auto">
                <a:xfrm>
                  <a:off x="5861" y="3610"/>
                  <a:ext cx="6" cy="14"/>
                </a:xfrm>
                <a:custGeom>
                  <a:avLst/>
                  <a:gdLst>
                    <a:gd name="T0" fmla="*/ 1 w 3"/>
                    <a:gd name="T1" fmla="*/ 0 h 7"/>
                    <a:gd name="T2" fmla="*/ 0 w 3"/>
                    <a:gd name="T3" fmla="*/ 4 h 7"/>
                    <a:gd name="T4" fmla="*/ 1 w 3"/>
                    <a:gd name="T5" fmla="*/ 7 h 7"/>
                    <a:gd name="T6" fmla="*/ 2 w 3"/>
                    <a:gd name="T7" fmla="*/ 4 h 7"/>
                    <a:gd name="T8" fmla="*/ 1 w 3"/>
                    <a:gd name="T9" fmla="*/ 0 h 7"/>
                  </a:gdLst>
                  <a:ahLst/>
                  <a:cxnLst>
                    <a:cxn ang="0">
                      <a:pos x="T0" y="T1"/>
                    </a:cxn>
                    <a:cxn ang="0">
                      <a:pos x="T2" y="T3"/>
                    </a:cxn>
                    <a:cxn ang="0">
                      <a:pos x="T4" y="T5"/>
                    </a:cxn>
                    <a:cxn ang="0">
                      <a:pos x="T6" y="T7"/>
                    </a:cxn>
                    <a:cxn ang="0">
                      <a:pos x="T8" y="T9"/>
                    </a:cxn>
                  </a:cxnLst>
                  <a:rect l="0" t="0" r="r" b="b"/>
                  <a:pathLst>
                    <a:path w="3" h="7">
                      <a:moveTo>
                        <a:pt x="1" y="0"/>
                      </a:moveTo>
                      <a:cubicBezTo>
                        <a:pt x="1" y="0"/>
                        <a:pt x="0" y="2"/>
                        <a:pt x="0" y="4"/>
                      </a:cubicBezTo>
                      <a:cubicBezTo>
                        <a:pt x="0" y="6"/>
                        <a:pt x="0" y="7"/>
                        <a:pt x="1" y="7"/>
                      </a:cubicBezTo>
                      <a:cubicBezTo>
                        <a:pt x="2" y="7"/>
                        <a:pt x="2" y="6"/>
                        <a:pt x="2" y="4"/>
                      </a:cubicBezTo>
                      <a:cubicBezTo>
                        <a:pt x="3" y="2"/>
                        <a:pt x="2" y="0"/>
                        <a:pt x="1" y="0"/>
                      </a:cubicBezTo>
                      <a:close/>
                    </a:path>
                  </a:pathLst>
                </a:custGeom>
                <a:solidFill>
                  <a:srgbClr val="EB4A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079" name="Freeform 290">
                  <a:extLst>
                    <a:ext uri="{FF2B5EF4-FFF2-40B4-BE49-F238E27FC236}">
                      <a16:creationId xmlns:a16="http://schemas.microsoft.com/office/drawing/2014/main" id="{561521D0-770C-1594-A34C-65D32AB992B8}"/>
                    </a:ext>
                  </a:extLst>
                </p:cNvPr>
                <p:cNvSpPr>
                  <a:spLocks/>
                </p:cNvSpPr>
                <p:nvPr/>
              </p:nvSpPr>
              <p:spPr bwMode="auto">
                <a:xfrm>
                  <a:off x="5861" y="3610"/>
                  <a:ext cx="6" cy="14"/>
                </a:xfrm>
                <a:custGeom>
                  <a:avLst/>
                  <a:gdLst>
                    <a:gd name="T0" fmla="*/ 1 w 3"/>
                    <a:gd name="T1" fmla="*/ 0 h 7"/>
                    <a:gd name="T2" fmla="*/ 0 w 3"/>
                    <a:gd name="T3" fmla="*/ 4 h 7"/>
                    <a:gd name="T4" fmla="*/ 1 w 3"/>
                    <a:gd name="T5" fmla="*/ 7 h 7"/>
                    <a:gd name="T6" fmla="*/ 2 w 3"/>
                    <a:gd name="T7" fmla="*/ 4 h 7"/>
                    <a:gd name="T8" fmla="*/ 1 w 3"/>
                    <a:gd name="T9" fmla="*/ 0 h 7"/>
                  </a:gdLst>
                  <a:ahLst/>
                  <a:cxnLst>
                    <a:cxn ang="0">
                      <a:pos x="T0" y="T1"/>
                    </a:cxn>
                    <a:cxn ang="0">
                      <a:pos x="T2" y="T3"/>
                    </a:cxn>
                    <a:cxn ang="0">
                      <a:pos x="T4" y="T5"/>
                    </a:cxn>
                    <a:cxn ang="0">
                      <a:pos x="T6" y="T7"/>
                    </a:cxn>
                    <a:cxn ang="0">
                      <a:pos x="T8" y="T9"/>
                    </a:cxn>
                  </a:cxnLst>
                  <a:rect l="0" t="0" r="r" b="b"/>
                  <a:pathLst>
                    <a:path w="3" h="7">
                      <a:moveTo>
                        <a:pt x="1" y="0"/>
                      </a:moveTo>
                      <a:cubicBezTo>
                        <a:pt x="1" y="0"/>
                        <a:pt x="0" y="2"/>
                        <a:pt x="0" y="4"/>
                      </a:cubicBezTo>
                      <a:cubicBezTo>
                        <a:pt x="0" y="5"/>
                        <a:pt x="0" y="7"/>
                        <a:pt x="1" y="7"/>
                      </a:cubicBezTo>
                      <a:cubicBezTo>
                        <a:pt x="2" y="7"/>
                        <a:pt x="2" y="6"/>
                        <a:pt x="2" y="4"/>
                      </a:cubicBezTo>
                      <a:cubicBezTo>
                        <a:pt x="3" y="2"/>
                        <a:pt x="2" y="0"/>
                        <a:pt x="1" y="0"/>
                      </a:cubicBezTo>
                      <a:close/>
                    </a:path>
                  </a:pathLst>
                </a:custGeom>
                <a:solidFill>
                  <a:srgbClr val="EC4B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080" name="Freeform 291">
                  <a:extLst>
                    <a:ext uri="{FF2B5EF4-FFF2-40B4-BE49-F238E27FC236}">
                      <a16:creationId xmlns:a16="http://schemas.microsoft.com/office/drawing/2014/main" id="{62BCAEC4-362C-B9E7-90B7-EE03204F017E}"/>
                    </a:ext>
                  </a:extLst>
                </p:cNvPr>
                <p:cNvSpPr>
                  <a:spLocks/>
                </p:cNvSpPr>
                <p:nvPr/>
              </p:nvSpPr>
              <p:spPr bwMode="auto">
                <a:xfrm>
                  <a:off x="5861" y="3610"/>
                  <a:ext cx="4" cy="14"/>
                </a:xfrm>
                <a:custGeom>
                  <a:avLst/>
                  <a:gdLst>
                    <a:gd name="T0" fmla="*/ 1 w 2"/>
                    <a:gd name="T1" fmla="*/ 0 h 7"/>
                    <a:gd name="T2" fmla="*/ 0 w 2"/>
                    <a:gd name="T3" fmla="*/ 4 h 7"/>
                    <a:gd name="T4" fmla="*/ 1 w 2"/>
                    <a:gd name="T5" fmla="*/ 7 h 7"/>
                    <a:gd name="T6" fmla="*/ 2 w 2"/>
                    <a:gd name="T7" fmla="*/ 4 h 7"/>
                    <a:gd name="T8" fmla="*/ 1 w 2"/>
                    <a:gd name="T9" fmla="*/ 0 h 7"/>
                  </a:gdLst>
                  <a:ahLst/>
                  <a:cxnLst>
                    <a:cxn ang="0">
                      <a:pos x="T0" y="T1"/>
                    </a:cxn>
                    <a:cxn ang="0">
                      <a:pos x="T2" y="T3"/>
                    </a:cxn>
                    <a:cxn ang="0">
                      <a:pos x="T4" y="T5"/>
                    </a:cxn>
                    <a:cxn ang="0">
                      <a:pos x="T6" y="T7"/>
                    </a:cxn>
                    <a:cxn ang="0">
                      <a:pos x="T8" y="T9"/>
                    </a:cxn>
                  </a:cxnLst>
                  <a:rect l="0" t="0" r="r" b="b"/>
                  <a:pathLst>
                    <a:path w="2" h="7">
                      <a:moveTo>
                        <a:pt x="1" y="0"/>
                      </a:moveTo>
                      <a:cubicBezTo>
                        <a:pt x="1" y="0"/>
                        <a:pt x="0" y="2"/>
                        <a:pt x="0" y="4"/>
                      </a:cubicBezTo>
                      <a:cubicBezTo>
                        <a:pt x="0" y="5"/>
                        <a:pt x="0" y="7"/>
                        <a:pt x="1" y="7"/>
                      </a:cubicBezTo>
                      <a:cubicBezTo>
                        <a:pt x="2" y="7"/>
                        <a:pt x="2" y="6"/>
                        <a:pt x="2" y="4"/>
                      </a:cubicBezTo>
                      <a:cubicBezTo>
                        <a:pt x="2" y="2"/>
                        <a:pt x="2" y="0"/>
                        <a:pt x="1" y="0"/>
                      </a:cubicBezTo>
                      <a:close/>
                    </a:path>
                  </a:pathLst>
                </a:custGeom>
                <a:solidFill>
                  <a:srgbClr val="ED4C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081" name="Freeform 292">
                  <a:extLst>
                    <a:ext uri="{FF2B5EF4-FFF2-40B4-BE49-F238E27FC236}">
                      <a16:creationId xmlns:a16="http://schemas.microsoft.com/office/drawing/2014/main" id="{EB9FFC36-838F-192F-130B-115AFA0BC549}"/>
                    </a:ext>
                  </a:extLst>
                </p:cNvPr>
                <p:cNvSpPr>
                  <a:spLocks/>
                </p:cNvSpPr>
                <p:nvPr/>
              </p:nvSpPr>
              <p:spPr bwMode="auto">
                <a:xfrm>
                  <a:off x="5861" y="3612"/>
                  <a:ext cx="4" cy="12"/>
                </a:xfrm>
                <a:custGeom>
                  <a:avLst/>
                  <a:gdLst>
                    <a:gd name="T0" fmla="*/ 1 w 2"/>
                    <a:gd name="T1" fmla="*/ 0 h 6"/>
                    <a:gd name="T2" fmla="*/ 0 w 2"/>
                    <a:gd name="T3" fmla="*/ 3 h 6"/>
                    <a:gd name="T4" fmla="*/ 1 w 2"/>
                    <a:gd name="T5" fmla="*/ 6 h 6"/>
                    <a:gd name="T6" fmla="*/ 2 w 2"/>
                    <a:gd name="T7" fmla="*/ 3 h 6"/>
                    <a:gd name="T8" fmla="*/ 1 w 2"/>
                    <a:gd name="T9" fmla="*/ 0 h 6"/>
                  </a:gdLst>
                  <a:ahLst/>
                  <a:cxnLst>
                    <a:cxn ang="0">
                      <a:pos x="T0" y="T1"/>
                    </a:cxn>
                    <a:cxn ang="0">
                      <a:pos x="T2" y="T3"/>
                    </a:cxn>
                    <a:cxn ang="0">
                      <a:pos x="T4" y="T5"/>
                    </a:cxn>
                    <a:cxn ang="0">
                      <a:pos x="T6" y="T7"/>
                    </a:cxn>
                    <a:cxn ang="0">
                      <a:pos x="T8" y="T9"/>
                    </a:cxn>
                  </a:cxnLst>
                  <a:rect l="0" t="0" r="r" b="b"/>
                  <a:pathLst>
                    <a:path w="2" h="6">
                      <a:moveTo>
                        <a:pt x="1" y="0"/>
                      </a:moveTo>
                      <a:cubicBezTo>
                        <a:pt x="1" y="0"/>
                        <a:pt x="0" y="1"/>
                        <a:pt x="0" y="3"/>
                      </a:cubicBezTo>
                      <a:cubicBezTo>
                        <a:pt x="0" y="4"/>
                        <a:pt x="0" y="6"/>
                        <a:pt x="1" y="6"/>
                      </a:cubicBezTo>
                      <a:cubicBezTo>
                        <a:pt x="2" y="6"/>
                        <a:pt x="2" y="4"/>
                        <a:pt x="2" y="3"/>
                      </a:cubicBezTo>
                      <a:cubicBezTo>
                        <a:pt x="2" y="1"/>
                        <a:pt x="2" y="0"/>
                        <a:pt x="1" y="0"/>
                      </a:cubicBezTo>
                      <a:close/>
                    </a:path>
                  </a:pathLst>
                </a:custGeom>
                <a:solidFill>
                  <a:srgbClr val="ED4D6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082" name="Freeform 293">
                  <a:extLst>
                    <a:ext uri="{FF2B5EF4-FFF2-40B4-BE49-F238E27FC236}">
                      <a16:creationId xmlns:a16="http://schemas.microsoft.com/office/drawing/2014/main" id="{F11057FA-5785-A9A9-B819-4DAE59AFCE16}"/>
                    </a:ext>
                  </a:extLst>
                </p:cNvPr>
                <p:cNvSpPr>
                  <a:spLocks/>
                </p:cNvSpPr>
                <p:nvPr/>
              </p:nvSpPr>
              <p:spPr bwMode="auto">
                <a:xfrm>
                  <a:off x="5861" y="3612"/>
                  <a:ext cx="4" cy="12"/>
                </a:xfrm>
                <a:custGeom>
                  <a:avLst/>
                  <a:gdLst>
                    <a:gd name="T0" fmla="*/ 1 w 2"/>
                    <a:gd name="T1" fmla="*/ 0 h 6"/>
                    <a:gd name="T2" fmla="*/ 0 w 2"/>
                    <a:gd name="T3" fmla="*/ 3 h 6"/>
                    <a:gd name="T4" fmla="*/ 1 w 2"/>
                    <a:gd name="T5" fmla="*/ 6 h 6"/>
                    <a:gd name="T6" fmla="*/ 2 w 2"/>
                    <a:gd name="T7" fmla="*/ 3 h 6"/>
                    <a:gd name="T8" fmla="*/ 1 w 2"/>
                    <a:gd name="T9" fmla="*/ 0 h 6"/>
                  </a:gdLst>
                  <a:ahLst/>
                  <a:cxnLst>
                    <a:cxn ang="0">
                      <a:pos x="T0" y="T1"/>
                    </a:cxn>
                    <a:cxn ang="0">
                      <a:pos x="T2" y="T3"/>
                    </a:cxn>
                    <a:cxn ang="0">
                      <a:pos x="T4" y="T5"/>
                    </a:cxn>
                    <a:cxn ang="0">
                      <a:pos x="T6" y="T7"/>
                    </a:cxn>
                    <a:cxn ang="0">
                      <a:pos x="T8" y="T9"/>
                    </a:cxn>
                  </a:cxnLst>
                  <a:rect l="0" t="0" r="r" b="b"/>
                  <a:pathLst>
                    <a:path w="2" h="6">
                      <a:moveTo>
                        <a:pt x="1" y="0"/>
                      </a:moveTo>
                      <a:cubicBezTo>
                        <a:pt x="1" y="0"/>
                        <a:pt x="0" y="1"/>
                        <a:pt x="0" y="3"/>
                      </a:cubicBezTo>
                      <a:cubicBezTo>
                        <a:pt x="0" y="4"/>
                        <a:pt x="0" y="5"/>
                        <a:pt x="1" y="6"/>
                      </a:cubicBezTo>
                      <a:cubicBezTo>
                        <a:pt x="1" y="6"/>
                        <a:pt x="2" y="4"/>
                        <a:pt x="2" y="3"/>
                      </a:cubicBezTo>
                      <a:cubicBezTo>
                        <a:pt x="2" y="1"/>
                        <a:pt x="2" y="0"/>
                        <a:pt x="1" y="0"/>
                      </a:cubicBezTo>
                      <a:close/>
                    </a:path>
                  </a:pathLst>
                </a:custGeom>
                <a:solidFill>
                  <a:srgbClr val="EE4E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083" name="Freeform 294">
                  <a:extLst>
                    <a:ext uri="{FF2B5EF4-FFF2-40B4-BE49-F238E27FC236}">
                      <a16:creationId xmlns:a16="http://schemas.microsoft.com/office/drawing/2014/main" id="{9603BDF1-8E69-DD37-404C-D9FA4515C73D}"/>
                    </a:ext>
                  </a:extLst>
                </p:cNvPr>
                <p:cNvSpPr>
                  <a:spLocks/>
                </p:cNvSpPr>
                <p:nvPr/>
              </p:nvSpPr>
              <p:spPr bwMode="auto">
                <a:xfrm>
                  <a:off x="5861" y="3612"/>
                  <a:ext cx="4" cy="10"/>
                </a:xfrm>
                <a:custGeom>
                  <a:avLst/>
                  <a:gdLst>
                    <a:gd name="T0" fmla="*/ 1 w 2"/>
                    <a:gd name="T1" fmla="*/ 0 h 5"/>
                    <a:gd name="T2" fmla="*/ 0 w 2"/>
                    <a:gd name="T3" fmla="*/ 3 h 5"/>
                    <a:gd name="T4" fmla="*/ 1 w 2"/>
                    <a:gd name="T5" fmla="*/ 5 h 5"/>
                    <a:gd name="T6" fmla="*/ 2 w 2"/>
                    <a:gd name="T7" fmla="*/ 3 h 5"/>
                    <a:gd name="T8" fmla="*/ 1 w 2"/>
                    <a:gd name="T9" fmla="*/ 0 h 5"/>
                  </a:gdLst>
                  <a:ahLst/>
                  <a:cxnLst>
                    <a:cxn ang="0">
                      <a:pos x="T0" y="T1"/>
                    </a:cxn>
                    <a:cxn ang="0">
                      <a:pos x="T2" y="T3"/>
                    </a:cxn>
                    <a:cxn ang="0">
                      <a:pos x="T4" y="T5"/>
                    </a:cxn>
                    <a:cxn ang="0">
                      <a:pos x="T6" y="T7"/>
                    </a:cxn>
                    <a:cxn ang="0">
                      <a:pos x="T8" y="T9"/>
                    </a:cxn>
                  </a:cxnLst>
                  <a:rect l="0" t="0" r="r" b="b"/>
                  <a:pathLst>
                    <a:path w="2" h="5">
                      <a:moveTo>
                        <a:pt x="1" y="0"/>
                      </a:moveTo>
                      <a:cubicBezTo>
                        <a:pt x="1" y="0"/>
                        <a:pt x="0" y="1"/>
                        <a:pt x="0" y="3"/>
                      </a:cubicBezTo>
                      <a:cubicBezTo>
                        <a:pt x="0" y="4"/>
                        <a:pt x="0" y="5"/>
                        <a:pt x="1" y="5"/>
                      </a:cubicBezTo>
                      <a:cubicBezTo>
                        <a:pt x="1" y="5"/>
                        <a:pt x="2" y="4"/>
                        <a:pt x="2" y="3"/>
                      </a:cubicBezTo>
                      <a:cubicBezTo>
                        <a:pt x="2" y="1"/>
                        <a:pt x="2" y="0"/>
                        <a:pt x="1" y="0"/>
                      </a:cubicBezTo>
                      <a:close/>
                    </a:path>
                  </a:pathLst>
                </a:custGeom>
                <a:solidFill>
                  <a:srgbClr val="EF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084" name="Freeform 295">
                  <a:extLst>
                    <a:ext uri="{FF2B5EF4-FFF2-40B4-BE49-F238E27FC236}">
                      <a16:creationId xmlns:a16="http://schemas.microsoft.com/office/drawing/2014/main" id="{8D3ED556-2532-D16E-63F6-AF01DFAC9260}"/>
                    </a:ext>
                  </a:extLst>
                </p:cNvPr>
                <p:cNvSpPr>
                  <a:spLocks/>
                </p:cNvSpPr>
                <p:nvPr/>
              </p:nvSpPr>
              <p:spPr bwMode="auto">
                <a:xfrm>
                  <a:off x="5861" y="3612"/>
                  <a:ext cx="4" cy="10"/>
                </a:xfrm>
                <a:custGeom>
                  <a:avLst/>
                  <a:gdLst>
                    <a:gd name="T0" fmla="*/ 1 w 2"/>
                    <a:gd name="T1" fmla="*/ 0 h 5"/>
                    <a:gd name="T2" fmla="*/ 0 w 2"/>
                    <a:gd name="T3" fmla="*/ 3 h 5"/>
                    <a:gd name="T4" fmla="*/ 1 w 2"/>
                    <a:gd name="T5" fmla="*/ 5 h 5"/>
                    <a:gd name="T6" fmla="*/ 2 w 2"/>
                    <a:gd name="T7" fmla="*/ 3 h 5"/>
                    <a:gd name="T8" fmla="*/ 1 w 2"/>
                    <a:gd name="T9" fmla="*/ 0 h 5"/>
                  </a:gdLst>
                  <a:ahLst/>
                  <a:cxnLst>
                    <a:cxn ang="0">
                      <a:pos x="T0" y="T1"/>
                    </a:cxn>
                    <a:cxn ang="0">
                      <a:pos x="T2" y="T3"/>
                    </a:cxn>
                    <a:cxn ang="0">
                      <a:pos x="T4" y="T5"/>
                    </a:cxn>
                    <a:cxn ang="0">
                      <a:pos x="T6" y="T7"/>
                    </a:cxn>
                    <a:cxn ang="0">
                      <a:pos x="T8" y="T9"/>
                    </a:cxn>
                  </a:cxnLst>
                  <a:rect l="0" t="0" r="r" b="b"/>
                  <a:pathLst>
                    <a:path w="2" h="5">
                      <a:moveTo>
                        <a:pt x="1" y="0"/>
                      </a:moveTo>
                      <a:cubicBezTo>
                        <a:pt x="1" y="0"/>
                        <a:pt x="0" y="1"/>
                        <a:pt x="0" y="3"/>
                      </a:cubicBezTo>
                      <a:cubicBezTo>
                        <a:pt x="0" y="4"/>
                        <a:pt x="0" y="5"/>
                        <a:pt x="1" y="5"/>
                      </a:cubicBezTo>
                      <a:cubicBezTo>
                        <a:pt x="1" y="5"/>
                        <a:pt x="2" y="4"/>
                        <a:pt x="2" y="3"/>
                      </a:cubicBezTo>
                      <a:cubicBezTo>
                        <a:pt x="2" y="1"/>
                        <a:pt x="2" y="0"/>
                        <a:pt x="1" y="0"/>
                      </a:cubicBezTo>
                      <a:close/>
                    </a:path>
                  </a:pathLst>
                </a:custGeom>
                <a:solidFill>
                  <a:srgbClr val="F051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085" name="Freeform 296">
                  <a:extLst>
                    <a:ext uri="{FF2B5EF4-FFF2-40B4-BE49-F238E27FC236}">
                      <a16:creationId xmlns:a16="http://schemas.microsoft.com/office/drawing/2014/main" id="{037AB3C6-FEF0-2153-75A4-8D3108A7231A}"/>
                    </a:ext>
                  </a:extLst>
                </p:cNvPr>
                <p:cNvSpPr>
                  <a:spLocks/>
                </p:cNvSpPr>
                <p:nvPr/>
              </p:nvSpPr>
              <p:spPr bwMode="auto">
                <a:xfrm>
                  <a:off x="5861" y="3612"/>
                  <a:ext cx="4" cy="10"/>
                </a:xfrm>
                <a:custGeom>
                  <a:avLst/>
                  <a:gdLst>
                    <a:gd name="T0" fmla="*/ 1 w 2"/>
                    <a:gd name="T1" fmla="*/ 0 h 5"/>
                    <a:gd name="T2" fmla="*/ 0 w 2"/>
                    <a:gd name="T3" fmla="*/ 3 h 5"/>
                    <a:gd name="T4" fmla="*/ 1 w 2"/>
                    <a:gd name="T5" fmla="*/ 5 h 5"/>
                    <a:gd name="T6" fmla="*/ 2 w 2"/>
                    <a:gd name="T7" fmla="*/ 3 h 5"/>
                    <a:gd name="T8" fmla="*/ 1 w 2"/>
                    <a:gd name="T9" fmla="*/ 0 h 5"/>
                  </a:gdLst>
                  <a:ahLst/>
                  <a:cxnLst>
                    <a:cxn ang="0">
                      <a:pos x="T0" y="T1"/>
                    </a:cxn>
                    <a:cxn ang="0">
                      <a:pos x="T2" y="T3"/>
                    </a:cxn>
                    <a:cxn ang="0">
                      <a:pos x="T4" y="T5"/>
                    </a:cxn>
                    <a:cxn ang="0">
                      <a:pos x="T6" y="T7"/>
                    </a:cxn>
                    <a:cxn ang="0">
                      <a:pos x="T8" y="T9"/>
                    </a:cxn>
                  </a:cxnLst>
                  <a:rect l="0" t="0" r="r" b="b"/>
                  <a:pathLst>
                    <a:path w="2" h="5">
                      <a:moveTo>
                        <a:pt x="1" y="0"/>
                      </a:moveTo>
                      <a:cubicBezTo>
                        <a:pt x="1" y="0"/>
                        <a:pt x="0" y="1"/>
                        <a:pt x="0" y="3"/>
                      </a:cubicBezTo>
                      <a:cubicBezTo>
                        <a:pt x="0" y="4"/>
                        <a:pt x="0" y="5"/>
                        <a:pt x="1" y="5"/>
                      </a:cubicBezTo>
                      <a:cubicBezTo>
                        <a:pt x="1" y="5"/>
                        <a:pt x="2" y="4"/>
                        <a:pt x="2" y="3"/>
                      </a:cubicBezTo>
                      <a:cubicBezTo>
                        <a:pt x="2" y="1"/>
                        <a:pt x="2" y="0"/>
                        <a:pt x="1" y="0"/>
                      </a:cubicBezTo>
                      <a:close/>
                    </a:path>
                  </a:pathLst>
                </a:custGeom>
                <a:solidFill>
                  <a:srgbClr val="F152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086" name="Freeform 297">
                  <a:extLst>
                    <a:ext uri="{FF2B5EF4-FFF2-40B4-BE49-F238E27FC236}">
                      <a16:creationId xmlns:a16="http://schemas.microsoft.com/office/drawing/2014/main" id="{7022D3D1-4209-710A-6BA7-B5910F4EC7E1}"/>
                    </a:ext>
                  </a:extLst>
                </p:cNvPr>
                <p:cNvSpPr>
                  <a:spLocks/>
                </p:cNvSpPr>
                <p:nvPr/>
              </p:nvSpPr>
              <p:spPr bwMode="auto">
                <a:xfrm>
                  <a:off x="5861" y="3614"/>
                  <a:ext cx="4" cy="8"/>
                </a:xfrm>
                <a:custGeom>
                  <a:avLst/>
                  <a:gdLst>
                    <a:gd name="T0" fmla="*/ 1 w 2"/>
                    <a:gd name="T1" fmla="*/ 0 h 4"/>
                    <a:gd name="T2" fmla="*/ 0 w 2"/>
                    <a:gd name="T3" fmla="*/ 2 h 4"/>
                    <a:gd name="T4" fmla="*/ 1 w 2"/>
                    <a:gd name="T5" fmla="*/ 4 h 4"/>
                    <a:gd name="T6" fmla="*/ 2 w 2"/>
                    <a:gd name="T7" fmla="*/ 2 h 4"/>
                    <a:gd name="T8" fmla="*/ 1 w 2"/>
                    <a:gd name="T9" fmla="*/ 0 h 4"/>
                  </a:gdLst>
                  <a:ahLst/>
                  <a:cxnLst>
                    <a:cxn ang="0">
                      <a:pos x="T0" y="T1"/>
                    </a:cxn>
                    <a:cxn ang="0">
                      <a:pos x="T2" y="T3"/>
                    </a:cxn>
                    <a:cxn ang="0">
                      <a:pos x="T4" y="T5"/>
                    </a:cxn>
                    <a:cxn ang="0">
                      <a:pos x="T6" y="T7"/>
                    </a:cxn>
                    <a:cxn ang="0">
                      <a:pos x="T8" y="T9"/>
                    </a:cxn>
                  </a:cxnLst>
                  <a:rect l="0" t="0" r="r" b="b"/>
                  <a:pathLst>
                    <a:path w="2" h="4">
                      <a:moveTo>
                        <a:pt x="1" y="0"/>
                      </a:moveTo>
                      <a:cubicBezTo>
                        <a:pt x="1" y="0"/>
                        <a:pt x="0" y="0"/>
                        <a:pt x="0" y="2"/>
                      </a:cubicBezTo>
                      <a:cubicBezTo>
                        <a:pt x="0" y="3"/>
                        <a:pt x="1" y="4"/>
                        <a:pt x="1" y="4"/>
                      </a:cubicBezTo>
                      <a:cubicBezTo>
                        <a:pt x="1" y="4"/>
                        <a:pt x="2" y="3"/>
                        <a:pt x="2" y="2"/>
                      </a:cubicBezTo>
                      <a:cubicBezTo>
                        <a:pt x="2" y="1"/>
                        <a:pt x="2" y="0"/>
                        <a:pt x="1" y="0"/>
                      </a:cubicBezTo>
                      <a:close/>
                    </a:path>
                  </a:pathLst>
                </a:custGeom>
                <a:solidFill>
                  <a:srgbClr val="F253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087" name="Freeform 298">
                  <a:extLst>
                    <a:ext uri="{FF2B5EF4-FFF2-40B4-BE49-F238E27FC236}">
                      <a16:creationId xmlns:a16="http://schemas.microsoft.com/office/drawing/2014/main" id="{6CC233DD-0330-C379-697B-9304210C8D84}"/>
                    </a:ext>
                  </a:extLst>
                </p:cNvPr>
                <p:cNvSpPr>
                  <a:spLocks/>
                </p:cNvSpPr>
                <p:nvPr/>
              </p:nvSpPr>
              <p:spPr bwMode="auto">
                <a:xfrm>
                  <a:off x="5861" y="3614"/>
                  <a:ext cx="4" cy="8"/>
                </a:xfrm>
                <a:custGeom>
                  <a:avLst/>
                  <a:gdLst>
                    <a:gd name="T0" fmla="*/ 1 w 2"/>
                    <a:gd name="T1" fmla="*/ 0 h 4"/>
                    <a:gd name="T2" fmla="*/ 0 w 2"/>
                    <a:gd name="T3" fmla="*/ 2 h 4"/>
                    <a:gd name="T4" fmla="*/ 1 w 2"/>
                    <a:gd name="T5" fmla="*/ 4 h 4"/>
                    <a:gd name="T6" fmla="*/ 2 w 2"/>
                    <a:gd name="T7" fmla="*/ 2 h 4"/>
                    <a:gd name="T8" fmla="*/ 1 w 2"/>
                    <a:gd name="T9" fmla="*/ 0 h 4"/>
                  </a:gdLst>
                  <a:ahLst/>
                  <a:cxnLst>
                    <a:cxn ang="0">
                      <a:pos x="T0" y="T1"/>
                    </a:cxn>
                    <a:cxn ang="0">
                      <a:pos x="T2" y="T3"/>
                    </a:cxn>
                    <a:cxn ang="0">
                      <a:pos x="T4" y="T5"/>
                    </a:cxn>
                    <a:cxn ang="0">
                      <a:pos x="T6" y="T7"/>
                    </a:cxn>
                    <a:cxn ang="0">
                      <a:pos x="T8" y="T9"/>
                    </a:cxn>
                  </a:cxnLst>
                  <a:rect l="0" t="0" r="r" b="b"/>
                  <a:pathLst>
                    <a:path w="2" h="4">
                      <a:moveTo>
                        <a:pt x="1" y="0"/>
                      </a:moveTo>
                      <a:cubicBezTo>
                        <a:pt x="1" y="0"/>
                        <a:pt x="1" y="1"/>
                        <a:pt x="0" y="2"/>
                      </a:cubicBezTo>
                      <a:cubicBezTo>
                        <a:pt x="0" y="3"/>
                        <a:pt x="1" y="4"/>
                        <a:pt x="1" y="4"/>
                      </a:cubicBezTo>
                      <a:cubicBezTo>
                        <a:pt x="1" y="4"/>
                        <a:pt x="2" y="3"/>
                        <a:pt x="2" y="2"/>
                      </a:cubicBezTo>
                      <a:cubicBezTo>
                        <a:pt x="2" y="1"/>
                        <a:pt x="2" y="0"/>
                        <a:pt x="1" y="0"/>
                      </a:cubicBezTo>
                      <a:close/>
                    </a:path>
                  </a:pathLst>
                </a:custGeom>
                <a:solidFill>
                  <a:srgbClr val="F354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088" name="Freeform 299">
                  <a:extLst>
                    <a:ext uri="{FF2B5EF4-FFF2-40B4-BE49-F238E27FC236}">
                      <a16:creationId xmlns:a16="http://schemas.microsoft.com/office/drawing/2014/main" id="{37771867-AEB7-2BDA-0F94-05F03ED511CB}"/>
                    </a:ext>
                  </a:extLst>
                </p:cNvPr>
                <p:cNvSpPr>
                  <a:spLocks/>
                </p:cNvSpPr>
                <p:nvPr/>
              </p:nvSpPr>
              <p:spPr bwMode="auto">
                <a:xfrm>
                  <a:off x="5861" y="3614"/>
                  <a:ext cx="4" cy="6"/>
                </a:xfrm>
                <a:custGeom>
                  <a:avLst/>
                  <a:gdLst>
                    <a:gd name="T0" fmla="*/ 1 w 2"/>
                    <a:gd name="T1" fmla="*/ 0 h 3"/>
                    <a:gd name="T2" fmla="*/ 0 w 2"/>
                    <a:gd name="T3" fmla="*/ 2 h 3"/>
                    <a:gd name="T4" fmla="*/ 1 w 2"/>
                    <a:gd name="T5" fmla="*/ 3 h 3"/>
                    <a:gd name="T6" fmla="*/ 2 w 2"/>
                    <a:gd name="T7" fmla="*/ 2 h 3"/>
                    <a:gd name="T8" fmla="*/ 1 w 2"/>
                    <a:gd name="T9" fmla="*/ 0 h 3"/>
                  </a:gdLst>
                  <a:ahLst/>
                  <a:cxnLst>
                    <a:cxn ang="0">
                      <a:pos x="T0" y="T1"/>
                    </a:cxn>
                    <a:cxn ang="0">
                      <a:pos x="T2" y="T3"/>
                    </a:cxn>
                    <a:cxn ang="0">
                      <a:pos x="T4" y="T5"/>
                    </a:cxn>
                    <a:cxn ang="0">
                      <a:pos x="T6" y="T7"/>
                    </a:cxn>
                    <a:cxn ang="0">
                      <a:pos x="T8" y="T9"/>
                    </a:cxn>
                  </a:cxnLst>
                  <a:rect l="0" t="0" r="r" b="b"/>
                  <a:pathLst>
                    <a:path w="2" h="3">
                      <a:moveTo>
                        <a:pt x="1" y="0"/>
                      </a:moveTo>
                      <a:cubicBezTo>
                        <a:pt x="1" y="0"/>
                        <a:pt x="1" y="1"/>
                        <a:pt x="0" y="2"/>
                      </a:cubicBezTo>
                      <a:cubicBezTo>
                        <a:pt x="0" y="3"/>
                        <a:pt x="1" y="3"/>
                        <a:pt x="1" y="3"/>
                      </a:cubicBezTo>
                      <a:cubicBezTo>
                        <a:pt x="1" y="3"/>
                        <a:pt x="2" y="3"/>
                        <a:pt x="2" y="2"/>
                      </a:cubicBezTo>
                      <a:cubicBezTo>
                        <a:pt x="2" y="1"/>
                        <a:pt x="2" y="0"/>
                        <a:pt x="1" y="0"/>
                      </a:cubicBezTo>
                      <a:close/>
                    </a:path>
                  </a:pathLst>
                </a:custGeom>
                <a:solidFill>
                  <a:srgbClr val="F455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089" name="Freeform 300">
                  <a:extLst>
                    <a:ext uri="{FF2B5EF4-FFF2-40B4-BE49-F238E27FC236}">
                      <a16:creationId xmlns:a16="http://schemas.microsoft.com/office/drawing/2014/main" id="{EE9F5DCF-CBFD-664B-AD1C-ED0E405E083F}"/>
                    </a:ext>
                  </a:extLst>
                </p:cNvPr>
                <p:cNvSpPr>
                  <a:spLocks/>
                </p:cNvSpPr>
                <p:nvPr/>
              </p:nvSpPr>
              <p:spPr bwMode="auto">
                <a:xfrm>
                  <a:off x="5861" y="3614"/>
                  <a:ext cx="4" cy="6"/>
                </a:xfrm>
                <a:custGeom>
                  <a:avLst/>
                  <a:gdLst>
                    <a:gd name="T0" fmla="*/ 1 w 2"/>
                    <a:gd name="T1" fmla="*/ 0 h 3"/>
                    <a:gd name="T2" fmla="*/ 1 w 2"/>
                    <a:gd name="T3" fmla="*/ 2 h 3"/>
                    <a:gd name="T4" fmla="*/ 1 w 2"/>
                    <a:gd name="T5" fmla="*/ 3 h 3"/>
                    <a:gd name="T6" fmla="*/ 2 w 2"/>
                    <a:gd name="T7" fmla="*/ 2 h 3"/>
                    <a:gd name="T8" fmla="*/ 1 w 2"/>
                    <a:gd name="T9" fmla="*/ 0 h 3"/>
                  </a:gdLst>
                  <a:ahLst/>
                  <a:cxnLst>
                    <a:cxn ang="0">
                      <a:pos x="T0" y="T1"/>
                    </a:cxn>
                    <a:cxn ang="0">
                      <a:pos x="T2" y="T3"/>
                    </a:cxn>
                    <a:cxn ang="0">
                      <a:pos x="T4" y="T5"/>
                    </a:cxn>
                    <a:cxn ang="0">
                      <a:pos x="T6" y="T7"/>
                    </a:cxn>
                    <a:cxn ang="0">
                      <a:pos x="T8" y="T9"/>
                    </a:cxn>
                  </a:cxnLst>
                  <a:rect l="0" t="0" r="r" b="b"/>
                  <a:pathLst>
                    <a:path w="2" h="3">
                      <a:moveTo>
                        <a:pt x="1" y="0"/>
                      </a:moveTo>
                      <a:cubicBezTo>
                        <a:pt x="1" y="0"/>
                        <a:pt x="1" y="1"/>
                        <a:pt x="1" y="2"/>
                      </a:cubicBezTo>
                      <a:cubicBezTo>
                        <a:pt x="0" y="2"/>
                        <a:pt x="1" y="3"/>
                        <a:pt x="1" y="3"/>
                      </a:cubicBezTo>
                      <a:cubicBezTo>
                        <a:pt x="1" y="3"/>
                        <a:pt x="2" y="3"/>
                        <a:pt x="2" y="2"/>
                      </a:cubicBezTo>
                      <a:cubicBezTo>
                        <a:pt x="2" y="1"/>
                        <a:pt x="2" y="0"/>
                        <a:pt x="1" y="0"/>
                      </a:cubicBezTo>
                      <a:close/>
                    </a:path>
                  </a:pathLst>
                </a:custGeom>
                <a:solidFill>
                  <a:srgbClr val="F556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090" name="Freeform 301">
                  <a:extLst>
                    <a:ext uri="{FF2B5EF4-FFF2-40B4-BE49-F238E27FC236}">
                      <a16:creationId xmlns:a16="http://schemas.microsoft.com/office/drawing/2014/main" id="{C3F41F47-474D-952F-C67C-DC22B94790A4}"/>
                    </a:ext>
                  </a:extLst>
                </p:cNvPr>
                <p:cNvSpPr>
                  <a:spLocks/>
                </p:cNvSpPr>
                <p:nvPr/>
              </p:nvSpPr>
              <p:spPr bwMode="auto">
                <a:xfrm>
                  <a:off x="5863" y="3614"/>
                  <a:ext cx="2" cy="6"/>
                </a:xfrm>
                <a:custGeom>
                  <a:avLst/>
                  <a:gdLst>
                    <a:gd name="T0" fmla="*/ 0 w 1"/>
                    <a:gd name="T1" fmla="*/ 0 h 3"/>
                    <a:gd name="T2" fmla="*/ 0 w 1"/>
                    <a:gd name="T3" fmla="*/ 2 h 3"/>
                    <a:gd name="T4" fmla="*/ 0 w 1"/>
                    <a:gd name="T5" fmla="*/ 3 h 3"/>
                    <a:gd name="T6" fmla="*/ 1 w 1"/>
                    <a:gd name="T7" fmla="*/ 2 h 3"/>
                    <a:gd name="T8" fmla="*/ 0 w 1"/>
                    <a:gd name="T9" fmla="*/ 0 h 3"/>
                  </a:gdLst>
                  <a:ahLst/>
                  <a:cxnLst>
                    <a:cxn ang="0">
                      <a:pos x="T0" y="T1"/>
                    </a:cxn>
                    <a:cxn ang="0">
                      <a:pos x="T2" y="T3"/>
                    </a:cxn>
                    <a:cxn ang="0">
                      <a:pos x="T4" y="T5"/>
                    </a:cxn>
                    <a:cxn ang="0">
                      <a:pos x="T6" y="T7"/>
                    </a:cxn>
                    <a:cxn ang="0">
                      <a:pos x="T8" y="T9"/>
                    </a:cxn>
                  </a:cxnLst>
                  <a:rect l="0" t="0" r="r" b="b"/>
                  <a:pathLst>
                    <a:path w="1" h="3">
                      <a:moveTo>
                        <a:pt x="0" y="0"/>
                      </a:moveTo>
                      <a:cubicBezTo>
                        <a:pt x="0" y="0"/>
                        <a:pt x="0" y="1"/>
                        <a:pt x="0" y="2"/>
                      </a:cubicBezTo>
                      <a:cubicBezTo>
                        <a:pt x="0" y="2"/>
                        <a:pt x="0" y="3"/>
                        <a:pt x="0" y="3"/>
                      </a:cubicBezTo>
                      <a:cubicBezTo>
                        <a:pt x="0" y="3"/>
                        <a:pt x="1" y="2"/>
                        <a:pt x="1" y="2"/>
                      </a:cubicBezTo>
                      <a:cubicBezTo>
                        <a:pt x="1" y="1"/>
                        <a:pt x="1" y="0"/>
                        <a:pt x="0" y="0"/>
                      </a:cubicBezTo>
                      <a:close/>
                    </a:path>
                  </a:pathLst>
                </a:custGeom>
                <a:solidFill>
                  <a:srgbClr val="F657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091" name="Oval 302">
                  <a:extLst>
                    <a:ext uri="{FF2B5EF4-FFF2-40B4-BE49-F238E27FC236}">
                      <a16:creationId xmlns:a16="http://schemas.microsoft.com/office/drawing/2014/main" id="{187D89C4-2AB9-70D8-315C-D018F8ADABA5}"/>
                    </a:ext>
                  </a:extLst>
                </p:cNvPr>
                <p:cNvSpPr>
                  <a:spLocks/>
                </p:cNvSpPr>
                <p:nvPr/>
              </p:nvSpPr>
              <p:spPr bwMode="auto">
                <a:xfrm>
                  <a:off x="5863" y="3616"/>
                  <a:ext cx="2" cy="4"/>
                </a:xfrm>
                <a:prstGeom prst="ellipse">
                  <a:avLst/>
                </a:prstGeom>
                <a:solidFill>
                  <a:srgbClr val="F758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092" name="Freeform 303">
                  <a:extLst>
                    <a:ext uri="{FF2B5EF4-FFF2-40B4-BE49-F238E27FC236}">
                      <a16:creationId xmlns:a16="http://schemas.microsoft.com/office/drawing/2014/main" id="{16127891-04A8-51E9-1469-CDE30EFF081A}"/>
                    </a:ext>
                  </a:extLst>
                </p:cNvPr>
                <p:cNvSpPr>
                  <a:spLocks/>
                </p:cNvSpPr>
                <p:nvPr/>
              </p:nvSpPr>
              <p:spPr bwMode="auto">
                <a:xfrm>
                  <a:off x="5863" y="3616"/>
                  <a:ext cx="2" cy="4"/>
                </a:xfrm>
                <a:custGeom>
                  <a:avLst/>
                  <a:gdLst>
                    <a:gd name="T0" fmla="*/ 0 w 1"/>
                    <a:gd name="T1" fmla="*/ 0 h 2"/>
                    <a:gd name="T2" fmla="*/ 0 w 1"/>
                    <a:gd name="T3" fmla="*/ 1 h 2"/>
                    <a:gd name="T4" fmla="*/ 0 w 1"/>
                    <a:gd name="T5" fmla="*/ 2 h 2"/>
                    <a:gd name="T6" fmla="*/ 0 w 1"/>
                    <a:gd name="T7" fmla="*/ 1 h 2"/>
                    <a:gd name="T8" fmla="*/ 0 w 1"/>
                    <a:gd name="T9" fmla="*/ 0 h 2"/>
                  </a:gdLst>
                  <a:ahLst/>
                  <a:cxnLst>
                    <a:cxn ang="0">
                      <a:pos x="T0" y="T1"/>
                    </a:cxn>
                    <a:cxn ang="0">
                      <a:pos x="T2" y="T3"/>
                    </a:cxn>
                    <a:cxn ang="0">
                      <a:pos x="T4" y="T5"/>
                    </a:cxn>
                    <a:cxn ang="0">
                      <a:pos x="T6" y="T7"/>
                    </a:cxn>
                    <a:cxn ang="0">
                      <a:pos x="T8" y="T9"/>
                    </a:cxn>
                  </a:cxnLst>
                  <a:rect l="0" t="0" r="r" b="b"/>
                  <a:pathLst>
                    <a:path w="1" h="2">
                      <a:moveTo>
                        <a:pt x="0" y="0"/>
                      </a:moveTo>
                      <a:cubicBezTo>
                        <a:pt x="0" y="0"/>
                        <a:pt x="0" y="0"/>
                        <a:pt x="0" y="1"/>
                      </a:cubicBezTo>
                      <a:cubicBezTo>
                        <a:pt x="0" y="1"/>
                        <a:pt x="0" y="2"/>
                        <a:pt x="0" y="2"/>
                      </a:cubicBezTo>
                      <a:cubicBezTo>
                        <a:pt x="0" y="2"/>
                        <a:pt x="0" y="1"/>
                        <a:pt x="0" y="1"/>
                      </a:cubicBezTo>
                      <a:cubicBezTo>
                        <a:pt x="1" y="0"/>
                        <a:pt x="0" y="0"/>
                        <a:pt x="0" y="0"/>
                      </a:cubicBezTo>
                      <a:close/>
                    </a:path>
                  </a:pathLst>
                </a:custGeom>
                <a:solidFill>
                  <a:srgbClr val="F8597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093" name="Oval 304">
                  <a:extLst>
                    <a:ext uri="{FF2B5EF4-FFF2-40B4-BE49-F238E27FC236}">
                      <a16:creationId xmlns:a16="http://schemas.microsoft.com/office/drawing/2014/main" id="{05E86932-343C-3BAF-C7A7-5A6B24429F68}"/>
                    </a:ext>
                  </a:extLst>
                </p:cNvPr>
                <p:cNvSpPr>
                  <a:spLocks/>
                </p:cNvSpPr>
                <p:nvPr/>
              </p:nvSpPr>
              <p:spPr bwMode="auto">
                <a:xfrm>
                  <a:off x="5863" y="3616"/>
                  <a:ext cx="1" cy="2"/>
                </a:xfrm>
                <a:prstGeom prst="ellipse">
                  <a:avLst/>
                </a:prstGeom>
                <a:solidFill>
                  <a:srgbClr val="F95A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094" name="Freeform 305">
                  <a:extLst>
                    <a:ext uri="{FF2B5EF4-FFF2-40B4-BE49-F238E27FC236}">
                      <a16:creationId xmlns:a16="http://schemas.microsoft.com/office/drawing/2014/main" id="{AFADC71F-CF50-B06D-8F50-77D571ED36EA}"/>
                    </a:ext>
                  </a:extLst>
                </p:cNvPr>
                <p:cNvSpPr>
                  <a:spLocks/>
                </p:cNvSpPr>
                <p:nvPr/>
              </p:nvSpPr>
              <p:spPr bwMode="auto">
                <a:xfrm>
                  <a:off x="5863" y="3616"/>
                  <a:ext cx="0" cy="2"/>
                </a:xfrm>
                <a:custGeom>
                  <a:avLst/>
                  <a:gdLst>
                    <a:gd name="T0" fmla="*/ 0 h 2"/>
                    <a:gd name="T1" fmla="*/ 2 h 2"/>
                    <a:gd name="T2" fmla="*/ 2 h 2"/>
                    <a:gd name="T3" fmla="*/ 2 h 2"/>
                    <a:gd name="T4" fmla="*/ 0 h 2"/>
                  </a:gdLst>
                  <a:ahLst/>
                  <a:cxnLst>
                    <a:cxn ang="0">
                      <a:pos x="0" y="T0"/>
                    </a:cxn>
                    <a:cxn ang="0">
                      <a:pos x="0" y="T1"/>
                    </a:cxn>
                    <a:cxn ang="0">
                      <a:pos x="0" y="T2"/>
                    </a:cxn>
                    <a:cxn ang="0">
                      <a:pos x="0" y="T3"/>
                    </a:cxn>
                    <a:cxn ang="0">
                      <a:pos x="0" y="T4"/>
                    </a:cxn>
                  </a:cxnLst>
                  <a:rect l="0" t="0" r="r" b="b"/>
                  <a:pathLst>
                    <a:path h="2">
                      <a:moveTo>
                        <a:pt x="0" y="0"/>
                      </a:moveTo>
                      <a:lnTo>
                        <a:pt x="0" y="2"/>
                      </a:lnTo>
                      <a:lnTo>
                        <a:pt x="0" y="2"/>
                      </a:lnTo>
                      <a:lnTo>
                        <a:pt x="0" y="2"/>
                      </a:lnTo>
                      <a:lnTo>
                        <a:pt x="0" y="0"/>
                      </a:lnTo>
                      <a:close/>
                    </a:path>
                  </a:pathLst>
                </a:custGeom>
                <a:solidFill>
                  <a:srgbClr val="FA5B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095" name="Freeform 306">
                  <a:extLst>
                    <a:ext uri="{FF2B5EF4-FFF2-40B4-BE49-F238E27FC236}">
                      <a16:creationId xmlns:a16="http://schemas.microsoft.com/office/drawing/2014/main" id="{25FB0A55-CB85-DE15-BA59-F552F7FD2B1B}"/>
                    </a:ext>
                  </a:extLst>
                </p:cNvPr>
                <p:cNvSpPr>
                  <a:spLocks/>
                </p:cNvSpPr>
                <p:nvPr/>
              </p:nvSpPr>
              <p:spPr bwMode="auto">
                <a:xfrm>
                  <a:off x="5863" y="3616"/>
                  <a:ext cx="0" cy="2"/>
                </a:xfrm>
                <a:custGeom>
                  <a:avLst/>
                  <a:gdLst>
                    <a:gd name="T0" fmla="*/ 0 h 2"/>
                    <a:gd name="T1" fmla="*/ 2 h 2"/>
                    <a:gd name="T2" fmla="*/ 2 h 2"/>
                    <a:gd name="T3" fmla="*/ 2 h 2"/>
                    <a:gd name="T4" fmla="*/ 0 h 2"/>
                  </a:gdLst>
                  <a:ahLst/>
                  <a:cxnLst>
                    <a:cxn ang="0">
                      <a:pos x="0" y="T0"/>
                    </a:cxn>
                    <a:cxn ang="0">
                      <a:pos x="0" y="T1"/>
                    </a:cxn>
                    <a:cxn ang="0">
                      <a:pos x="0" y="T2"/>
                    </a:cxn>
                    <a:cxn ang="0">
                      <a:pos x="0" y="T3"/>
                    </a:cxn>
                    <a:cxn ang="0">
                      <a:pos x="0" y="T4"/>
                    </a:cxn>
                  </a:cxnLst>
                  <a:rect l="0" t="0" r="r" b="b"/>
                  <a:pathLst>
                    <a:path h="2">
                      <a:moveTo>
                        <a:pt x="0" y="0"/>
                      </a:moveTo>
                      <a:lnTo>
                        <a:pt x="0" y="2"/>
                      </a:lnTo>
                      <a:lnTo>
                        <a:pt x="0" y="2"/>
                      </a:lnTo>
                      <a:lnTo>
                        <a:pt x="0" y="2"/>
                      </a:lnTo>
                      <a:lnTo>
                        <a:pt x="0" y="0"/>
                      </a:lnTo>
                      <a:close/>
                    </a:path>
                  </a:pathLst>
                </a:custGeom>
                <a:solidFill>
                  <a:srgbClr val="FB5C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096" name="Freeform 307">
                  <a:extLst>
                    <a:ext uri="{FF2B5EF4-FFF2-40B4-BE49-F238E27FC236}">
                      <a16:creationId xmlns:a16="http://schemas.microsoft.com/office/drawing/2014/main" id="{1BA7F5D6-718D-760E-A8E3-7C19EB5410BA}"/>
                    </a:ext>
                  </a:extLst>
                </p:cNvPr>
                <p:cNvSpPr>
                  <a:spLocks/>
                </p:cNvSpPr>
                <p:nvPr/>
              </p:nvSpPr>
              <p:spPr bwMode="auto">
                <a:xfrm>
                  <a:off x="5863" y="3616"/>
                  <a:ext cx="0" cy="2"/>
                </a:xfrm>
                <a:custGeom>
                  <a:avLst/>
                  <a:gdLst>
                    <a:gd name="T0" fmla="*/ 0 h 2"/>
                    <a:gd name="T1" fmla="*/ 2 h 2"/>
                    <a:gd name="T2" fmla="*/ 2 h 2"/>
                    <a:gd name="T3" fmla="*/ 2 h 2"/>
                    <a:gd name="T4" fmla="*/ 0 h 2"/>
                  </a:gdLst>
                  <a:ahLst/>
                  <a:cxnLst>
                    <a:cxn ang="0">
                      <a:pos x="0" y="T0"/>
                    </a:cxn>
                    <a:cxn ang="0">
                      <a:pos x="0" y="T1"/>
                    </a:cxn>
                    <a:cxn ang="0">
                      <a:pos x="0" y="T2"/>
                    </a:cxn>
                    <a:cxn ang="0">
                      <a:pos x="0" y="T3"/>
                    </a:cxn>
                    <a:cxn ang="0">
                      <a:pos x="0" y="T4"/>
                    </a:cxn>
                  </a:cxnLst>
                  <a:rect l="0" t="0" r="r" b="b"/>
                  <a:pathLst>
                    <a:path h="2">
                      <a:moveTo>
                        <a:pt x="0" y="0"/>
                      </a:moveTo>
                      <a:lnTo>
                        <a:pt x="0" y="2"/>
                      </a:lnTo>
                      <a:lnTo>
                        <a:pt x="0" y="2"/>
                      </a:lnTo>
                      <a:lnTo>
                        <a:pt x="0" y="2"/>
                      </a:lnTo>
                      <a:lnTo>
                        <a:pt x="0" y="0"/>
                      </a:lnTo>
                      <a:close/>
                    </a:path>
                  </a:pathLst>
                </a:custGeom>
                <a:solidFill>
                  <a:srgbClr val="FC5D7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097" name="Rectangle 308">
                  <a:extLst>
                    <a:ext uri="{FF2B5EF4-FFF2-40B4-BE49-F238E27FC236}">
                      <a16:creationId xmlns:a16="http://schemas.microsoft.com/office/drawing/2014/main" id="{4CD35CBF-8727-5E68-30B3-9DD46ED349F7}"/>
                    </a:ext>
                  </a:extLst>
                </p:cNvPr>
                <p:cNvSpPr>
                  <a:spLocks/>
                </p:cNvSpPr>
                <p:nvPr/>
              </p:nvSpPr>
              <p:spPr bwMode="auto">
                <a:xfrm>
                  <a:off x="5582" y="3568"/>
                  <a:ext cx="22" cy="92"/>
                </a:xfrm>
                <a:prstGeom prst="rect">
                  <a:avLst/>
                </a:prstGeom>
                <a:solidFill>
                  <a:srgbClr val="B30F2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098" name="Freeform 309">
                  <a:extLst>
                    <a:ext uri="{FF2B5EF4-FFF2-40B4-BE49-F238E27FC236}">
                      <a16:creationId xmlns:a16="http://schemas.microsoft.com/office/drawing/2014/main" id="{FE28B27D-EE17-4F02-C68A-DEAFF56AAA4E}"/>
                    </a:ext>
                  </a:extLst>
                </p:cNvPr>
                <p:cNvSpPr>
                  <a:spLocks/>
                </p:cNvSpPr>
                <p:nvPr/>
              </p:nvSpPr>
              <p:spPr bwMode="auto">
                <a:xfrm>
                  <a:off x="5578" y="3576"/>
                  <a:ext cx="28" cy="76"/>
                </a:xfrm>
                <a:custGeom>
                  <a:avLst/>
                  <a:gdLst>
                    <a:gd name="T0" fmla="*/ 9 w 14"/>
                    <a:gd name="T1" fmla="*/ 38 h 38"/>
                    <a:gd name="T2" fmla="*/ 1 w 14"/>
                    <a:gd name="T3" fmla="*/ 20 h 38"/>
                    <a:gd name="T4" fmla="*/ 5 w 14"/>
                    <a:gd name="T5" fmla="*/ 1 h 38"/>
                    <a:gd name="T6" fmla="*/ 13 w 14"/>
                    <a:gd name="T7" fmla="*/ 19 h 38"/>
                    <a:gd name="T8" fmla="*/ 9 w 14"/>
                    <a:gd name="T9" fmla="*/ 38 h 38"/>
                  </a:gdLst>
                  <a:ahLst/>
                  <a:cxnLst>
                    <a:cxn ang="0">
                      <a:pos x="T0" y="T1"/>
                    </a:cxn>
                    <a:cxn ang="0">
                      <a:pos x="T2" y="T3"/>
                    </a:cxn>
                    <a:cxn ang="0">
                      <a:pos x="T4" y="T5"/>
                    </a:cxn>
                    <a:cxn ang="0">
                      <a:pos x="T6" y="T7"/>
                    </a:cxn>
                    <a:cxn ang="0">
                      <a:pos x="T8" y="T9"/>
                    </a:cxn>
                  </a:cxnLst>
                  <a:rect l="0" t="0" r="r" b="b"/>
                  <a:pathLst>
                    <a:path w="14" h="38">
                      <a:moveTo>
                        <a:pt x="9" y="38"/>
                      </a:moveTo>
                      <a:cubicBezTo>
                        <a:pt x="6" y="38"/>
                        <a:pt x="2" y="30"/>
                        <a:pt x="1" y="20"/>
                      </a:cubicBezTo>
                      <a:cubicBezTo>
                        <a:pt x="0" y="9"/>
                        <a:pt x="2" y="1"/>
                        <a:pt x="5" y="1"/>
                      </a:cubicBezTo>
                      <a:cubicBezTo>
                        <a:pt x="9" y="0"/>
                        <a:pt x="12" y="8"/>
                        <a:pt x="13" y="19"/>
                      </a:cubicBezTo>
                      <a:cubicBezTo>
                        <a:pt x="14" y="29"/>
                        <a:pt x="12" y="38"/>
                        <a:pt x="9" y="38"/>
                      </a:cubicBezTo>
                      <a:close/>
                    </a:path>
                  </a:pathLst>
                </a:custGeom>
                <a:solidFill>
                  <a:srgbClr val="B30F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099" name="Freeform 310">
                  <a:extLst>
                    <a:ext uri="{FF2B5EF4-FFF2-40B4-BE49-F238E27FC236}">
                      <a16:creationId xmlns:a16="http://schemas.microsoft.com/office/drawing/2014/main" id="{DD4CFF21-1676-0160-51F3-59BE59DBD71C}"/>
                    </a:ext>
                  </a:extLst>
                </p:cNvPr>
                <p:cNvSpPr>
                  <a:spLocks/>
                </p:cNvSpPr>
                <p:nvPr/>
              </p:nvSpPr>
              <p:spPr bwMode="auto">
                <a:xfrm>
                  <a:off x="5578" y="3578"/>
                  <a:ext cx="28" cy="74"/>
                </a:xfrm>
                <a:custGeom>
                  <a:avLst/>
                  <a:gdLst>
                    <a:gd name="T0" fmla="*/ 9 w 14"/>
                    <a:gd name="T1" fmla="*/ 37 h 37"/>
                    <a:gd name="T2" fmla="*/ 1 w 14"/>
                    <a:gd name="T3" fmla="*/ 19 h 37"/>
                    <a:gd name="T4" fmla="*/ 5 w 14"/>
                    <a:gd name="T5" fmla="*/ 0 h 37"/>
                    <a:gd name="T6" fmla="*/ 13 w 14"/>
                    <a:gd name="T7" fmla="*/ 18 h 37"/>
                    <a:gd name="T8" fmla="*/ 9 w 14"/>
                    <a:gd name="T9" fmla="*/ 37 h 37"/>
                  </a:gdLst>
                  <a:ahLst/>
                  <a:cxnLst>
                    <a:cxn ang="0">
                      <a:pos x="T0" y="T1"/>
                    </a:cxn>
                    <a:cxn ang="0">
                      <a:pos x="T2" y="T3"/>
                    </a:cxn>
                    <a:cxn ang="0">
                      <a:pos x="T4" y="T5"/>
                    </a:cxn>
                    <a:cxn ang="0">
                      <a:pos x="T6" y="T7"/>
                    </a:cxn>
                    <a:cxn ang="0">
                      <a:pos x="T8" y="T9"/>
                    </a:cxn>
                  </a:cxnLst>
                  <a:rect l="0" t="0" r="r" b="b"/>
                  <a:pathLst>
                    <a:path w="14" h="37">
                      <a:moveTo>
                        <a:pt x="9" y="37"/>
                      </a:moveTo>
                      <a:cubicBezTo>
                        <a:pt x="6" y="37"/>
                        <a:pt x="2" y="29"/>
                        <a:pt x="1" y="19"/>
                      </a:cubicBezTo>
                      <a:cubicBezTo>
                        <a:pt x="0" y="9"/>
                        <a:pt x="2" y="0"/>
                        <a:pt x="5" y="0"/>
                      </a:cubicBezTo>
                      <a:cubicBezTo>
                        <a:pt x="9" y="0"/>
                        <a:pt x="12" y="8"/>
                        <a:pt x="13" y="18"/>
                      </a:cubicBezTo>
                      <a:cubicBezTo>
                        <a:pt x="14" y="28"/>
                        <a:pt x="12" y="36"/>
                        <a:pt x="9" y="37"/>
                      </a:cubicBezTo>
                      <a:close/>
                    </a:path>
                  </a:pathLst>
                </a:custGeom>
                <a:solidFill>
                  <a:srgbClr val="B30F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100" name="Freeform 311">
                  <a:extLst>
                    <a:ext uri="{FF2B5EF4-FFF2-40B4-BE49-F238E27FC236}">
                      <a16:creationId xmlns:a16="http://schemas.microsoft.com/office/drawing/2014/main" id="{0CF84858-8596-F01D-F5B1-9D3C711B2CFE}"/>
                    </a:ext>
                  </a:extLst>
                </p:cNvPr>
                <p:cNvSpPr>
                  <a:spLocks/>
                </p:cNvSpPr>
                <p:nvPr/>
              </p:nvSpPr>
              <p:spPr bwMode="auto">
                <a:xfrm>
                  <a:off x="5580" y="3578"/>
                  <a:ext cx="26" cy="74"/>
                </a:xfrm>
                <a:custGeom>
                  <a:avLst/>
                  <a:gdLst>
                    <a:gd name="T0" fmla="*/ 8 w 13"/>
                    <a:gd name="T1" fmla="*/ 36 h 37"/>
                    <a:gd name="T2" fmla="*/ 1 w 13"/>
                    <a:gd name="T3" fmla="*/ 19 h 37"/>
                    <a:gd name="T4" fmla="*/ 4 w 13"/>
                    <a:gd name="T5" fmla="*/ 0 h 37"/>
                    <a:gd name="T6" fmla="*/ 12 w 13"/>
                    <a:gd name="T7" fmla="*/ 18 h 37"/>
                    <a:gd name="T8" fmla="*/ 8 w 13"/>
                    <a:gd name="T9" fmla="*/ 36 h 37"/>
                  </a:gdLst>
                  <a:ahLst/>
                  <a:cxnLst>
                    <a:cxn ang="0">
                      <a:pos x="T0" y="T1"/>
                    </a:cxn>
                    <a:cxn ang="0">
                      <a:pos x="T2" y="T3"/>
                    </a:cxn>
                    <a:cxn ang="0">
                      <a:pos x="T4" y="T5"/>
                    </a:cxn>
                    <a:cxn ang="0">
                      <a:pos x="T6" y="T7"/>
                    </a:cxn>
                    <a:cxn ang="0">
                      <a:pos x="T8" y="T9"/>
                    </a:cxn>
                  </a:cxnLst>
                  <a:rect l="0" t="0" r="r" b="b"/>
                  <a:pathLst>
                    <a:path w="13" h="37">
                      <a:moveTo>
                        <a:pt x="8" y="36"/>
                      </a:moveTo>
                      <a:cubicBezTo>
                        <a:pt x="5" y="37"/>
                        <a:pt x="1" y="29"/>
                        <a:pt x="1" y="19"/>
                      </a:cubicBezTo>
                      <a:cubicBezTo>
                        <a:pt x="0" y="9"/>
                        <a:pt x="1" y="0"/>
                        <a:pt x="4" y="0"/>
                      </a:cubicBezTo>
                      <a:cubicBezTo>
                        <a:pt x="7" y="0"/>
                        <a:pt x="11" y="8"/>
                        <a:pt x="12" y="18"/>
                      </a:cubicBezTo>
                      <a:cubicBezTo>
                        <a:pt x="13" y="28"/>
                        <a:pt x="11" y="36"/>
                        <a:pt x="8" y="36"/>
                      </a:cubicBezTo>
                      <a:close/>
                    </a:path>
                  </a:pathLst>
                </a:custGeom>
                <a:solidFill>
                  <a:srgbClr val="B410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101" name="Freeform 312">
                  <a:extLst>
                    <a:ext uri="{FF2B5EF4-FFF2-40B4-BE49-F238E27FC236}">
                      <a16:creationId xmlns:a16="http://schemas.microsoft.com/office/drawing/2014/main" id="{FF358E19-813E-0603-F569-FB192430400F}"/>
                    </a:ext>
                  </a:extLst>
                </p:cNvPr>
                <p:cNvSpPr>
                  <a:spLocks/>
                </p:cNvSpPr>
                <p:nvPr/>
              </p:nvSpPr>
              <p:spPr bwMode="auto">
                <a:xfrm>
                  <a:off x="5580" y="3578"/>
                  <a:ext cx="26" cy="72"/>
                </a:xfrm>
                <a:custGeom>
                  <a:avLst/>
                  <a:gdLst>
                    <a:gd name="T0" fmla="*/ 8 w 13"/>
                    <a:gd name="T1" fmla="*/ 36 h 36"/>
                    <a:gd name="T2" fmla="*/ 1 w 13"/>
                    <a:gd name="T3" fmla="*/ 19 h 36"/>
                    <a:gd name="T4" fmla="*/ 4 w 13"/>
                    <a:gd name="T5" fmla="*/ 0 h 36"/>
                    <a:gd name="T6" fmla="*/ 12 w 13"/>
                    <a:gd name="T7" fmla="*/ 18 h 36"/>
                    <a:gd name="T8" fmla="*/ 8 w 13"/>
                    <a:gd name="T9" fmla="*/ 36 h 36"/>
                  </a:gdLst>
                  <a:ahLst/>
                  <a:cxnLst>
                    <a:cxn ang="0">
                      <a:pos x="T0" y="T1"/>
                    </a:cxn>
                    <a:cxn ang="0">
                      <a:pos x="T2" y="T3"/>
                    </a:cxn>
                    <a:cxn ang="0">
                      <a:pos x="T4" y="T5"/>
                    </a:cxn>
                    <a:cxn ang="0">
                      <a:pos x="T6" y="T7"/>
                    </a:cxn>
                    <a:cxn ang="0">
                      <a:pos x="T8" y="T9"/>
                    </a:cxn>
                  </a:cxnLst>
                  <a:rect l="0" t="0" r="r" b="b"/>
                  <a:pathLst>
                    <a:path w="13" h="36">
                      <a:moveTo>
                        <a:pt x="8" y="36"/>
                      </a:moveTo>
                      <a:cubicBezTo>
                        <a:pt x="5" y="36"/>
                        <a:pt x="1" y="29"/>
                        <a:pt x="1" y="19"/>
                      </a:cubicBezTo>
                      <a:cubicBezTo>
                        <a:pt x="0" y="9"/>
                        <a:pt x="1" y="1"/>
                        <a:pt x="4" y="0"/>
                      </a:cubicBezTo>
                      <a:cubicBezTo>
                        <a:pt x="7" y="0"/>
                        <a:pt x="11" y="8"/>
                        <a:pt x="12" y="18"/>
                      </a:cubicBezTo>
                      <a:cubicBezTo>
                        <a:pt x="13" y="28"/>
                        <a:pt x="11" y="36"/>
                        <a:pt x="8" y="36"/>
                      </a:cubicBezTo>
                      <a:close/>
                    </a:path>
                  </a:pathLst>
                </a:custGeom>
                <a:solidFill>
                  <a:srgbClr val="B511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102" name="Freeform 313">
                  <a:extLst>
                    <a:ext uri="{FF2B5EF4-FFF2-40B4-BE49-F238E27FC236}">
                      <a16:creationId xmlns:a16="http://schemas.microsoft.com/office/drawing/2014/main" id="{1F9CDCFF-D2E2-DD95-E65C-8DD2C734F6F3}"/>
                    </a:ext>
                  </a:extLst>
                </p:cNvPr>
                <p:cNvSpPr>
                  <a:spLocks/>
                </p:cNvSpPr>
                <p:nvPr/>
              </p:nvSpPr>
              <p:spPr bwMode="auto">
                <a:xfrm>
                  <a:off x="5580" y="3578"/>
                  <a:ext cx="24" cy="72"/>
                </a:xfrm>
                <a:custGeom>
                  <a:avLst/>
                  <a:gdLst>
                    <a:gd name="T0" fmla="*/ 8 w 12"/>
                    <a:gd name="T1" fmla="*/ 36 h 36"/>
                    <a:gd name="T2" fmla="*/ 1 w 12"/>
                    <a:gd name="T3" fmla="*/ 19 h 36"/>
                    <a:gd name="T4" fmla="*/ 4 w 12"/>
                    <a:gd name="T5" fmla="*/ 0 h 36"/>
                    <a:gd name="T6" fmla="*/ 12 w 12"/>
                    <a:gd name="T7" fmla="*/ 18 h 36"/>
                    <a:gd name="T8" fmla="*/ 8 w 12"/>
                    <a:gd name="T9" fmla="*/ 36 h 36"/>
                  </a:gdLst>
                  <a:ahLst/>
                  <a:cxnLst>
                    <a:cxn ang="0">
                      <a:pos x="T0" y="T1"/>
                    </a:cxn>
                    <a:cxn ang="0">
                      <a:pos x="T2" y="T3"/>
                    </a:cxn>
                    <a:cxn ang="0">
                      <a:pos x="T4" y="T5"/>
                    </a:cxn>
                    <a:cxn ang="0">
                      <a:pos x="T6" y="T7"/>
                    </a:cxn>
                    <a:cxn ang="0">
                      <a:pos x="T8" y="T9"/>
                    </a:cxn>
                  </a:cxnLst>
                  <a:rect l="0" t="0" r="r" b="b"/>
                  <a:pathLst>
                    <a:path w="12" h="36">
                      <a:moveTo>
                        <a:pt x="8" y="36"/>
                      </a:moveTo>
                      <a:cubicBezTo>
                        <a:pt x="5" y="36"/>
                        <a:pt x="2" y="29"/>
                        <a:pt x="1" y="19"/>
                      </a:cubicBezTo>
                      <a:cubicBezTo>
                        <a:pt x="0" y="9"/>
                        <a:pt x="1" y="1"/>
                        <a:pt x="4" y="0"/>
                      </a:cubicBezTo>
                      <a:cubicBezTo>
                        <a:pt x="7" y="0"/>
                        <a:pt x="11" y="8"/>
                        <a:pt x="12" y="18"/>
                      </a:cubicBezTo>
                      <a:cubicBezTo>
                        <a:pt x="12" y="27"/>
                        <a:pt x="11" y="36"/>
                        <a:pt x="8" y="36"/>
                      </a:cubicBezTo>
                      <a:close/>
                    </a:path>
                  </a:pathLst>
                </a:custGeom>
                <a:solidFill>
                  <a:srgbClr val="B511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103" name="Freeform 314">
                  <a:extLst>
                    <a:ext uri="{FF2B5EF4-FFF2-40B4-BE49-F238E27FC236}">
                      <a16:creationId xmlns:a16="http://schemas.microsoft.com/office/drawing/2014/main" id="{27928E73-AD26-057A-3A4B-AF0501B85C70}"/>
                    </a:ext>
                  </a:extLst>
                </p:cNvPr>
                <p:cNvSpPr>
                  <a:spLocks/>
                </p:cNvSpPr>
                <p:nvPr/>
              </p:nvSpPr>
              <p:spPr bwMode="auto">
                <a:xfrm>
                  <a:off x="5580" y="3578"/>
                  <a:ext cx="24" cy="72"/>
                </a:xfrm>
                <a:custGeom>
                  <a:avLst/>
                  <a:gdLst>
                    <a:gd name="T0" fmla="*/ 8 w 12"/>
                    <a:gd name="T1" fmla="*/ 36 h 36"/>
                    <a:gd name="T2" fmla="*/ 1 w 12"/>
                    <a:gd name="T3" fmla="*/ 19 h 36"/>
                    <a:gd name="T4" fmla="*/ 4 w 12"/>
                    <a:gd name="T5" fmla="*/ 1 h 36"/>
                    <a:gd name="T6" fmla="*/ 12 w 12"/>
                    <a:gd name="T7" fmla="*/ 18 h 36"/>
                    <a:gd name="T8" fmla="*/ 8 w 12"/>
                    <a:gd name="T9" fmla="*/ 36 h 36"/>
                  </a:gdLst>
                  <a:ahLst/>
                  <a:cxnLst>
                    <a:cxn ang="0">
                      <a:pos x="T0" y="T1"/>
                    </a:cxn>
                    <a:cxn ang="0">
                      <a:pos x="T2" y="T3"/>
                    </a:cxn>
                    <a:cxn ang="0">
                      <a:pos x="T4" y="T5"/>
                    </a:cxn>
                    <a:cxn ang="0">
                      <a:pos x="T6" y="T7"/>
                    </a:cxn>
                    <a:cxn ang="0">
                      <a:pos x="T8" y="T9"/>
                    </a:cxn>
                  </a:cxnLst>
                  <a:rect l="0" t="0" r="r" b="b"/>
                  <a:pathLst>
                    <a:path w="12" h="36">
                      <a:moveTo>
                        <a:pt x="8" y="36"/>
                      </a:moveTo>
                      <a:cubicBezTo>
                        <a:pt x="5" y="36"/>
                        <a:pt x="2" y="28"/>
                        <a:pt x="1" y="19"/>
                      </a:cubicBezTo>
                      <a:cubicBezTo>
                        <a:pt x="0" y="9"/>
                        <a:pt x="1" y="1"/>
                        <a:pt x="4" y="1"/>
                      </a:cubicBezTo>
                      <a:cubicBezTo>
                        <a:pt x="7" y="0"/>
                        <a:pt x="11" y="8"/>
                        <a:pt x="12" y="18"/>
                      </a:cubicBezTo>
                      <a:cubicBezTo>
                        <a:pt x="12" y="27"/>
                        <a:pt x="11" y="35"/>
                        <a:pt x="8" y="36"/>
                      </a:cubicBezTo>
                      <a:close/>
                    </a:path>
                  </a:pathLst>
                </a:custGeom>
                <a:solidFill>
                  <a:srgbClr val="B612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104" name="Freeform 315">
                  <a:extLst>
                    <a:ext uri="{FF2B5EF4-FFF2-40B4-BE49-F238E27FC236}">
                      <a16:creationId xmlns:a16="http://schemas.microsoft.com/office/drawing/2014/main" id="{2B1CF6CE-E8D8-2244-D699-50CBA977A084}"/>
                    </a:ext>
                  </a:extLst>
                </p:cNvPr>
                <p:cNvSpPr>
                  <a:spLocks/>
                </p:cNvSpPr>
                <p:nvPr/>
              </p:nvSpPr>
              <p:spPr bwMode="auto">
                <a:xfrm>
                  <a:off x="5580" y="3580"/>
                  <a:ext cx="24" cy="70"/>
                </a:xfrm>
                <a:custGeom>
                  <a:avLst/>
                  <a:gdLst>
                    <a:gd name="T0" fmla="*/ 8 w 12"/>
                    <a:gd name="T1" fmla="*/ 35 h 35"/>
                    <a:gd name="T2" fmla="*/ 1 w 12"/>
                    <a:gd name="T3" fmla="*/ 18 h 35"/>
                    <a:gd name="T4" fmla="*/ 4 w 12"/>
                    <a:gd name="T5" fmla="*/ 0 h 35"/>
                    <a:gd name="T6" fmla="*/ 11 w 12"/>
                    <a:gd name="T7" fmla="*/ 17 h 35"/>
                    <a:gd name="T8" fmla="*/ 8 w 12"/>
                    <a:gd name="T9" fmla="*/ 35 h 35"/>
                  </a:gdLst>
                  <a:ahLst/>
                  <a:cxnLst>
                    <a:cxn ang="0">
                      <a:pos x="T0" y="T1"/>
                    </a:cxn>
                    <a:cxn ang="0">
                      <a:pos x="T2" y="T3"/>
                    </a:cxn>
                    <a:cxn ang="0">
                      <a:pos x="T4" y="T5"/>
                    </a:cxn>
                    <a:cxn ang="0">
                      <a:pos x="T6" y="T7"/>
                    </a:cxn>
                    <a:cxn ang="0">
                      <a:pos x="T8" y="T9"/>
                    </a:cxn>
                  </a:cxnLst>
                  <a:rect l="0" t="0" r="r" b="b"/>
                  <a:pathLst>
                    <a:path w="12" h="35">
                      <a:moveTo>
                        <a:pt x="8" y="35"/>
                      </a:moveTo>
                      <a:cubicBezTo>
                        <a:pt x="5" y="35"/>
                        <a:pt x="2" y="27"/>
                        <a:pt x="1" y="18"/>
                      </a:cubicBezTo>
                      <a:cubicBezTo>
                        <a:pt x="0" y="8"/>
                        <a:pt x="2" y="0"/>
                        <a:pt x="4" y="0"/>
                      </a:cubicBezTo>
                      <a:cubicBezTo>
                        <a:pt x="7" y="0"/>
                        <a:pt x="11" y="7"/>
                        <a:pt x="11" y="17"/>
                      </a:cubicBezTo>
                      <a:cubicBezTo>
                        <a:pt x="12" y="26"/>
                        <a:pt x="11" y="34"/>
                        <a:pt x="8" y="35"/>
                      </a:cubicBezTo>
                      <a:close/>
                    </a:path>
                  </a:pathLst>
                </a:custGeom>
                <a:solidFill>
                  <a:srgbClr val="B713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105" name="Freeform 316">
                  <a:extLst>
                    <a:ext uri="{FF2B5EF4-FFF2-40B4-BE49-F238E27FC236}">
                      <a16:creationId xmlns:a16="http://schemas.microsoft.com/office/drawing/2014/main" id="{382714C4-4C49-F23D-146F-25338C4D5F0F}"/>
                    </a:ext>
                  </a:extLst>
                </p:cNvPr>
                <p:cNvSpPr>
                  <a:spLocks/>
                </p:cNvSpPr>
                <p:nvPr/>
              </p:nvSpPr>
              <p:spPr bwMode="auto">
                <a:xfrm>
                  <a:off x="5580" y="3580"/>
                  <a:ext cx="24" cy="70"/>
                </a:xfrm>
                <a:custGeom>
                  <a:avLst/>
                  <a:gdLst>
                    <a:gd name="T0" fmla="*/ 8 w 12"/>
                    <a:gd name="T1" fmla="*/ 34 h 35"/>
                    <a:gd name="T2" fmla="*/ 1 w 12"/>
                    <a:gd name="T3" fmla="*/ 18 h 35"/>
                    <a:gd name="T4" fmla="*/ 5 w 12"/>
                    <a:gd name="T5" fmla="*/ 0 h 35"/>
                    <a:gd name="T6" fmla="*/ 11 w 12"/>
                    <a:gd name="T7" fmla="*/ 17 h 35"/>
                    <a:gd name="T8" fmla="*/ 8 w 12"/>
                    <a:gd name="T9" fmla="*/ 34 h 35"/>
                  </a:gdLst>
                  <a:ahLst/>
                  <a:cxnLst>
                    <a:cxn ang="0">
                      <a:pos x="T0" y="T1"/>
                    </a:cxn>
                    <a:cxn ang="0">
                      <a:pos x="T2" y="T3"/>
                    </a:cxn>
                    <a:cxn ang="0">
                      <a:pos x="T4" y="T5"/>
                    </a:cxn>
                    <a:cxn ang="0">
                      <a:pos x="T6" y="T7"/>
                    </a:cxn>
                    <a:cxn ang="0">
                      <a:pos x="T8" y="T9"/>
                    </a:cxn>
                  </a:cxnLst>
                  <a:rect l="0" t="0" r="r" b="b"/>
                  <a:pathLst>
                    <a:path w="12" h="35">
                      <a:moveTo>
                        <a:pt x="8" y="34"/>
                      </a:moveTo>
                      <a:cubicBezTo>
                        <a:pt x="5" y="35"/>
                        <a:pt x="2" y="27"/>
                        <a:pt x="1" y="18"/>
                      </a:cubicBezTo>
                      <a:cubicBezTo>
                        <a:pt x="0" y="8"/>
                        <a:pt x="2" y="0"/>
                        <a:pt x="5" y="0"/>
                      </a:cubicBezTo>
                      <a:cubicBezTo>
                        <a:pt x="7" y="0"/>
                        <a:pt x="10" y="7"/>
                        <a:pt x="11" y="17"/>
                      </a:cubicBezTo>
                      <a:cubicBezTo>
                        <a:pt x="12" y="26"/>
                        <a:pt x="11" y="34"/>
                        <a:pt x="8" y="34"/>
                      </a:cubicBezTo>
                      <a:close/>
                    </a:path>
                  </a:pathLst>
                </a:custGeom>
                <a:solidFill>
                  <a:srgbClr val="B713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106" name="Freeform 317">
                  <a:extLst>
                    <a:ext uri="{FF2B5EF4-FFF2-40B4-BE49-F238E27FC236}">
                      <a16:creationId xmlns:a16="http://schemas.microsoft.com/office/drawing/2014/main" id="{B736D20F-97BB-2C97-B447-0AF268FF1D51}"/>
                    </a:ext>
                  </a:extLst>
                </p:cNvPr>
                <p:cNvSpPr>
                  <a:spLocks/>
                </p:cNvSpPr>
                <p:nvPr/>
              </p:nvSpPr>
              <p:spPr bwMode="auto">
                <a:xfrm>
                  <a:off x="5580" y="3580"/>
                  <a:ext cx="24" cy="68"/>
                </a:xfrm>
                <a:custGeom>
                  <a:avLst/>
                  <a:gdLst>
                    <a:gd name="T0" fmla="*/ 8 w 12"/>
                    <a:gd name="T1" fmla="*/ 34 h 34"/>
                    <a:gd name="T2" fmla="*/ 1 w 12"/>
                    <a:gd name="T3" fmla="*/ 18 h 34"/>
                    <a:gd name="T4" fmla="*/ 5 w 12"/>
                    <a:gd name="T5" fmla="*/ 0 h 34"/>
                    <a:gd name="T6" fmla="*/ 11 w 12"/>
                    <a:gd name="T7" fmla="*/ 17 h 34"/>
                    <a:gd name="T8" fmla="*/ 8 w 12"/>
                    <a:gd name="T9" fmla="*/ 34 h 34"/>
                  </a:gdLst>
                  <a:ahLst/>
                  <a:cxnLst>
                    <a:cxn ang="0">
                      <a:pos x="T0" y="T1"/>
                    </a:cxn>
                    <a:cxn ang="0">
                      <a:pos x="T2" y="T3"/>
                    </a:cxn>
                    <a:cxn ang="0">
                      <a:pos x="T4" y="T5"/>
                    </a:cxn>
                    <a:cxn ang="0">
                      <a:pos x="T6" y="T7"/>
                    </a:cxn>
                    <a:cxn ang="0">
                      <a:pos x="T8" y="T9"/>
                    </a:cxn>
                  </a:cxnLst>
                  <a:rect l="0" t="0" r="r" b="b"/>
                  <a:pathLst>
                    <a:path w="12" h="34">
                      <a:moveTo>
                        <a:pt x="8" y="34"/>
                      </a:moveTo>
                      <a:cubicBezTo>
                        <a:pt x="5" y="34"/>
                        <a:pt x="2" y="27"/>
                        <a:pt x="1" y="18"/>
                      </a:cubicBezTo>
                      <a:cubicBezTo>
                        <a:pt x="0" y="8"/>
                        <a:pt x="2" y="1"/>
                        <a:pt x="5" y="0"/>
                      </a:cubicBezTo>
                      <a:cubicBezTo>
                        <a:pt x="7" y="0"/>
                        <a:pt x="10" y="7"/>
                        <a:pt x="11" y="17"/>
                      </a:cubicBezTo>
                      <a:cubicBezTo>
                        <a:pt x="12" y="26"/>
                        <a:pt x="11" y="34"/>
                        <a:pt x="8" y="34"/>
                      </a:cubicBezTo>
                      <a:close/>
                    </a:path>
                  </a:pathLst>
                </a:custGeom>
                <a:solidFill>
                  <a:srgbClr val="B814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107" name="Freeform 318">
                  <a:extLst>
                    <a:ext uri="{FF2B5EF4-FFF2-40B4-BE49-F238E27FC236}">
                      <a16:creationId xmlns:a16="http://schemas.microsoft.com/office/drawing/2014/main" id="{9DEF6102-EE15-9EB3-FEE4-3C5227FBA277}"/>
                    </a:ext>
                  </a:extLst>
                </p:cNvPr>
                <p:cNvSpPr>
                  <a:spLocks/>
                </p:cNvSpPr>
                <p:nvPr/>
              </p:nvSpPr>
              <p:spPr bwMode="auto">
                <a:xfrm>
                  <a:off x="5580" y="3580"/>
                  <a:ext cx="24" cy="68"/>
                </a:xfrm>
                <a:custGeom>
                  <a:avLst/>
                  <a:gdLst>
                    <a:gd name="T0" fmla="*/ 8 w 12"/>
                    <a:gd name="T1" fmla="*/ 34 h 34"/>
                    <a:gd name="T2" fmla="*/ 1 w 12"/>
                    <a:gd name="T3" fmla="*/ 18 h 34"/>
                    <a:gd name="T4" fmla="*/ 5 w 12"/>
                    <a:gd name="T5" fmla="*/ 1 h 34"/>
                    <a:gd name="T6" fmla="*/ 11 w 12"/>
                    <a:gd name="T7" fmla="*/ 17 h 34"/>
                    <a:gd name="T8" fmla="*/ 8 w 12"/>
                    <a:gd name="T9" fmla="*/ 34 h 34"/>
                  </a:gdLst>
                  <a:ahLst/>
                  <a:cxnLst>
                    <a:cxn ang="0">
                      <a:pos x="T0" y="T1"/>
                    </a:cxn>
                    <a:cxn ang="0">
                      <a:pos x="T2" y="T3"/>
                    </a:cxn>
                    <a:cxn ang="0">
                      <a:pos x="T4" y="T5"/>
                    </a:cxn>
                    <a:cxn ang="0">
                      <a:pos x="T6" y="T7"/>
                    </a:cxn>
                    <a:cxn ang="0">
                      <a:pos x="T8" y="T9"/>
                    </a:cxn>
                  </a:cxnLst>
                  <a:rect l="0" t="0" r="r" b="b"/>
                  <a:pathLst>
                    <a:path w="12" h="34">
                      <a:moveTo>
                        <a:pt x="8" y="34"/>
                      </a:moveTo>
                      <a:cubicBezTo>
                        <a:pt x="5" y="34"/>
                        <a:pt x="2" y="27"/>
                        <a:pt x="1" y="18"/>
                      </a:cubicBezTo>
                      <a:cubicBezTo>
                        <a:pt x="0" y="9"/>
                        <a:pt x="2" y="1"/>
                        <a:pt x="5" y="1"/>
                      </a:cubicBezTo>
                      <a:cubicBezTo>
                        <a:pt x="7" y="0"/>
                        <a:pt x="10" y="8"/>
                        <a:pt x="11" y="17"/>
                      </a:cubicBezTo>
                      <a:cubicBezTo>
                        <a:pt x="12" y="26"/>
                        <a:pt x="10" y="34"/>
                        <a:pt x="8" y="34"/>
                      </a:cubicBezTo>
                      <a:close/>
                    </a:path>
                  </a:pathLst>
                </a:custGeom>
                <a:solidFill>
                  <a:srgbClr val="B915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108" name="Freeform 319">
                  <a:extLst>
                    <a:ext uri="{FF2B5EF4-FFF2-40B4-BE49-F238E27FC236}">
                      <a16:creationId xmlns:a16="http://schemas.microsoft.com/office/drawing/2014/main" id="{1EB17CB0-AE94-5B8B-967C-F184C7714F9F}"/>
                    </a:ext>
                  </a:extLst>
                </p:cNvPr>
                <p:cNvSpPr>
                  <a:spLocks/>
                </p:cNvSpPr>
                <p:nvPr/>
              </p:nvSpPr>
              <p:spPr bwMode="auto">
                <a:xfrm>
                  <a:off x="5580" y="3582"/>
                  <a:ext cx="24" cy="66"/>
                </a:xfrm>
                <a:custGeom>
                  <a:avLst/>
                  <a:gdLst>
                    <a:gd name="T0" fmla="*/ 8 w 12"/>
                    <a:gd name="T1" fmla="*/ 33 h 33"/>
                    <a:gd name="T2" fmla="*/ 1 w 12"/>
                    <a:gd name="T3" fmla="*/ 17 h 33"/>
                    <a:gd name="T4" fmla="*/ 5 w 12"/>
                    <a:gd name="T5" fmla="*/ 0 h 33"/>
                    <a:gd name="T6" fmla="*/ 11 w 12"/>
                    <a:gd name="T7" fmla="*/ 16 h 33"/>
                    <a:gd name="T8" fmla="*/ 8 w 12"/>
                    <a:gd name="T9" fmla="*/ 33 h 33"/>
                  </a:gdLst>
                  <a:ahLst/>
                  <a:cxnLst>
                    <a:cxn ang="0">
                      <a:pos x="T0" y="T1"/>
                    </a:cxn>
                    <a:cxn ang="0">
                      <a:pos x="T2" y="T3"/>
                    </a:cxn>
                    <a:cxn ang="0">
                      <a:pos x="T4" y="T5"/>
                    </a:cxn>
                    <a:cxn ang="0">
                      <a:pos x="T6" y="T7"/>
                    </a:cxn>
                    <a:cxn ang="0">
                      <a:pos x="T8" y="T9"/>
                    </a:cxn>
                  </a:cxnLst>
                  <a:rect l="0" t="0" r="r" b="b"/>
                  <a:pathLst>
                    <a:path w="12" h="33">
                      <a:moveTo>
                        <a:pt x="8" y="33"/>
                      </a:moveTo>
                      <a:cubicBezTo>
                        <a:pt x="5" y="33"/>
                        <a:pt x="2" y="26"/>
                        <a:pt x="1" y="17"/>
                      </a:cubicBezTo>
                      <a:cubicBezTo>
                        <a:pt x="0" y="8"/>
                        <a:pt x="2" y="0"/>
                        <a:pt x="5" y="0"/>
                      </a:cubicBezTo>
                      <a:cubicBezTo>
                        <a:pt x="7" y="0"/>
                        <a:pt x="10" y="7"/>
                        <a:pt x="11" y="16"/>
                      </a:cubicBezTo>
                      <a:cubicBezTo>
                        <a:pt x="12" y="25"/>
                        <a:pt x="10" y="32"/>
                        <a:pt x="8" y="33"/>
                      </a:cubicBezTo>
                      <a:close/>
                    </a:path>
                  </a:pathLst>
                </a:custGeom>
                <a:solidFill>
                  <a:srgbClr val="B916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109" name="Freeform 320">
                  <a:extLst>
                    <a:ext uri="{FF2B5EF4-FFF2-40B4-BE49-F238E27FC236}">
                      <a16:creationId xmlns:a16="http://schemas.microsoft.com/office/drawing/2014/main" id="{385F7F05-99A4-7D2C-4D65-0B7F0CB16FA4}"/>
                    </a:ext>
                  </a:extLst>
                </p:cNvPr>
                <p:cNvSpPr>
                  <a:spLocks/>
                </p:cNvSpPr>
                <p:nvPr/>
              </p:nvSpPr>
              <p:spPr bwMode="auto">
                <a:xfrm>
                  <a:off x="5580" y="3582"/>
                  <a:ext cx="24" cy="66"/>
                </a:xfrm>
                <a:custGeom>
                  <a:avLst/>
                  <a:gdLst>
                    <a:gd name="T0" fmla="*/ 8 w 12"/>
                    <a:gd name="T1" fmla="*/ 32 h 33"/>
                    <a:gd name="T2" fmla="*/ 1 w 12"/>
                    <a:gd name="T3" fmla="*/ 17 h 33"/>
                    <a:gd name="T4" fmla="*/ 5 w 12"/>
                    <a:gd name="T5" fmla="*/ 0 h 33"/>
                    <a:gd name="T6" fmla="*/ 11 w 12"/>
                    <a:gd name="T7" fmla="*/ 16 h 33"/>
                    <a:gd name="T8" fmla="*/ 8 w 12"/>
                    <a:gd name="T9" fmla="*/ 32 h 33"/>
                  </a:gdLst>
                  <a:ahLst/>
                  <a:cxnLst>
                    <a:cxn ang="0">
                      <a:pos x="T0" y="T1"/>
                    </a:cxn>
                    <a:cxn ang="0">
                      <a:pos x="T2" y="T3"/>
                    </a:cxn>
                    <a:cxn ang="0">
                      <a:pos x="T4" y="T5"/>
                    </a:cxn>
                    <a:cxn ang="0">
                      <a:pos x="T6" y="T7"/>
                    </a:cxn>
                    <a:cxn ang="0">
                      <a:pos x="T8" y="T9"/>
                    </a:cxn>
                  </a:cxnLst>
                  <a:rect l="0" t="0" r="r" b="b"/>
                  <a:pathLst>
                    <a:path w="12" h="33">
                      <a:moveTo>
                        <a:pt x="8" y="32"/>
                      </a:moveTo>
                      <a:cubicBezTo>
                        <a:pt x="5" y="33"/>
                        <a:pt x="2" y="26"/>
                        <a:pt x="1" y="17"/>
                      </a:cubicBezTo>
                      <a:cubicBezTo>
                        <a:pt x="0" y="8"/>
                        <a:pt x="2" y="0"/>
                        <a:pt x="5" y="0"/>
                      </a:cubicBezTo>
                      <a:cubicBezTo>
                        <a:pt x="7" y="0"/>
                        <a:pt x="10" y="7"/>
                        <a:pt x="11" y="16"/>
                      </a:cubicBezTo>
                      <a:cubicBezTo>
                        <a:pt x="12" y="25"/>
                        <a:pt x="10" y="32"/>
                        <a:pt x="8" y="32"/>
                      </a:cubicBezTo>
                      <a:close/>
                    </a:path>
                  </a:pathLst>
                </a:custGeom>
                <a:solidFill>
                  <a:srgbClr val="BA17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110" name="Freeform 321">
                  <a:extLst>
                    <a:ext uri="{FF2B5EF4-FFF2-40B4-BE49-F238E27FC236}">
                      <a16:creationId xmlns:a16="http://schemas.microsoft.com/office/drawing/2014/main" id="{F0A3333A-BF30-0D43-7929-5C5D968E5968}"/>
                    </a:ext>
                  </a:extLst>
                </p:cNvPr>
                <p:cNvSpPr>
                  <a:spLocks/>
                </p:cNvSpPr>
                <p:nvPr/>
              </p:nvSpPr>
              <p:spPr bwMode="auto">
                <a:xfrm>
                  <a:off x="5580" y="3582"/>
                  <a:ext cx="24" cy="64"/>
                </a:xfrm>
                <a:custGeom>
                  <a:avLst/>
                  <a:gdLst>
                    <a:gd name="T0" fmla="*/ 8 w 12"/>
                    <a:gd name="T1" fmla="*/ 32 h 32"/>
                    <a:gd name="T2" fmla="*/ 1 w 12"/>
                    <a:gd name="T3" fmla="*/ 17 h 32"/>
                    <a:gd name="T4" fmla="*/ 5 w 12"/>
                    <a:gd name="T5" fmla="*/ 0 h 32"/>
                    <a:gd name="T6" fmla="*/ 11 w 12"/>
                    <a:gd name="T7" fmla="*/ 16 h 32"/>
                    <a:gd name="T8" fmla="*/ 8 w 12"/>
                    <a:gd name="T9" fmla="*/ 32 h 32"/>
                  </a:gdLst>
                  <a:ahLst/>
                  <a:cxnLst>
                    <a:cxn ang="0">
                      <a:pos x="T0" y="T1"/>
                    </a:cxn>
                    <a:cxn ang="0">
                      <a:pos x="T2" y="T3"/>
                    </a:cxn>
                    <a:cxn ang="0">
                      <a:pos x="T4" y="T5"/>
                    </a:cxn>
                    <a:cxn ang="0">
                      <a:pos x="T6" y="T7"/>
                    </a:cxn>
                    <a:cxn ang="0">
                      <a:pos x="T8" y="T9"/>
                    </a:cxn>
                  </a:cxnLst>
                  <a:rect l="0" t="0" r="r" b="b"/>
                  <a:pathLst>
                    <a:path w="12" h="32">
                      <a:moveTo>
                        <a:pt x="8" y="32"/>
                      </a:moveTo>
                      <a:cubicBezTo>
                        <a:pt x="5" y="32"/>
                        <a:pt x="2" y="26"/>
                        <a:pt x="1" y="17"/>
                      </a:cubicBezTo>
                      <a:cubicBezTo>
                        <a:pt x="0" y="8"/>
                        <a:pt x="2" y="0"/>
                        <a:pt x="5" y="0"/>
                      </a:cubicBezTo>
                      <a:cubicBezTo>
                        <a:pt x="7" y="0"/>
                        <a:pt x="10" y="7"/>
                        <a:pt x="11" y="16"/>
                      </a:cubicBezTo>
                      <a:cubicBezTo>
                        <a:pt x="12" y="25"/>
                        <a:pt x="10" y="32"/>
                        <a:pt x="8" y="32"/>
                      </a:cubicBezTo>
                      <a:close/>
                    </a:path>
                  </a:pathLst>
                </a:custGeom>
                <a:solidFill>
                  <a:srgbClr val="BB17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111" name="Freeform 322">
                  <a:extLst>
                    <a:ext uri="{FF2B5EF4-FFF2-40B4-BE49-F238E27FC236}">
                      <a16:creationId xmlns:a16="http://schemas.microsoft.com/office/drawing/2014/main" id="{D0DAAEF9-E521-8D1F-EC21-4A0CA60ADBE2}"/>
                    </a:ext>
                  </a:extLst>
                </p:cNvPr>
                <p:cNvSpPr>
                  <a:spLocks/>
                </p:cNvSpPr>
                <p:nvPr/>
              </p:nvSpPr>
              <p:spPr bwMode="auto">
                <a:xfrm>
                  <a:off x="5580" y="3582"/>
                  <a:ext cx="24" cy="64"/>
                </a:xfrm>
                <a:custGeom>
                  <a:avLst/>
                  <a:gdLst>
                    <a:gd name="T0" fmla="*/ 8 w 12"/>
                    <a:gd name="T1" fmla="*/ 32 h 32"/>
                    <a:gd name="T2" fmla="*/ 1 w 12"/>
                    <a:gd name="T3" fmla="*/ 17 h 32"/>
                    <a:gd name="T4" fmla="*/ 5 w 12"/>
                    <a:gd name="T5" fmla="*/ 0 h 32"/>
                    <a:gd name="T6" fmla="*/ 11 w 12"/>
                    <a:gd name="T7" fmla="*/ 16 h 32"/>
                    <a:gd name="T8" fmla="*/ 8 w 12"/>
                    <a:gd name="T9" fmla="*/ 32 h 32"/>
                  </a:gdLst>
                  <a:ahLst/>
                  <a:cxnLst>
                    <a:cxn ang="0">
                      <a:pos x="T0" y="T1"/>
                    </a:cxn>
                    <a:cxn ang="0">
                      <a:pos x="T2" y="T3"/>
                    </a:cxn>
                    <a:cxn ang="0">
                      <a:pos x="T4" y="T5"/>
                    </a:cxn>
                    <a:cxn ang="0">
                      <a:pos x="T6" y="T7"/>
                    </a:cxn>
                    <a:cxn ang="0">
                      <a:pos x="T8" y="T9"/>
                    </a:cxn>
                  </a:cxnLst>
                  <a:rect l="0" t="0" r="r" b="b"/>
                  <a:pathLst>
                    <a:path w="12" h="32">
                      <a:moveTo>
                        <a:pt x="8" y="32"/>
                      </a:moveTo>
                      <a:cubicBezTo>
                        <a:pt x="5" y="32"/>
                        <a:pt x="2" y="25"/>
                        <a:pt x="1" y="17"/>
                      </a:cubicBezTo>
                      <a:cubicBezTo>
                        <a:pt x="0" y="8"/>
                        <a:pt x="2" y="1"/>
                        <a:pt x="5" y="0"/>
                      </a:cubicBezTo>
                      <a:cubicBezTo>
                        <a:pt x="7" y="0"/>
                        <a:pt x="10" y="7"/>
                        <a:pt x="11" y="16"/>
                      </a:cubicBezTo>
                      <a:cubicBezTo>
                        <a:pt x="12" y="24"/>
                        <a:pt x="10" y="32"/>
                        <a:pt x="8" y="32"/>
                      </a:cubicBezTo>
                      <a:close/>
                    </a:path>
                  </a:pathLst>
                </a:custGeom>
                <a:solidFill>
                  <a:srgbClr val="BC182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112" name="Freeform 323">
                  <a:extLst>
                    <a:ext uri="{FF2B5EF4-FFF2-40B4-BE49-F238E27FC236}">
                      <a16:creationId xmlns:a16="http://schemas.microsoft.com/office/drawing/2014/main" id="{03072E02-8933-32F4-A8AE-5CF276351991}"/>
                    </a:ext>
                  </a:extLst>
                </p:cNvPr>
                <p:cNvSpPr>
                  <a:spLocks/>
                </p:cNvSpPr>
                <p:nvPr/>
              </p:nvSpPr>
              <p:spPr bwMode="auto">
                <a:xfrm>
                  <a:off x="5580" y="3582"/>
                  <a:ext cx="24" cy="64"/>
                </a:xfrm>
                <a:custGeom>
                  <a:avLst/>
                  <a:gdLst>
                    <a:gd name="T0" fmla="*/ 8 w 12"/>
                    <a:gd name="T1" fmla="*/ 32 h 32"/>
                    <a:gd name="T2" fmla="*/ 1 w 12"/>
                    <a:gd name="T3" fmla="*/ 17 h 32"/>
                    <a:gd name="T4" fmla="*/ 5 w 12"/>
                    <a:gd name="T5" fmla="*/ 1 h 32"/>
                    <a:gd name="T6" fmla="*/ 11 w 12"/>
                    <a:gd name="T7" fmla="*/ 16 h 32"/>
                    <a:gd name="T8" fmla="*/ 8 w 12"/>
                    <a:gd name="T9" fmla="*/ 32 h 32"/>
                  </a:gdLst>
                  <a:ahLst/>
                  <a:cxnLst>
                    <a:cxn ang="0">
                      <a:pos x="T0" y="T1"/>
                    </a:cxn>
                    <a:cxn ang="0">
                      <a:pos x="T2" y="T3"/>
                    </a:cxn>
                    <a:cxn ang="0">
                      <a:pos x="T4" y="T5"/>
                    </a:cxn>
                    <a:cxn ang="0">
                      <a:pos x="T6" y="T7"/>
                    </a:cxn>
                    <a:cxn ang="0">
                      <a:pos x="T8" y="T9"/>
                    </a:cxn>
                  </a:cxnLst>
                  <a:rect l="0" t="0" r="r" b="b"/>
                  <a:pathLst>
                    <a:path w="12" h="32">
                      <a:moveTo>
                        <a:pt x="8" y="32"/>
                      </a:moveTo>
                      <a:cubicBezTo>
                        <a:pt x="5" y="32"/>
                        <a:pt x="2" y="25"/>
                        <a:pt x="1" y="17"/>
                      </a:cubicBezTo>
                      <a:cubicBezTo>
                        <a:pt x="0" y="8"/>
                        <a:pt x="2" y="1"/>
                        <a:pt x="5" y="1"/>
                      </a:cubicBezTo>
                      <a:cubicBezTo>
                        <a:pt x="7" y="0"/>
                        <a:pt x="10" y="7"/>
                        <a:pt x="11" y="16"/>
                      </a:cubicBezTo>
                      <a:cubicBezTo>
                        <a:pt x="12" y="24"/>
                        <a:pt x="10" y="32"/>
                        <a:pt x="8" y="32"/>
                      </a:cubicBezTo>
                      <a:close/>
                    </a:path>
                  </a:pathLst>
                </a:custGeom>
                <a:solidFill>
                  <a:srgbClr val="BC19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113" name="Freeform 324">
                  <a:extLst>
                    <a:ext uri="{FF2B5EF4-FFF2-40B4-BE49-F238E27FC236}">
                      <a16:creationId xmlns:a16="http://schemas.microsoft.com/office/drawing/2014/main" id="{DBBE0DD4-72D4-4F20-FE39-18C098852BD0}"/>
                    </a:ext>
                  </a:extLst>
                </p:cNvPr>
                <p:cNvSpPr>
                  <a:spLocks/>
                </p:cNvSpPr>
                <p:nvPr/>
              </p:nvSpPr>
              <p:spPr bwMode="auto">
                <a:xfrm>
                  <a:off x="5582" y="3584"/>
                  <a:ext cx="22" cy="62"/>
                </a:xfrm>
                <a:custGeom>
                  <a:avLst/>
                  <a:gdLst>
                    <a:gd name="T0" fmla="*/ 7 w 11"/>
                    <a:gd name="T1" fmla="*/ 31 h 31"/>
                    <a:gd name="T2" fmla="*/ 0 w 11"/>
                    <a:gd name="T3" fmla="*/ 16 h 31"/>
                    <a:gd name="T4" fmla="*/ 4 w 11"/>
                    <a:gd name="T5" fmla="*/ 0 h 31"/>
                    <a:gd name="T6" fmla="*/ 10 w 11"/>
                    <a:gd name="T7" fmla="*/ 15 h 31"/>
                    <a:gd name="T8" fmla="*/ 7 w 11"/>
                    <a:gd name="T9" fmla="*/ 31 h 31"/>
                  </a:gdLst>
                  <a:ahLst/>
                  <a:cxnLst>
                    <a:cxn ang="0">
                      <a:pos x="T0" y="T1"/>
                    </a:cxn>
                    <a:cxn ang="0">
                      <a:pos x="T2" y="T3"/>
                    </a:cxn>
                    <a:cxn ang="0">
                      <a:pos x="T4" y="T5"/>
                    </a:cxn>
                    <a:cxn ang="0">
                      <a:pos x="T6" y="T7"/>
                    </a:cxn>
                    <a:cxn ang="0">
                      <a:pos x="T8" y="T9"/>
                    </a:cxn>
                  </a:cxnLst>
                  <a:rect l="0" t="0" r="r" b="b"/>
                  <a:pathLst>
                    <a:path w="11" h="31">
                      <a:moveTo>
                        <a:pt x="7" y="31"/>
                      </a:moveTo>
                      <a:cubicBezTo>
                        <a:pt x="4" y="31"/>
                        <a:pt x="1" y="24"/>
                        <a:pt x="0" y="16"/>
                      </a:cubicBezTo>
                      <a:cubicBezTo>
                        <a:pt x="0" y="7"/>
                        <a:pt x="1" y="0"/>
                        <a:pt x="4" y="0"/>
                      </a:cubicBezTo>
                      <a:cubicBezTo>
                        <a:pt x="6" y="0"/>
                        <a:pt x="9" y="6"/>
                        <a:pt x="10" y="15"/>
                      </a:cubicBezTo>
                      <a:cubicBezTo>
                        <a:pt x="11" y="23"/>
                        <a:pt x="9" y="30"/>
                        <a:pt x="7" y="31"/>
                      </a:cubicBezTo>
                      <a:close/>
                    </a:path>
                  </a:pathLst>
                </a:custGeom>
                <a:solidFill>
                  <a:srgbClr val="BD1A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114" name="Freeform 325">
                  <a:extLst>
                    <a:ext uri="{FF2B5EF4-FFF2-40B4-BE49-F238E27FC236}">
                      <a16:creationId xmlns:a16="http://schemas.microsoft.com/office/drawing/2014/main" id="{2FD93FBF-0481-220C-9E5A-6B002092B258}"/>
                    </a:ext>
                  </a:extLst>
                </p:cNvPr>
                <p:cNvSpPr>
                  <a:spLocks/>
                </p:cNvSpPr>
                <p:nvPr/>
              </p:nvSpPr>
              <p:spPr bwMode="auto">
                <a:xfrm>
                  <a:off x="5582" y="3584"/>
                  <a:ext cx="22" cy="62"/>
                </a:xfrm>
                <a:custGeom>
                  <a:avLst/>
                  <a:gdLst>
                    <a:gd name="T0" fmla="*/ 7 w 11"/>
                    <a:gd name="T1" fmla="*/ 30 h 31"/>
                    <a:gd name="T2" fmla="*/ 0 w 11"/>
                    <a:gd name="T3" fmla="*/ 16 h 31"/>
                    <a:gd name="T4" fmla="*/ 4 w 11"/>
                    <a:gd name="T5" fmla="*/ 0 h 31"/>
                    <a:gd name="T6" fmla="*/ 10 w 11"/>
                    <a:gd name="T7" fmla="*/ 15 h 31"/>
                    <a:gd name="T8" fmla="*/ 7 w 11"/>
                    <a:gd name="T9" fmla="*/ 30 h 31"/>
                  </a:gdLst>
                  <a:ahLst/>
                  <a:cxnLst>
                    <a:cxn ang="0">
                      <a:pos x="T0" y="T1"/>
                    </a:cxn>
                    <a:cxn ang="0">
                      <a:pos x="T2" y="T3"/>
                    </a:cxn>
                    <a:cxn ang="0">
                      <a:pos x="T4" y="T5"/>
                    </a:cxn>
                    <a:cxn ang="0">
                      <a:pos x="T6" y="T7"/>
                    </a:cxn>
                    <a:cxn ang="0">
                      <a:pos x="T8" y="T9"/>
                    </a:cxn>
                  </a:cxnLst>
                  <a:rect l="0" t="0" r="r" b="b"/>
                  <a:pathLst>
                    <a:path w="11" h="31">
                      <a:moveTo>
                        <a:pt x="7" y="30"/>
                      </a:moveTo>
                      <a:cubicBezTo>
                        <a:pt x="4" y="31"/>
                        <a:pt x="1" y="24"/>
                        <a:pt x="0" y="16"/>
                      </a:cubicBezTo>
                      <a:cubicBezTo>
                        <a:pt x="0" y="7"/>
                        <a:pt x="1" y="0"/>
                        <a:pt x="4" y="0"/>
                      </a:cubicBezTo>
                      <a:cubicBezTo>
                        <a:pt x="6" y="0"/>
                        <a:pt x="9" y="6"/>
                        <a:pt x="10" y="15"/>
                      </a:cubicBezTo>
                      <a:cubicBezTo>
                        <a:pt x="11" y="23"/>
                        <a:pt x="9" y="30"/>
                        <a:pt x="7" y="30"/>
                      </a:cubicBezTo>
                      <a:close/>
                    </a:path>
                  </a:pathLst>
                </a:custGeom>
                <a:solidFill>
                  <a:srgbClr val="BE1B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115" name="Freeform 326">
                  <a:extLst>
                    <a:ext uri="{FF2B5EF4-FFF2-40B4-BE49-F238E27FC236}">
                      <a16:creationId xmlns:a16="http://schemas.microsoft.com/office/drawing/2014/main" id="{4AB09B55-CE9A-C3F0-370E-E150F144F21B}"/>
                    </a:ext>
                  </a:extLst>
                </p:cNvPr>
                <p:cNvSpPr>
                  <a:spLocks/>
                </p:cNvSpPr>
                <p:nvPr/>
              </p:nvSpPr>
              <p:spPr bwMode="auto">
                <a:xfrm>
                  <a:off x="5582" y="3584"/>
                  <a:ext cx="20" cy="60"/>
                </a:xfrm>
                <a:custGeom>
                  <a:avLst/>
                  <a:gdLst>
                    <a:gd name="T0" fmla="*/ 6 w 10"/>
                    <a:gd name="T1" fmla="*/ 30 h 30"/>
                    <a:gd name="T2" fmla="*/ 1 w 10"/>
                    <a:gd name="T3" fmla="*/ 16 h 30"/>
                    <a:gd name="T4" fmla="*/ 4 w 10"/>
                    <a:gd name="T5" fmla="*/ 0 h 30"/>
                    <a:gd name="T6" fmla="*/ 10 w 10"/>
                    <a:gd name="T7" fmla="*/ 15 h 30"/>
                    <a:gd name="T8" fmla="*/ 6 w 10"/>
                    <a:gd name="T9" fmla="*/ 30 h 30"/>
                  </a:gdLst>
                  <a:ahLst/>
                  <a:cxnLst>
                    <a:cxn ang="0">
                      <a:pos x="T0" y="T1"/>
                    </a:cxn>
                    <a:cxn ang="0">
                      <a:pos x="T2" y="T3"/>
                    </a:cxn>
                    <a:cxn ang="0">
                      <a:pos x="T4" y="T5"/>
                    </a:cxn>
                    <a:cxn ang="0">
                      <a:pos x="T6" y="T7"/>
                    </a:cxn>
                    <a:cxn ang="0">
                      <a:pos x="T8" y="T9"/>
                    </a:cxn>
                  </a:cxnLst>
                  <a:rect l="0" t="0" r="r" b="b"/>
                  <a:pathLst>
                    <a:path w="10" h="30">
                      <a:moveTo>
                        <a:pt x="6" y="30"/>
                      </a:moveTo>
                      <a:cubicBezTo>
                        <a:pt x="4" y="30"/>
                        <a:pt x="1" y="24"/>
                        <a:pt x="1" y="16"/>
                      </a:cubicBezTo>
                      <a:cubicBezTo>
                        <a:pt x="0" y="7"/>
                        <a:pt x="1" y="1"/>
                        <a:pt x="4" y="0"/>
                      </a:cubicBezTo>
                      <a:cubicBezTo>
                        <a:pt x="6" y="0"/>
                        <a:pt x="9" y="7"/>
                        <a:pt x="10" y="15"/>
                      </a:cubicBezTo>
                      <a:cubicBezTo>
                        <a:pt x="10" y="23"/>
                        <a:pt x="9" y="30"/>
                        <a:pt x="6" y="30"/>
                      </a:cubicBezTo>
                      <a:close/>
                    </a:path>
                  </a:pathLst>
                </a:custGeom>
                <a:solidFill>
                  <a:srgbClr val="BF1B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116" name="Freeform 327">
                  <a:extLst>
                    <a:ext uri="{FF2B5EF4-FFF2-40B4-BE49-F238E27FC236}">
                      <a16:creationId xmlns:a16="http://schemas.microsoft.com/office/drawing/2014/main" id="{679F3A94-FAAC-8980-7557-0C77C74BAD2B}"/>
                    </a:ext>
                  </a:extLst>
                </p:cNvPr>
                <p:cNvSpPr>
                  <a:spLocks/>
                </p:cNvSpPr>
                <p:nvPr/>
              </p:nvSpPr>
              <p:spPr bwMode="auto">
                <a:xfrm>
                  <a:off x="5582" y="3584"/>
                  <a:ext cx="20" cy="60"/>
                </a:xfrm>
                <a:custGeom>
                  <a:avLst/>
                  <a:gdLst>
                    <a:gd name="T0" fmla="*/ 6 w 10"/>
                    <a:gd name="T1" fmla="*/ 30 h 30"/>
                    <a:gd name="T2" fmla="*/ 1 w 10"/>
                    <a:gd name="T3" fmla="*/ 16 h 30"/>
                    <a:gd name="T4" fmla="*/ 4 w 10"/>
                    <a:gd name="T5" fmla="*/ 1 h 30"/>
                    <a:gd name="T6" fmla="*/ 10 w 10"/>
                    <a:gd name="T7" fmla="*/ 15 h 30"/>
                    <a:gd name="T8" fmla="*/ 6 w 10"/>
                    <a:gd name="T9" fmla="*/ 30 h 30"/>
                  </a:gdLst>
                  <a:ahLst/>
                  <a:cxnLst>
                    <a:cxn ang="0">
                      <a:pos x="T0" y="T1"/>
                    </a:cxn>
                    <a:cxn ang="0">
                      <a:pos x="T2" y="T3"/>
                    </a:cxn>
                    <a:cxn ang="0">
                      <a:pos x="T4" y="T5"/>
                    </a:cxn>
                    <a:cxn ang="0">
                      <a:pos x="T6" y="T7"/>
                    </a:cxn>
                    <a:cxn ang="0">
                      <a:pos x="T8" y="T9"/>
                    </a:cxn>
                  </a:cxnLst>
                  <a:rect l="0" t="0" r="r" b="b"/>
                  <a:pathLst>
                    <a:path w="10" h="30">
                      <a:moveTo>
                        <a:pt x="6" y="30"/>
                      </a:moveTo>
                      <a:cubicBezTo>
                        <a:pt x="4" y="30"/>
                        <a:pt x="1" y="24"/>
                        <a:pt x="1" y="16"/>
                      </a:cubicBezTo>
                      <a:cubicBezTo>
                        <a:pt x="0" y="8"/>
                        <a:pt x="1" y="1"/>
                        <a:pt x="4" y="1"/>
                      </a:cubicBezTo>
                      <a:cubicBezTo>
                        <a:pt x="6" y="0"/>
                        <a:pt x="9" y="7"/>
                        <a:pt x="10" y="15"/>
                      </a:cubicBezTo>
                      <a:cubicBezTo>
                        <a:pt x="10" y="23"/>
                        <a:pt x="9" y="30"/>
                        <a:pt x="6" y="30"/>
                      </a:cubicBezTo>
                      <a:close/>
                    </a:path>
                  </a:pathLst>
                </a:custGeom>
                <a:solidFill>
                  <a:srgbClr val="BF1C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117" name="Freeform 328">
                  <a:extLst>
                    <a:ext uri="{FF2B5EF4-FFF2-40B4-BE49-F238E27FC236}">
                      <a16:creationId xmlns:a16="http://schemas.microsoft.com/office/drawing/2014/main" id="{A4FBA937-D623-2E07-1C19-29FCFD1CBE67}"/>
                    </a:ext>
                  </a:extLst>
                </p:cNvPr>
                <p:cNvSpPr>
                  <a:spLocks/>
                </p:cNvSpPr>
                <p:nvPr/>
              </p:nvSpPr>
              <p:spPr bwMode="auto">
                <a:xfrm>
                  <a:off x="5582" y="3586"/>
                  <a:ext cx="20" cy="58"/>
                </a:xfrm>
                <a:custGeom>
                  <a:avLst/>
                  <a:gdLst>
                    <a:gd name="T0" fmla="*/ 6 w 10"/>
                    <a:gd name="T1" fmla="*/ 29 h 29"/>
                    <a:gd name="T2" fmla="*/ 1 w 10"/>
                    <a:gd name="T3" fmla="*/ 15 h 29"/>
                    <a:gd name="T4" fmla="*/ 4 w 10"/>
                    <a:gd name="T5" fmla="*/ 0 h 29"/>
                    <a:gd name="T6" fmla="*/ 10 w 10"/>
                    <a:gd name="T7" fmla="*/ 14 h 29"/>
                    <a:gd name="T8" fmla="*/ 6 w 10"/>
                    <a:gd name="T9" fmla="*/ 29 h 29"/>
                  </a:gdLst>
                  <a:ahLst/>
                  <a:cxnLst>
                    <a:cxn ang="0">
                      <a:pos x="T0" y="T1"/>
                    </a:cxn>
                    <a:cxn ang="0">
                      <a:pos x="T2" y="T3"/>
                    </a:cxn>
                    <a:cxn ang="0">
                      <a:pos x="T4" y="T5"/>
                    </a:cxn>
                    <a:cxn ang="0">
                      <a:pos x="T6" y="T7"/>
                    </a:cxn>
                    <a:cxn ang="0">
                      <a:pos x="T8" y="T9"/>
                    </a:cxn>
                  </a:cxnLst>
                  <a:rect l="0" t="0" r="r" b="b"/>
                  <a:pathLst>
                    <a:path w="10" h="29">
                      <a:moveTo>
                        <a:pt x="6" y="29"/>
                      </a:moveTo>
                      <a:cubicBezTo>
                        <a:pt x="4" y="29"/>
                        <a:pt x="1" y="23"/>
                        <a:pt x="1" y="15"/>
                      </a:cubicBezTo>
                      <a:cubicBezTo>
                        <a:pt x="0" y="7"/>
                        <a:pt x="1" y="0"/>
                        <a:pt x="4" y="0"/>
                      </a:cubicBezTo>
                      <a:cubicBezTo>
                        <a:pt x="6" y="0"/>
                        <a:pt x="9" y="6"/>
                        <a:pt x="10" y="14"/>
                      </a:cubicBezTo>
                      <a:cubicBezTo>
                        <a:pt x="10" y="22"/>
                        <a:pt x="9" y="28"/>
                        <a:pt x="6" y="29"/>
                      </a:cubicBezTo>
                      <a:close/>
                    </a:path>
                  </a:pathLst>
                </a:custGeom>
                <a:solidFill>
                  <a:srgbClr val="C01D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118" name="Freeform 329">
                  <a:extLst>
                    <a:ext uri="{FF2B5EF4-FFF2-40B4-BE49-F238E27FC236}">
                      <a16:creationId xmlns:a16="http://schemas.microsoft.com/office/drawing/2014/main" id="{E860C7AB-4D07-030B-2F3D-1874E6C9A6F0}"/>
                    </a:ext>
                  </a:extLst>
                </p:cNvPr>
                <p:cNvSpPr>
                  <a:spLocks/>
                </p:cNvSpPr>
                <p:nvPr/>
              </p:nvSpPr>
              <p:spPr bwMode="auto">
                <a:xfrm>
                  <a:off x="5582" y="3586"/>
                  <a:ext cx="20" cy="58"/>
                </a:xfrm>
                <a:custGeom>
                  <a:avLst/>
                  <a:gdLst>
                    <a:gd name="T0" fmla="*/ 6 w 10"/>
                    <a:gd name="T1" fmla="*/ 28 h 29"/>
                    <a:gd name="T2" fmla="*/ 1 w 10"/>
                    <a:gd name="T3" fmla="*/ 15 h 29"/>
                    <a:gd name="T4" fmla="*/ 4 w 10"/>
                    <a:gd name="T5" fmla="*/ 0 h 29"/>
                    <a:gd name="T6" fmla="*/ 10 w 10"/>
                    <a:gd name="T7" fmla="*/ 14 h 29"/>
                    <a:gd name="T8" fmla="*/ 6 w 10"/>
                    <a:gd name="T9" fmla="*/ 28 h 29"/>
                  </a:gdLst>
                  <a:ahLst/>
                  <a:cxnLst>
                    <a:cxn ang="0">
                      <a:pos x="T0" y="T1"/>
                    </a:cxn>
                    <a:cxn ang="0">
                      <a:pos x="T2" y="T3"/>
                    </a:cxn>
                    <a:cxn ang="0">
                      <a:pos x="T4" y="T5"/>
                    </a:cxn>
                    <a:cxn ang="0">
                      <a:pos x="T6" y="T7"/>
                    </a:cxn>
                    <a:cxn ang="0">
                      <a:pos x="T8" y="T9"/>
                    </a:cxn>
                  </a:cxnLst>
                  <a:rect l="0" t="0" r="r" b="b"/>
                  <a:pathLst>
                    <a:path w="10" h="29">
                      <a:moveTo>
                        <a:pt x="6" y="28"/>
                      </a:moveTo>
                      <a:cubicBezTo>
                        <a:pt x="4" y="29"/>
                        <a:pt x="1" y="23"/>
                        <a:pt x="1" y="15"/>
                      </a:cubicBezTo>
                      <a:cubicBezTo>
                        <a:pt x="0" y="7"/>
                        <a:pt x="1" y="0"/>
                        <a:pt x="4" y="0"/>
                      </a:cubicBezTo>
                      <a:cubicBezTo>
                        <a:pt x="6" y="0"/>
                        <a:pt x="9" y="6"/>
                        <a:pt x="10" y="14"/>
                      </a:cubicBezTo>
                      <a:cubicBezTo>
                        <a:pt x="10" y="22"/>
                        <a:pt x="9" y="28"/>
                        <a:pt x="6" y="28"/>
                      </a:cubicBezTo>
                      <a:close/>
                    </a:path>
                  </a:pathLst>
                </a:custGeom>
                <a:solidFill>
                  <a:srgbClr val="C11E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119" name="Freeform 330">
                  <a:extLst>
                    <a:ext uri="{FF2B5EF4-FFF2-40B4-BE49-F238E27FC236}">
                      <a16:creationId xmlns:a16="http://schemas.microsoft.com/office/drawing/2014/main" id="{8E2567A5-2376-F7A9-26A7-D23AEC8A98F8}"/>
                    </a:ext>
                  </a:extLst>
                </p:cNvPr>
                <p:cNvSpPr>
                  <a:spLocks/>
                </p:cNvSpPr>
                <p:nvPr/>
              </p:nvSpPr>
              <p:spPr bwMode="auto">
                <a:xfrm>
                  <a:off x="5582" y="3586"/>
                  <a:ext cx="20" cy="56"/>
                </a:xfrm>
                <a:custGeom>
                  <a:avLst/>
                  <a:gdLst>
                    <a:gd name="T0" fmla="*/ 6 w 10"/>
                    <a:gd name="T1" fmla="*/ 28 h 28"/>
                    <a:gd name="T2" fmla="*/ 1 w 10"/>
                    <a:gd name="T3" fmla="*/ 15 h 28"/>
                    <a:gd name="T4" fmla="*/ 4 w 10"/>
                    <a:gd name="T5" fmla="*/ 0 h 28"/>
                    <a:gd name="T6" fmla="*/ 9 w 10"/>
                    <a:gd name="T7" fmla="*/ 14 h 28"/>
                    <a:gd name="T8" fmla="*/ 6 w 10"/>
                    <a:gd name="T9" fmla="*/ 28 h 28"/>
                  </a:gdLst>
                  <a:ahLst/>
                  <a:cxnLst>
                    <a:cxn ang="0">
                      <a:pos x="T0" y="T1"/>
                    </a:cxn>
                    <a:cxn ang="0">
                      <a:pos x="T2" y="T3"/>
                    </a:cxn>
                    <a:cxn ang="0">
                      <a:pos x="T4" y="T5"/>
                    </a:cxn>
                    <a:cxn ang="0">
                      <a:pos x="T6" y="T7"/>
                    </a:cxn>
                    <a:cxn ang="0">
                      <a:pos x="T8" y="T9"/>
                    </a:cxn>
                  </a:cxnLst>
                  <a:rect l="0" t="0" r="r" b="b"/>
                  <a:pathLst>
                    <a:path w="10" h="28">
                      <a:moveTo>
                        <a:pt x="6" y="28"/>
                      </a:moveTo>
                      <a:cubicBezTo>
                        <a:pt x="4" y="28"/>
                        <a:pt x="1" y="22"/>
                        <a:pt x="1" y="15"/>
                      </a:cubicBezTo>
                      <a:cubicBezTo>
                        <a:pt x="0" y="7"/>
                        <a:pt x="1" y="0"/>
                        <a:pt x="4" y="0"/>
                      </a:cubicBezTo>
                      <a:cubicBezTo>
                        <a:pt x="6" y="0"/>
                        <a:pt x="9" y="6"/>
                        <a:pt x="9" y="14"/>
                      </a:cubicBezTo>
                      <a:cubicBezTo>
                        <a:pt x="10" y="22"/>
                        <a:pt x="9" y="28"/>
                        <a:pt x="6" y="28"/>
                      </a:cubicBezTo>
                      <a:close/>
                    </a:path>
                  </a:pathLst>
                </a:custGeom>
                <a:solidFill>
                  <a:srgbClr val="C21F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120" name="Freeform 331">
                  <a:extLst>
                    <a:ext uri="{FF2B5EF4-FFF2-40B4-BE49-F238E27FC236}">
                      <a16:creationId xmlns:a16="http://schemas.microsoft.com/office/drawing/2014/main" id="{6212C29A-89C9-5B20-D47B-F88683D0EDC1}"/>
                    </a:ext>
                  </a:extLst>
                </p:cNvPr>
                <p:cNvSpPr>
                  <a:spLocks/>
                </p:cNvSpPr>
                <p:nvPr/>
              </p:nvSpPr>
              <p:spPr bwMode="auto">
                <a:xfrm>
                  <a:off x="5582" y="3586"/>
                  <a:ext cx="20" cy="56"/>
                </a:xfrm>
                <a:custGeom>
                  <a:avLst/>
                  <a:gdLst>
                    <a:gd name="T0" fmla="*/ 6 w 10"/>
                    <a:gd name="T1" fmla="*/ 28 h 28"/>
                    <a:gd name="T2" fmla="*/ 1 w 10"/>
                    <a:gd name="T3" fmla="*/ 15 h 28"/>
                    <a:gd name="T4" fmla="*/ 4 w 10"/>
                    <a:gd name="T5" fmla="*/ 0 h 28"/>
                    <a:gd name="T6" fmla="*/ 9 w 10"/>
                    <a:gd name="T7" fmla="*/ 14 h 28"/>
                    <a:gd name="T8" fmla="*/ 6 w 10"/>
                    <a:gd name="T9" fmla="*/ 28 h 28"/>
                  </a:gdLst>
                  <a:ahLst/>
                  <a:cxnLst>
                    <a:cxn ang="0">
                      <a:pos x="T0" y="T1"/>
                    </a:cxn>
                    <a:cxn ang="0">
                      <a:pos x="T2" y="T3"/>
                    </a:cxn>
                    <a:cxn ang="0">
                      <a:pos x="T4" y="T5"/>
                    </a:cxn>
                    <a:cxn ang="0">
                      <a:pos x="T6" y="T7"/>
                    </a:cxn>
                    <a:cxn ang="0">
                      <a:pos x="T8" y="T9"/>
                    </a:cxn>
                  </a:cxnLst>
                  <a:rect l="0" t="0" r="r" b="b"/>
                  <a:pathLst>
                    <a:path w="10" h="28">
                      <a:moveTo>
                        <a:pt x="6" y="28"/>
                      </a:moveTo>
                      <a:cubicBezTo>
                        <a:pt x="4" y="28"/>
                        <a:pt x="2" y="22"/>
                        <a:pt x="1" y="15"/>
                      </a:cubicBezTo>
                      <a:cubicBezTo>
                        <a:pt x="0" y="7"/>
                        <a:pt x="1" y="1"/>
                        <a:pt x="4" y="0"/>
                      </a:cubicBezTo>
                      <a:cubicBezTo>
                        <a:pt x="6" y="0"/>
                        <a:pt x="9" y="6"/>
                        <a:pt x="9" y="14"/>
                      </a:cubicBezTo>
                      <a:cubicBezTo>
                        <a:pt x="10" y="21"/>
                        <a:pt x="9" y="28"/>
                        <a:pt x="6" y="28"/>
                      </a:cubicBezTo>
                      <a:close/>
                    </a:path>
                  </a:pathLst>
                </a:custGeom>
                <a:solidFill>
                  <a:srgbClr val="C3203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121" name="Freeform 332">
                  <a:extLst>
                    <a:ext uri="{FF2B5EF4-FFF2-40B4-BE49-F238E27FC236}">
                      <a16:creationId xmlns:a16="http://schemas.microsoft.com/office/drawing/2014/main" id="{C2F213A0-556E-2254-0AB1-99D1E01EEAAC}"/>
                    </a:ext>
                  </a:extLst>
                </p:cNvPr>
                <p:cNvSpPr>
                  <a:spLocks/>
                </p:cNvSpPr>
                <p:nvPr/>
              </p:nvSpPr>
              <p:spPr bwMode="auto">
                <a:xfrm>
                  <a:off x="5582" y="3586"/>
                  <a:ext cx="20" cy="56"/>
                </a:xfrm>
                <a:custGeom>
                  <a:avLst/>
                  <a:gdLst>
                    <a:gd name="T0" fmla="*/ 6 w 10"/>
                    <a:gd name="T1" fmla="*/ 28 h 28"/>
                    <a:gd name="T2" fmla="*/ 1 w 10"/>
                    <a:gd name="T3" fmla="*/ 15 h 28"/>
                    <a:gd name="T4" fmla="*/ 4 w 10"/>
                    <a:gd name="T5" fmla="*/ 1 h 28"/>
                    <a:gd name="T6" fmla="*/ 9 w 10"/>
                    <a:gd name="T7" fmla="*/ 14 h 28"/>
                    <a:gd name="T8" fmla="*/ 6 w 10"/>
                    <a:gd name="T9" fmla="*/ 28 h 28"/>
                  </a:gdLst>
                  <a:ahLst/>
                  <a:cxnLst>
                    <a:cxn ang="0">
                      <a:pos x="T0" y="T1"/>
                    </a:cxn>
                    <a:cxn ang="0">
                      <a:pos x="T2" y="T3"/>
                    </a:cxn>
                    <a:cxn ang="0">
                      <a:pos x="T4" y="T5"/>
                    </a:cxn>
                    <a:cxn ang="0">
                      <a:pos x="T6" y="T7"/>
                    </a:cxn>
                    <a:cxn ang="0">
                      <a:pos x="T8" y="T9"/>
                    </a:cxn>
                  </a:cxnLst>
                  <a:rect l="0" t="0" r="r" b="b"/>
                  <a:pathLst>
                    <a:path w="10" h="28">
                      <a:moveTo>
                        <a:pt x="6" y="28"/>
                      </a:moveTo>
                      <a:cubicBezTo>
                        <a:pt x="4" y="28"/>
                        <a:pt x="2" y="22"/>
                        <a:pt x="1" y="15"/>
                      </a:cubicBezTo>
                      <a:cubicBezTo>
                        <a:pt x="0" y="7"/>
                        <a:pt x="2" y="1"/>
                        <a:pt x="4" y="1"/>
                      </a:cubicBezTo>
                      <a:cubicBezTo>
                        <a:pt x="6" y="0"/>
                        <a:pt x="9" y="6"/>
                        <a:pt x="9" y="14"/>
                      </a:cubicBezTo>
                      <a:cubicBezTo>
                        <a:pt x="10" y="21"/>
                        <a:pt x="9" y="28"/>
                        <a:pt x="6" y="28"/>
                      </a:cubicBezTo>
                      <a:close/>
                    </a:path>
                  </a:pathLst>
                </a:custGeom>
                <a:solidFill>
                  <a:srgbClr val="C320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122" name="Freeform 333">
                  <a:extLst>
                    <a:ext uri="{FF2B5EF4-FFF2-40B4-BE49-F238E27FC236}">
                      <a16:creationId xmlns:a16="http://schemas.microsoft.com/office/drawing/2014/main" id="{4D8D88B0-7972-5708-F637-9360FBE69C1B}"/>
                    </a:ext>
                  </a:extLst>
                </p:cNvPr>
                <p:cNvSpPr>
                  <a:spLocks/>
                </p:cNvSpPr>
                <p:nvPr/>
              </p:nvSpPr>
              <p:spPr bwMode="auto">
                <a:xfrm>
                  <a:off x="5582" y="3588"/>
                  <a:ext cx="20" cy="54"/>
                </a:xfrm>
                <a:custGeom>
                  <a:avLst/>
                  <a:gdLst>
                    <a:gd name="T0" fmla="*/ 6 w 10"/>
                    <a:gd name="T1" fmla="*/ 27 h 27"/>
                    <a:gd name="T2" fmla="*/ 1 w 10"/>
                    <a:gd name="T3" fmla="*/ 14 h 27"/>
                    <a:gd name="T4" fmla="*/ 4 w 10"/>
                    <a:gd name="T5" fmla="*/ 0 h 27"/>
                    <a:gd name="T6" fmla="*/ 9 w 10"/>
                    <a:gd name="T7" fmla="*/ 13 h 27"/>
                    <a:gd name="T8" fmla="*/ 6 w 10"/>
                    <a:gd name="T9" fmla="*/ 27 h 27"/>
                  </a:gdLst>
                  <a:ahLst/>
                  <a:cxnLst>
                    <a:cxn ang="0">
                      <a:pos x="T0" y="T1"/>
                    </a:cxn>
                    <a:cxn ang="0">
                      <a:pos x="T2" y="T3"/>
                    </a:cxn>
                    <a:cxn ang="0">
                      <a:pos x="T4" y="T5"/>
                    </a:cxn>
                    <a:cxn ang="0">
                      <a:pos x="T6" y="T7"/>
                    </a:cxn>
                    <a:cxn ang="0">
                      <a:pos x="T8" y="T9"/>
                    </a:cxn>
                  </a:cxnLst>
                  <a:rect l="0" t="0" r="r" b="b"/>
                  <a:pathLst>
                    <a:path w="10" h="27">
                      <a:moveTo>
                        <a:pt x="6" y="27"/>
                      </a:moveTo>
                      <a:cubicBezTo>
                        <a:pt x="4" y="27"/>
                        <a:pt x="2" y="21"/>
                        <a:pt x="1" y="14"/>
                      </a:cubicBezTo>
                      <a:cubicBezTo>
                        <a:pt x="0" y="6"/>
                        <a:pt x="2" y="0"/>
                        <a:pt x="4" y="0"/>
                      </a:cubicBezTo>
                      <a:cubicBezTo>
                        <a:pt x="6" y="0"/>
                        <a:pt x="9" y="5"/>
                        <a:pt x="9" y="13"/>
                      </a:cubicBezTo>
                      <a:cubicBezTo>
                        <a:pt x="10" y="20"/>
                        <a:pt x="9" y="26"/>
                        <a:pt x="6" y="27"/>
                      </a:cubicBezTo>
                      <a:close/>
                    </a:path>
                  </a:pathLst>
                </a:custGeom>
                <a:solidFill>
                  <a:srgbClr val="C421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123" name="Freeform 334">
                  <a:extLst>
                    <a:ext uri="{FF2B5EF4-FFF2-40B4-BE49-F238E27FC236}">
                      <a16:creationId xmlns:a16="http://schemas.microsoft.com/office/drawing/2014/main" id="{4586C5EF-B133-738C-6ABA-F9542DF0D0AA}"/>
                    </a:ext>
                  </a:extLst>
                </p:cNvPr>
                <p:cNvSpPr>
                  <a:spLocks/>
                </p:cNvSpPr>
                <p:nvPr/>
              </p:nvSpPr>
              <p:spPr bwMode="auto">
                <a:xfrm>
                  <a:off x="5582" y="3588"/>
                  <a:ext cx="20" cy="54"/>
                </a:xfrm>
                <a:custGeom>
                  <a:avLst/>
                  <a:gdLst>
                    <a:gd name="T0" fmla="*/ 6 w 10"/>
                    <a:gd name="T1" fmla="*/ 26 h 27"/>
                    <a:gd name="T2" fmla="*/ 1 w 10"/>
                    <a:gd name="T3" fmla="*/ 14 h 27"/>
                    <a:gd name="T4" fmla="*/ 4 w 10"/>
                    <a:gd name="T5" fmla="*/ 0 h 27"/>
                    <a:gd name="T6" fmla="*/ 9 w 10"/>
                    <a:gd name="T7" fmla="*/ 13 h 27"/>
                    <a:gd name="T8" fmla="*/ 6 w 10"/>
                    <a:gd name="T9" fmla="*/ 26 h 27"/>
                  </a:gdLst>
                  <a:ahLst/>
                  <a:cxnLst>
                    <a:cxn ang="0">
                      <a:pos x="T0" y="T1"/>
                    </a:cxn>
                    <a:cxn ang="0">
                      <a:pos x="T2" y="T3"/>
                    </a:cxn>
                    <a:cxn ang="0">
                      <a:pos x="T4" y="T5"/>
                    </a:cxn>
                    <a:cxn ang="0">
                      <a:pos x="T6" y="T7"/>
                    </a:cxn>
                    <a:cxn ang="0">
                      <a:pos x="T8" y="T9"/>
                    </a:cxn>
                  </a:cxnLst>
                  <a:rect l="0" t="0" r="r" b="b"/>
                  <a:pathLst>
                    <a:path w="10" h="27">
                      <a:moveTo>
                        <a:pt x="6" y="26"/>
                      </a:moveTo>
                      <a:cubicBezTo>
                        <a:pt x="4" y="27"/>
                        <a:pt x="2" y="21"/>
                        <a:pt x="1" y="14"/>
                      </a:cubicBezTo>
                      <a:cubicBezTo>
                        <a:pt x="0" y="6"/>
                        <a:pt x="2" y="0"/>
                        <a:pt x="4" y="0"/>
                      </a:cubicBezTo>
                      <a:cubicBezTo>
                        <a:pt x="6" y="0"/>
                        <a:pt x="8" y="6"/>
                        <a:pt x="9" y="13"/>
                      </a:cubicBezTo>
                      <a:cubicBezTo>
                        <a:pt x="10" y="20"/>
                        <a:pt x="9" y="26"/>
                        <a:pt x="6" y="26"/>
                      </a:cubicBezTo>
                      <a:close/>
                    </a:path>
                  </a:pathLst>
                </a:custGeom>
                <a:solidFill>
                  <a:srgbClr val="C522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124" name="Freeform 335">
                  <a:extLst>
                    <a:ext uri="{FF2B5EF4-FFF2-40B4-BE49-F238E27FC236}">
                      <a16:creationId xmlns:a16="http://schemas.microsoft.com/office/drawing/2014/main" id="{6D6EBA23-69B0-AF2D-0AAE-31EC6527FBDB}"/>
                    </a:ext>
                  </a:extLst>
                </p:cNvPr>
                <p:cNvSpPr>
                  <a:spLocks/>
                </p:cNvSpPr>
                <p:nvPr/>
              </p:nvSpPr>
              <p:spPr bwMode="auto">
                <a:xfrm>
                  <a:off x="5582" y="3588"/>
                  <a:ext cx="20" cy="52"/>
                </a:xfrm>
                <a:custGeom>
                  <a:avLst/>
                  <a:gdLst>
                    <a:gd name="T0" fmla="*/ 6 w 10"/>
                    <a:gd name="T1" fmla="*/ 26 h 26"/>
                    <a:gd name="T2" fmla="*/ 1 w 10"/>
                    <a:gd name="T3" fmla="*/ 14 h 26"/>
                    <a:gd name="T4" fmla="*/ 4 w 10"/>
                    <a:gd name="T5" fmla="*/ 0 h 26"/>
                    <a:gd name="T6" fmla="*/ 9 w 10"/>
                    <a:gd name="T7" fmla="*/ 13 h 26"/>
                    <a:gd name="T8" fmla="*/ 6 w 10"/>
                    <a:gd name="T9" fmla="*/ 26 h 26"/>
                  </a:gdLst>
                  <a:ahLst/>
                  <a:cxnLst>
                    <a:cxn ang="0">
                      <a:pos x="T0" y="T1"/>
                    </a:cxn>
                    <a:cxn ang="0">
                      <a:pos x="T2" y="T3"/>
                    </a:cxn>
                    <a:cxn ang="0">
                      <a:pos x="T4" y="T5"/>
                    </a:cxn>
                    <a:cxn ang="0">
                      <a:pos x="T6" y="T7"/>
                    </a:cxn>
                    <a:cxn ang="0">
                      <a:pos x="T8" y="T9"/>
                    </a:cxn>
                  </a:cxnLst>
                  <a:rect l="0" t="0" r="r" b="b"/>
                  <a:pathLst>
                    <a:path w="10" h="26">
                      <a:moveTo>
                        <a:pt x="6" y="26"/>
                      </a:moveTo>
                      <a:cubicBezTo>
                        <a:pt x="4" y="26"/>
                        <a:pt x="2" y="21"/>
                        <a:pt x="1" y="14"/>
                      </a:cubicBezTo>
                      <a:cubicBezTo>
                        <a:pt x="0" y="6"/>
                        <a:pt x="2" y="0"/>
                        <a:pt x="4" y="0"/>
                      </a:cubicBezTo>
                      <a:cubicBezTo>
                        <a:pt x="6" y="0"/>
                        <a:pt x="8" y="6"/>
                        <a:pt x="9" y="13"/>
                      </a:cubicBezTo>
                      <a:cubicBezTo>
                        <a:pt x="10" y="20"/>
                        <a:pt x="9" y="26"/>
                        <a:pt x="6" y="26"/>
                      </a:cubicBezTo>
                      <a:close/>
                    </a:path>
                  </a:pathLst>
                </a:custGeom>
                <a:solidFill>
                  <a:srgbClr val="C623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125" name="Freeform 336">
                  <a:extLst>
                    <a:ext uri="{FF2B5EF4-FFF2-40B4-BE49-F238E27FC236}">
                      <a16:creationId xmlns:a16="http://schemas.microsoft.com/office/drawing/2014/main" id="{37DDE07B-2C43-BE20-2BBE-2EE2ADBCA023}"/>
                    </a:ext>
                  </a:extLst>
                </p:cNvPr>
                <p:cNvSpPr>
                  <a:spLocks/>
                </p:cNvSpPr>
                <p:nvPr/>
              </p:nvSpPr>
              <p:spPr bwMode="auto">
                <a:xfrm>
                  <a:off x="5584" y="3588"/>
                  <a:ext cx="18" cy="52"/>
                </a:xfrm>
                <a:custGeom>
                  <a:avLst/>
                  <a:gdLst>
                    <a:gd name="T0" fmla="*/ 5 w 9"/>
                    <a:gd name="T1" fmla="*/ 26 h 26"/>
                    <a:gd name="T2" fmla="*/ 0 w 9"/>
                    <a:gd name="T3" fmla="*/ 14 h 26"/>
                    <a:gd name="T4" fmla="*/ 3 w 9"/>
                    <a:gd name="T5" fmla="*/ 0 h 26"/>
                    <a:gd name="T6" fmla="*/ 8 w 9"/>
                    <a:gd name="T7" fmla="*/ 13 h 26"/>
                    <a:gd name="T8" fmla="*/ 5 w 9"/>
                    <a:gd name="T9" fmla="*/ 26 h 26"/>
                  </a:gdLst>
                  <a:ahLst/>
                  <a:cxnLst>
                    <a:cxn ang="0">
                      <a:pos x="T0" y="T1"/>
                    </a:cxn>
                    <a:cxn ang="0">
                      <a:pos x="T2" y="T3"/>
                    </a:cxn>
                    <a:cxn ang="0">
                      <a:pos x="T4" y="T5"/>
                    </a:cxn>
                    <a:cxn ang="0">
                      <a:pos x="T6" y="T7"/>
                    </a:cxn>
                    <a:cxn ang="0">
                      <a:pos x="T8" y="T9"/>
                    </a:cxn>
                  </a:cxnLst>
                  <a:rect l="0" t="0" r="r" b="b"/>
                  <a:pathLst>
                    <a:path w="9" h="26">
                      <a:moveTo>
                        <a:pt x="5" y="26"/>
                      </a:moveTo>
                      <a:cubicBezTo>
                        <a:pt x="3" y="26"/>
                        <a:pt x="1" y="21"/>
                        <a:pt x="0" y="14"/>
                      </a:cubicBezTo>
                      <a:cubicBezTo>
                        <a:pt x="0" y="7"/>
                        <a:pt x="1" y="1"/>
                        <a:pt x="3" y="0"/>
                      </a:cubicBezTo>
                      <a:cubicBezTo>
                        <a:pt x="5" y="0"/>
                        <a:pt x="7" y="6"/>
                        <a:pt x="8" y="13"/>
                      </a:cubicBezTo>
                      <a:cubicBezTo>
                        <a:pt x="9" y="20"/>
                        <a:pt x="7" y="26"/>
                        <a:pt x="5" y="26"/>
                      </a:cubicBezTo>
                      <a:close/>
                    </a:path>
                  </a:pathLst>
                </a:custGeom>
                <a:solidFill>
                  <a:srgbClr val="C724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126" name="Freeform 337">
                  <a:extLst>
                    <a:ext uri="{FF2B5EF4-FFF2-40B4-BE49-F238E27FC236}">
                      <a16:creationId xmlns:a16="http://schemas.microsoft.com/office/drawing/2014/main" id="{C4401B97-C95F-BFBF-6A92-EE4EA49FBDD6}"/>
                    </a:ext>
                  </a:extLst>
                </p:cNvPr>
                <p:cNvSpPr>
                  <a:spLocks/>
                </p:cNvSpPr>
                <p:nvPr/>
              </p:nvSpPr>
              <p:spPr bwMode="auto">
                <a:xfrm>
                  <a:off x="5584" y="3588"/>
                  <a:ext cx="18" cy="52"/>
                </a:xfrm>
                <a:custGeom>
                  <a:avLst/>
                  <a:gdLst>
                    <a:gd name="T0" fmla="*/ 5 w 9"/>
                    <a:gd name="T1" fmla="*/ 26 h 26"/>
                    <a:gd name="T2" fmla="*/ 0 w 9"/>
                    <a:gd name="T3" fmla="*/ 14 h 26"/>
                    <a:gd name="T4" fmla="*/ 3 w 9"/>
                    <a:gd name="T5" fmla="*/ 1 h 26"/>
                    <a:gd name="T6" fmla="*/ 8 w 9"/>
                    <a:gd name="T7" fmla="*/ 13 h 26"/>
                    <a:gd name="T8" fmla="*/ 5 w 9"/>
                    <a:gd name="T9" fmla="*/ 26 h 26"/>
                  </a:gdLst>
                  <a:ahLst/>
                  <a:cxnLst>
                    <a:cxn ang="0">
                      <a:pos x="T0" y="T1"/>
                    </a:cxn>
                    <a:cxn ang="0">
                      <a:pos x="T2" y="T3"/>
                    </a:cxn>
                    <a:cxn ang="0">
                      <a:pos x="T4" y="T5"/>
                    </a:cxn>
                    <a:cxn ang="0">
                      <a:pos x="T6" y="T7"/>
                    </a:cxn>
                    <a:cxn ang="0">
                      <a:pos x="T8" y="T9"/>
                    </a:cxn>
                  </a:cxnLst>
                  <a:rect l="0" t="0" r="r" b="b"/>
                  <a:pathLst>
                    <a:path w="9" h="26">
                      <a:moveTo>
                        <a:pt x="5" y="26"/>
                      </a:moveTo>
                      <a:cubicBezTo>
                        <a:pt x="3" y="26"/>
                        <a:pt x="1" y="20"/>
                        <a:pt x="0" y="14"/>
                      </a:cubicBezTo>
                      <a:cubicBezTo>
                        <a:pt x="0" y="7"/>
                        <a:pt x="1" y="1"/>
                        <a:pt x="3" y="1"/>
                      </a:cubicBezTo>
                      <a:cubicBezTo>
                        <a:pt x="5" y="0"/>
                        <a:pt x="7" y="6"/>
                        <a:pt x="8" y="13"/>
                      </a:cubicBezTo>
                      <a:cubicBezTo>
                        <a:pt x="9" y="20"/>
                        <a:pt x="7" y="26"/>
                        <a:pt x="5" y="26"/>
                      </a:cubicBezTo>
                      <a:close/>
                    </a:path>
                  </a:pathLst>
                </a:custGeom>
                <a:solidFill>
                  <a:srgbClr val="C825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127" name="Freeform 338">
                  <a:extLst>
                    <a:ext uri="{FF2B5EF4-FFF2-40B4-BE49-F238E27FC236}">
                      <a16:creationId xmlns:a16="http://schemas.microsoft.com/office/drawing/2014/main" id="{E0FE4B77-5C5B-EDF4-8032-7614B259345C}"/>
                    </a:ext>
                  </a:extLst>
                </p:cNvPr>
                <p:cNvSpPr>
                  <a:spLocks/>
                </p:cNvSpPr>
                <p:nvPr/>
              </p:nvSpPr>
              <p:spPr bwMode="auto">
                <a:xfrm>
                  <a:off x="5584" y="3590"/>
                  <a:ext cx="18" cy="50"/>
                </a:xfrm>
                <a:custGeom>
                  <a:avLst/>
                  <a:gdLst>
                    <a:gd name="T0" fmla="*/ 5 w 9"/>
                    <a:gd name="T1" fmla="*/ 25 h 25"/>
                    <a:gd name="T2" fmla="*/ 0 w 9"/>
                    <a:gd name="T3" fmla="*/ 13 h 25"/>
                    <a:gd name="T4" fmla="*/ 3 w 9"/>
                    <a:gd name="T5" fmla="*/ 0 h 25"/>
                    <a:gd name="T6" fmla="*/ 8 w 9"/>
                    <a:gd name="T7" fmla="*/ 12 h 25"/>
                    <a:gd name="T8" fmla="*/ 5 w 9"/>
                    <a:gd name="T9" fmla="*/ 25 h 25"/>
                  </a:gdLst>
                  <a:ahLst/>
                  <a:cxnLst>
                    <a:cxn ang="0">
                      <a:pos x="T0" y="T1"/>
                    </a:cxn>
                    <a:cxn ang="0">
                      <a:pos x="T2" y="T3"/>
                    </a:cxn>
                    <a:cxn ang="0">
                      <a:pos x="T4" y="T5"/>
                    </a:cxn>
                    <a:cxn ang="0">
                      <a:pos x="T6" y="T7"/>
                    </a:cxn>
                    <a:cxn ang="0">
                      <a:pos x="T8" y="T9"/>
                    </a:cxn>
                  </a:cxnLst>
                  <a:rect l="0" t="0" r="r" b="b"/>
                  <a:pathLst>
                    <a:path w="9" h="25">
                      <a:moveTo>
                        <a:pt x="5" y="25"/>
                      </a:moveTo>
                      <a:cubicBezTo>
                        <a:pt x="3" y="25"/>
                        <a:pt x="1" y="19"/>
                        <a:pt x="0" y="13"/>
                      </a:cubicBezTo>
                      <a:cubicBezTo>
                        <a:pt x="0" y="6"/>
                        <a:pt x="1" y="0"/>
                        <a:pt x="3" y="0"/>
                      </a:cubicBezTo>
                      <a:cubicBezTo>
                        <a:pt x="5" y="0"/>
                        <a:pt x="7" y="5"/>
                        <a:pt x="8" y="12"/>
                      </a:cubicBezTo>
                      <a:cubicBezTo>
                        <a:pt x="9" y="19"/>
                        <a:pt x="7" y="24"/>
                        <a:pt x="5" y="25"/>
                      </a:cubicBezTo>
                      <a:close/>
                    </a:path>
                  </a:pathLst>
                </a:custGeom>
                <a:solidFill>
                  <a:srgbClr val="C826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128" name="Freeform 339">
                  <a:extLst>
                    <a:ext uri="{FF2B5EF4-FFF2-40B4-BE49-F238E27FC236}">
                      <a16:creationId xmlns:a16="http://schemas.microsoft.com/office/drawing/2014/main" id="{7C089B85-3B3F-4A5A-0711-9C92ECCF17BE}"/>
                    </a:ext>
                  </a:extLst>
                </p:cNvPr>
                <p:cNvSpPr>
                  <a:spLocks/>
                </p:cNvSpPr>
                <p:nvPr/>
              </p:nvSpPr>
              <p:spPr bwMode="auto">
                <a:xfrm>
                  <a:off x="5584" y="3590"/>
                  <a:ext cx="16" cy="50"/>
                </a:xfrm>
                <a:custGeom>
                  <a:avLst/>
                  <a:gdLst>
                    <a:gd name="T0" fmla="*/ 5 w 8"/>
                    <a:gd name="T1" fmla="*/ 24 h 25"/>
                    <a:gd name="T2" fmla="*/ 0 w 8"/>
                    <a:gd name="T3" fmla="*/ 13 h 25"/>
                    <a:gd name="T4" fmla="*/ 3 w 8"/>
                    <a:gd name="T5" fmla="*/ 0 h 25"/>
                    <a:gd name="T6" fmla="*/ 8 w 8"/>
                    <a:gd name="T7" fmla="*/ 12 h 25"/>
                    <a:gd name="T8" fmla="*/ 5 w 8"/>
                    <a:gd name="T9" fmla="*/ 24 h 25"/>
                  </a:gdLst>
                  <a:ahLst/>
                  <a:cxnLst>
                    <a:cxn ang="0">
                      <a:pos x="T0" y="T1"/>
                    </a:cxn>
                    <a:cxn ang="0">
                      <a:pos x="T2" y="T3"/>
                    </a:cxn>
                    <a:cxn ang="0">
                      <a:pos x="T4" y="T5"/>
                    </a:cxn>
                    <a:cxn ang="0">
                      <a:pos x="T6" y="T7"/>
                    </a:cxn>
                    <a:cxn ang="0">
                      <a:pos x="T8" y="T9"/>
                    </a:cxn>
                  </a:cxnLst>
                  <a:rect l="0" t="0" r="r" b="b"/>
                  <a:pathLst>
                    <a:path w="8" h="25">
                      <a:moveTo>
                        <a:pt x="5" y="24"/>
                      </a:moveTo>
                      <a:cubicBezTo>
                        <a:pt x="3" y="25"/>
                        <a:pt x="1" y="19"/>
                        <a:pt x="0" y="13"/>
                      </a:cubicBezTo>
                      <a:cubicBezTo>
                        <a:pt x="0" y="6"/>
                        <a:pt x="1" y="0"/>
                        <a:pt x="3" y="0"/>
                      </a:cubicBezTo>
                      <a:cubicBezTo>
                        <a:pt x="5" y="0"/>
                        <a:pt x="7" y="5"/>
                        <a:pt x="8" y="12"/>
                      </a:cubicBezTo>
                      <a:cubicBezTo>
                        <a:pt x="8" y="19"/>
                        <a:pt x="7" y="24"/>
                        <a:pt x="5" y="24"/>
                      </a:cubicBezTo>
                      <a:close/>
                    </a:path>
                  </a:pathLst>
                </a:custGeom>
                <a:solidFill>
                  <a:srgbClr val="C927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129" name="Freeform 340">
                  <a:extLst>
                    <a:ext uri="{FF2B5EF4-FFF2-40B4-BE49-F238E27FC236}">
                      <a16:creationId xmlns:a16="http://schemas.microsoft.com/office/drawing/2014/main" id="{7367AE4B-F1BD-4D54-D4BC-AB7A0D4C73F9}"/>
                    </a:ext>
                  </a:extLst>
                </p:cNvPr>
                <p:cNvSpPr>
                  <a:spLocks/>
                </p:cNvSpPr>
                <p:nvPr/>
              </p:nvSpPr>
              <p:spPr bwMode="auto">
                <a:xfrm>
                  <a:off x="5584" y="3590"/>
                  <a:ext cx="16" cy="48"/>
                </a:xfrm>
                <a:custGeom>
                  <a:avLst/>
                  <a:gdLst>
                    <a:gd name="T0" fmla="*/ 5 w 8"/>
                    <a:gd name="T1" fmla="*/ 24 h 24"/>
                    <a:gd name="T2" fmla="*/ 0 w 8"/>
                    <a:gd name="T3" fmla="*/ 13 h 24"/>
                    <a:gd name="T4" fmla="*/ 3 w 8"/>
                    <a:gd name="T5" fmla="*/ 0 h 24"/>
                    <a:gd name="T6" fmla="*/ 8 w 8"/>
                    <a:gd name="T7" fmla="*/ 12 h 24"/>
                    <a:gd name="T8" fmla="*/ 5 w 8"/>
                    <a:gd name="T9" fmla="*/ 24 h 24"/>
                  </a:gdLst>
                  <a:ahLst/>
                  <a:cxnLst>
                    <a:cxn ang="0">
                      <a:pos x="T0" y="T1"/>
                    </a:cxn>
                    <a:cxn ang="0">
                      <a:pos x="T2" y="T3"/>
                    </a:cxn>
                    <a:cxn ang="0">
                      <a:pos x="T4" y="T5"/>
                    </a:cxn>
                    <a:cxn ang="0">
                      <a:pos x="T6" y="T7"/>
                    </a:cxn>
                    <a:cxn ang="0">
                      <a:pos x="T8" y="T9"/>
                    </a:cxn>
                  </a:cxnLst>
                  <a:rect l="0" t="0" r="r" b="b"/>
                  <a:pathLst>
                    <a:path w="8" h="24">
                      <a:moveTo>
                        <a:pt x="5" y="24"/>
                      </a:moveTo>
                      <a:cubicBezTo>
                        <a:pt x="3" y="24"/>
                        <a:pt x="1" y="19"/>
                        <a:pt x="0" y="13"/>
                      </a:cubicBezTo>
                      <a:cubicBezTo>
                        <a:pt x="0" y="6"/>
                        <a:pt x="1" y="1"/>
                        <a:pt x="3" y="0"/>
                      </a:cubicBezTo>
                      <a:cubicBezTo>
                        <a:pt x="5" y="0"/>
                        <a:pt x="7" y="5"/>
                        <a:pt x="8" y="12"/>
                      </a:cubicBezTo>
                      <a:cubicBezTo>
                        <a:pt x="8" y="18"/>
                        <a:pt x="7" y="24"/>
                        <a:pt x="5" y="24"/>
                      </a:cubicBezTo>
                      <a:close/>
                    </a:path>
                  </a:pathLst>
                </a:custGeom>
                <a:solidFill>
                  <a:srgbClr val="CA28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130" name="Freeform 341">
                  <a:extLst>
                    <a:ext uri="{FF2B5EF4-FFF2-40B4-BE49-F238E27FC236}">
                      <a16:creationId xmlns:a16="http://schemas.microsoft.com/office/drawing/2014/main" id="{D7A8D913-63E7-13E9-E50F-FC6B7259D5CE}"/>
                    </a:ext>
                  </a:extLst>
                </p:cNvPr>
                <p:cNvSpPr>
                  <a:spLocks/>
                </p:cNvSpPr>
                <p:nvPr/>
              </p:nvSpPr>
              <p:spPr bwMode="auto">
                <a:xfrm>
                  <a:off x="5584" y="3590"/>
                  <a:ext cx="16" cy="48"/>
                </a:xfrm>
                <a:custGeom>
                  <a:avLst/>
                  <a:gdLst>
                    <a:gd name="T0" fmla="*/ 5 w 8"/>
                    <a:gd name="T1" fmla="*/ 24 h 24"/>
                    <a:gd name="T2" fmla="*/ 1 w 8"/>
                    <a:gd name="T3" fmla="*/ 13 h 24"/>
                    <a:gd name="T4" fmla="*/ 3 w 8"/>
                    <a:gd name="T5" fmla="*/ 1 h 24"/>
                    <a:gd name="T6" fmla="*/ 8 w 8"/>
                    <a:gd name="T7" fmla="*/ 12 h 24"/>
                    <a:gd name="T8" fmla="*/ 5 w 8"/>
                    <a:gd name="T9" fmla="*/ 24 h 24"/>
                  </a:gdLst>
                  <a:ahLst/>
                  <a:cxnLst>
                    <a:cxn ang="0">
                      <a:pos x="T0" y="T1"/>
                    </a:cxn>
                    <a:cxn ang="0">
                      <a:pos x="T2" y="T3"/>
                    </a:cxn>
                    <a:cxn ang="0">
                      <a:pos x="T4" y="T5"/>
                    </a:cxn>
                    <a:cxn ang="0">
                      <a:pos x="T6" y="T7"/>
                    </a:cxn>
                    <a:cxn ang="0">
                      <a:pos x="T8" y="T9"/>
                    </a:cxn>
                  </a:cxnLst>
                  <a:rect l="0" t="0" r="r" b="b"/>
                  <a:pathLst>
                    <a:path w="8" h="24">
                      <a:moveTo>
                        <a:pt x="5" y="24"/>
                      </a:moveTo>
                      <a:cubicBezTo>
                        <a:pt x="3" y="24"/>
                        <a:pt x="1" y="19"/>
                        <a:pt x="1" y="13"/>
                      </a:cubicBezTo>
                      <a:cubicBezTo>
                        <a:pt x="0" y="6"/>
                        <a:pt x="1" y="1"/>
                        <a:pt x="3" y="1"/>
                      </a:cubicBezTo>
                      <a:cubicBezTo>
                        <a:pt x="5" y="0"/>
                        <a:pt x="7" y="5"/>
                        <a:pt x="8" y="12"/>
                      </a:cubicBezTo>
                      <a:cubicBezTo>
                        <a:pt x="8" y="18"/>
                        <a:pt x="7" y="24"/>
                        <a:pt x="5" y="24"/>
                      </a:cubicBezTo>
                      <a:close/>
                    </a:path>
                  </a:pathLst>
                </a:custGeom>
                <a:solidFill>
                  <a:srgbClr val="CB29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131" name="Freeform 342">
                  <a:extLst>
                    <a:ext uri="{FF2B5EF4-FFF2-40B4-BE49-F238E27FC236}">
                      <a16:creationId xmlns:a16="http://schemas.microsoft.com/office/drawing/2014/main" id="{7E90E283-02D0-F57D-49C3-B5BA225C2384}"/>
                    </a:ext>
                  </a:extLst>
                </p:cNvPr>
                <p:cNvSpPr>
                  <a:spLocks/>
                </p:cNvSpPr>
                <p:nvPr/>
              </p:nvSpPr>
              <p:spPr bwMode="auto">
                <a:xfrm>
                  <a:off x="5584" y="3592"/>
                  <a:ext cx="16" cy="46"/>
                </a:xfrm>
                <a:custGeom>
                  <a:avLst/>
                  <a:gdLst>
                    <a:gd name="T0" fmla="*/ 5 w 8"/>
                    <a:gd name="T1" fmla="*/ 23 h 23"/>
                    <a:gd name="T2" fmla="*/ 1 w 8"/>
                    <a:gd name="T3" fmla="*/ 12 h 23"/>
                    <a:gd name="T4" fmla="*/ 3 w 8"/>
                    <a:gd name="T5" fmla="*/ 0 h 23"/>
                    <a:gd name="T6" fmla="*/ 8 w 8"/>
                    <a:gd name="T7" fmla="*/ 11 h 23"/>
                    <a:gd name="T8" fmla="*/ 5 w 8"/>
                    <a:gd name="T9" fmla="*/ 23 h 23"/>
                  </a:gdLst>
                  <a:ahLst/>
                  <a:cxnLst>
                    <a:cxn ang="0">
                      <a:pos x="T0" y="T1"/>
                    </a:cxn>
                    <a:cxn ang="0">
                      <a:pos x="T2" y="T3"/>
                    </a:cxn>
                    <a:cxn ang="0">
                      <a:pos x="T4" y="T5"/>
                    </a:cxn>
                    <a:cxn ang="0">
                      <a:pos x="T6" y="T7"/>
                    </a:cxn>
                    <a:cxn ang="0">
                      <a:pos x="T8" y="T9"/>
                    </a:cxn>
                  </a:cxnLst>
                  <a:rect l="0" t="0" r="r" b="b"/>
                  <a:pathLst>
                    <a:path w="8" h="23">
                      <a:moveTo>
                        <a:pt x="5" y="23"/>
                      </a:moveTo>
                      <a:cubicBezTo>
                        <a:pt x="3" y="23"/>
                        <a:pt x="1" y="18"/>
                        <a:pt x="1" y="12"/>
                      </a:cubicBezTo>
                      <a:cubicBezTo>
                        <a:pt x="0" y="5"/>
                        <a:pt x="1" y="0"/>
                        <a:pt x="3" y="0"/>
                      </a:cubicBezTo>
                      <a:cubicBezTo>
                        <a:pt x="5" y="0"/>
                        <a:pt x="7" y="5"/>
                        <a:pt x="8" y="11"/>
                      </a:cubicBezTo>
                      <a:cubicBezTo>
                        <a:pt x="8" y="17"/>
                        <a:pt x="7" y="22"/>
                        <a:pt x="5" y="23"/>
                      </a:cubicBezTo>
                      <a:close/>
                    </a:path>
                  </a:pathLst>
                </a:custGeom>
                <a:solidFill>
                  <a:srgbClr val="CC29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132" name="Freeform 343">
                  <a:extLst>
                    <a:ext uri="{FF2B5EF4-FFF2-40B4-BE49-F238E27FC236}">
                      <a16:creationId xmlns:a16="http://schemas.microsoft.com/office/drawing/2014/main" id="{30306957-E016-4617-CAFB-1398D97BF753}"/>
                    </a:ext>
                  </a:extLst>
                </p:cNvPr>
                <p:cNvSpPr>
                  <a:spLocks/>
                </p:cNvSpPr>
                <p:nvPr/>
              </p:nvSpPr>
              <p:spPr bwMode="auto">
                <a:xfrm>
                  <a:off x="5584" y="3592"/>
                  <a:ext cx="16" cy="46"/>
                </a:xfrm>
                <a:custGeom>
                  <a:avLst/>
                  <a:gdLst>
                    <a:gd name="T0" fmla="*/ 5 w 8"/>
                    <a:gd name="T1" fmla="*/ 22 h 23"/>
                    <a:gd name="T2" fmla="*/ 1 w 8"/>
                    <a:gd name="T3" fmla="*/ 12 h 23"/>
                    <a:gd name="T4" fmla="*/ 3 w 8"/>
                    <a:gd name="T5" fmla="*/ 0 h 23"/>
                    <a:gd name="T6" fmla="*/ 8 w 8"/>
                    <a:gd name="T7" fmla="*/ 11 h 23"/>
                    <a:gd name="T8" fmla="*/ 5 w 8"/>
                    <a:gd name="T9" fmla="*/ 22 h 23"/>
                  </a:gdLst>
                  <a:ahLst/>
                  <a:cxnLst>
                    <a:cxn ang="0">
                      <a:pos x="T0" y="T1"/>
                    </a:cxn>
                    <a:cxn ang="0">
                      <a:pos x="T2" y="T3"/>
                    </a:cxn>
                    <a:cxn ang="0">
                      <a:pos x="T4" y="T5"/>
                    </a:cxn>
                    <a:cxn ang="0">
                      <a:pos x="T6" y="T7"/>
                    </a:cxn>
                    <a:cxn ang="0">
                      <a:pos x="T8" y="T9"/>
                    </a:cxn>
                  </a:cxnLst>
                  <a:rect l="0" t="0" r="r" b="b"/>
                  <a:pathLst>
                    <a:path w="8" h="23">
                      <a:moveTo>
                        <a:pt x="5" y="22"/>
                      </a:moveTo>
                      <a:cubicBezTo>
                        <a:pt x="3" y="23"/>
                        <a:pt x="1" y="18"/>
                        <a:pt x="1" y="12"/>
                      </a:cubicBezTo>
                      <a:cubicBezTo>
                        <a:pt x="0" y="5"/>
                        <a:pt x="1" y="0"/>
                        <a:pt x="3" y="0"/>
                      </a:cubicBezTo>
                      <a:cubicBezTo>
                        <a:pt x="5" y="0"/>
                        <a:pt x="7" y="5"/>
                        <a:pt x="8" y="11"/>
                      </a:cubicBezTo>
                      <a:cubicBezTo>
                        <a:pt x="8" y="17"/>
                        <a:pt x="7" y="22"/>
                        <a:pt x="5" y="22"/>
                      </a:cubicBezTo>
                      <a:close/>
                    </a:path>
                  </a:pathLst>
                </a:custGeom>
                <a:solidFill>
                  <a:srgbClr val="CD2A4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133" name="Freeform 344">
                  <a:extLst>
                    <a:ext uri="{FF2B5EF4-FFF2-40B4-BE49-F238E27FC236}">
                      <a16:creationId xmlns:a16="http://schemas.microsoft.com/office/drawing/2014/main" id="{CEF8FE91-6E47-602B-5544-15C1905488B8}"/>
                    </a:ext>
                  </a:extLst>
                </p:cNvPr>
                <p:cNvSpPr>
                  <a:spLocks/>
                </p:cNvSpPr>
                <p:nvPr/>
              </p:nvSpPr>
              <p:spPr bwMode="auto">
                <a:xfrm>
                  <a:off x="5584" y="3592"/>
                  <a:ext cx="16" cy="44"/>
                </a:xfrm>
                <a:custGeom>
                  <a:avLst/>
                  <a:gdLst>
                    <a:gd name="T0" fmla="*/ 5 w 8"/>
                    <a:gd name="T1" fmla="*/ 22 h 22"/>
                    <a:gd name="T2" fmla="*/ 1 w 8"/>
                    <a:gd name="T3" fmla="*/ 12 h 22"/>
                    <a:gd name="T4" fmla="*/ 3 w 8"/>
                    <a:gd name="T5" fmla="*/ 0 h 22"/>
                    <a:gd name="T6" fmla="*/ 8 w 8"/>
                    <a:gd name="T7" fmla="*/ 11 h 22"/>
                    <a:gd name="T8" fmla="*/ 5 w 8"/>
                    <a:gd name="T9" fmla="*/ 22 h 22"/>
                  </a:gdLst>
                  <a:ahLst/>
                  <a:cxnLst>
                    <a:cxn ang="0">
                      <a:pos x="T0" y="T1"/>
                    </a:cxn>
                    <a:cxn ang="0">
                      <a:pos x="T2" y="T3"/>
                    </a:cxn>
                    <a:cxn ang="0">
                      <a:pos x="T4" y="T5"/>
                    </a:cxn>
                    <a:cxn ang="0">
                      <a:pos x="T6" y="T7"/>
                    </a:cxn>
                    <a:cxn ang="0">
                      <a:pos x="T8" y="T9"/>
                    </a:cxn>
                  </a:cxnLst>
                  <a:rect l="0" t="0" r="r" b="b"/>
                  <a:pathLst>
                    <a:path w="8" h="22">
                      <a:moveTo>
                        <a:pt x="5" y="22"/>
                      </a:moveTo>
                      <a:cubicBezTo>
                        <a:pt x="3" y="22"/>
                        <a:pt x="1" y="18"/>
                        <a:pt x="1" y="12"/>
                      </a:cubicBezTo>
                      <a:cubicBezTo>
                        <a:pt x="0" y="5"/>
                        <a:pt x="1" y="0"/>
                        <a:pt x="3" y="0"/>
                      </a:cubicBezTo>
                      <a:cubicBezTo>
                        <a:pt x="5" y="0"/>
                        <a:pt x="7" y="5"/>
                        <a:pt x="8" y="11"/>
                      </a:cubicBezTo>
                      <a:cubicBezTo>
                        <a:pt x="8" y="17"/>
                        <a:pt x="7" y="22"/>
                        <a:pt x="5" y="22"/>
                      </a:cubicBezTo>
                      <a:close/>
                    </a:path>
                  </a:pathLst>
                </a:custGeom>
                <a:solidFill>
                  <a:srgbClr val="CD2B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134" name="Freeform 345">
                  <a:extLst>
                    <a:ext uri="{FF2B5EF4-FFF2-40B4-BE49-F238E27FC236}">
                      <a16:creationId xmlns:a16="http://schemas.microsoft.com/office/drawing/2014/main" id="{687586DB-9928-2754-709E-7467B398BB1F}"/>
                    </a:ext>
                  </a:extLst>
                </p:cNvPr>
                <p:cNvSpPr>
                  <a:spLocks/>
                </p:cNvSpPr>
                <p:nvPr/>
              </p:nvSpPr>
              <p:spPr bwMode="auto">
                <a:xfrm>
                  <a:off x="5584" y="3592"/>
                  <a:ext cx="16" cy="44"/>
                </a:xfrm>
                <a:custGeom>
                  <a:avLst/>
                  <a:gdLst>
                    <a:gd name="T0" fmla="*/ 5 w 8"/>
                    <a:gd name="T1" fmla="*/ 22 h 22"/>
                    <a:gd name="T2" fmla="*/ 1 w 8"/>
                    <a:gd name="T3" fmla="*/ 12 h 22"/>
                    <a:gd name="T4" fmla="*/ 3 w 8"/>
                    <a:gd name="T5" fmla="*/ 0 h 22"/>
                    <a:gd name="T6" fmla="*/ 7 w 8"/>
                    <a:gd name="T7" fmla="*/ 11 h 22"/>
                    <a:gd name="T8" fmla="*/ 5 w 8"/>
                    <a:gd name="T9" fmla="*/ 22 h 22"/>
                  </a:gdLst>
                  <a:ahLst/>
                  <a:cxnLst>
                    <a:cxn ang="0">
                      <a:pos x="T0" y="T1"/>
                    </a:cxn>
                    <a:cxn ang="0">
                      <a:pos x="T2" y="T3"/>
                    </a:cxn>
                    <a:cxn ang="0">
                      <a:pos x="T4" y="T5"/>
                    </a:cxn>
                    <a:cxn ang="0">
                      <a:pos x="T6" y="T7"/>
                    </a:cxn>
                    <a:cxn ang="0">
                      <a:pos x="T8" y="T9"/>
                    </a:cxn>
                  </a:cxnLst>
                  <a:rect l="0" t="0" r="r" b="b"/>
                  <a:pathLst>
                    <a:path w="8" h="22">
                      <a:moveTo>
                        <a:pt x="5" y="22"/>
                      </a:moveTo>
                      <a:cubicBezTo>
                        <a:pt x="3" y="22"/>
                        <a:pt x="1" y="17"/>
                        <a:pt x="1" y="12"/>
                      </a:cubicBezTo>
                      <a:cubicBezTo>
                        <a:pt x="0" y="6"/>
                        <a:pt x="1" y="1"/>
                        <a:pt x="3" y="0"/>
                      </a:cubicBezTo>
                      <a:cubicBezTo>
                        <a:pt x="5" y="0"/>
                        <a:pt x="7" y="5"/>
                        <a:pt x="7" y="11"/>
                      </a:cubicBezTo>
                      <a:cubicBezTo>
                        <a:pt x="8" y="17"/>
                        <a:pt x="7" y="22"/>
                        <a:pt x="5" y="22"/>
                      </a:cubicBezTo>
                      <a:close/>
                    </a:path>
                  </a:pathLst>
                </a:custGeom>
                <a:solidFill>
                  <a:srgbClr val="CE2C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135" name="Freeform 346">
                  <a:extLst>
                    <a:ext uri="{FF2B5EF4-FFF2-40B4-BE49-F238E27FC236}">
                      <a16:creationId xmlns:a16="http://schemas.microsoft.com/office/drawing/2014/main" id="{4E89F2EE-A5DD-1433-603A-3397830EAFD0}"/>
                    </a:ext>
                  </a:extLst>
                </p:cNvPr>
                <p:cNvSpPr>
                  <a:spLocks/>
                </p:cNvSpPr>
                <p:nvPr/>
              </p:nvSpPr>
              <p:spPr bwMode="auto">
                <a:xfrm>
                  <a:off x="5584" y="3592"/>
                  <a:ext cx="16" cy="44"/>
                </a:xfrm>
                <a:custGeom>
                  <a:avLst/>
                  <a:gdLst>
                    <a:gd name="T0" fmla="*/ 5 w 8"/>
                    <a:gd name="T1" fmla="*/ 22 h 22"/>
                    <a:gd name="T2" fmla="*/ 1 w 8"/>
                    <a:gd name="T3" fmla="*/ 12 h 22"/>
                    <a:gd name="T4" fmla="*/ 3 w 8"/>
                    <a:gd name="T5" fmla="*/ 1 h 22"/>
                    <a:gd name="T6" fmla="*/ 7 w 8"/>
                    <a:gd name="T7" fmla="*/ 11 h 22"/>
                    <a:gd name="T8" fmla="*/ 5 w 8"/>
                    <a:gd name="T9" fmla="*/ 22 h 22"/>
                  </a:gdLst>
                  <a:ahLst/>
                  <a:cxnLst>
                    <a:cxn ang="0">
                      <a:pos x="T0" y="T1"/>
                    </a:cxn>
                    <a:cxn ang="0">
                      <a:pos x="T2" y="T3"/>
                    </a:cxn>
                    <a:cxn ang="0">
                      <a:pos x="T4" y="T5"/>
                    </a:cxn>
                    <a:cxn ang="0">
                      <a:pos x="T6" y="T7"/>
                    </a:cxn>
                    <a:cxn ang="0">
                      <a:pos x="T8" y="T9"/>
                    </a:cxn>
                  </a:cxnLst>
                  <a:rect l="0" t="0" r="r" b="b"/>
                  <a:pathLst>
                    <a:path w="8" h="22">
                      <a:moveTo>
                        <a:pt x="5" y="22"/>
                      </a:moveTo>
                      <a:cubicBezTo>
                        <a:pt x="3" y="22"/>
                        <a:pt x="1" y="17"/>
                        <a:pt x="1" y="12"/>
                      </a:cubicBezTo>
                      <a:cubicBezTo>
                        <a:pt x="0" y="6"/>
                        <a:pt x="1" y="1"/>
                        <a:pt x="3" y="1"/>
                      </a:cubicBezTo>
                      <a:cubicBezTo>
                        <a:pt x="5" y="0"/>
                        <a:pt x="7" y="5"/>
                        <a:pt x="7" y="11"/>
                      </a:cubicBezTo>
                      <a:cubicBezTo>
                        <a:pt x="8" y="17"/>
                        <a:pt x="7" y="22"/>
                        <a:pt x="5" y="22"/>
                      </a:cubicBezTo>
                      <a:close/>
                    </a:path>
                  </a:pathLst>
                </a:custGeom>
                <a:solidFill>
                  <a:srgbClr val="CF2D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136" name="Freeform 347">
                  <a:extLst>
                    <a:ext uri="{FF2B5EF4-FFF2-40B4-BE49-F238E27FC236}">
                      <a16:creationId xmlns:a16="http://schemas.microsoft.com/office/drawing/2014/main" id="{1D6D5B80-4DEB-E9D3-2FFB-B7D5BBFCAB9C}"/>
                    </a:ext>
                  </a:extLst>
                </p:cNvPr>
                <p:cNvSpPr>
                  <a:spLocks/>
                </p:cNvSpPr>
                <p:nvPr/>
              </p:nvSpPr>
              <p:spPr bwMode="auto">
                <a:xfrm>
                  <a:off x="5584" y="3594"/>
                  <a:ext cx="16" cy="42"/>
                </a:xfrm>
                <a:custGeom>
                  <a:avLst/>
                  <a:gdLst>
                    <a:gd name="T0" fmla="*/ 5 w 8"/>
                    <a:gd name="T1" fmla="*/ 21 h 21"/>
                    <a:gd name="T2" fmla="*/ 1 w 8"/>
                    <a:gd name="T3" fmla="*/ 11 h 21"/>
                    <a:gd name="T4" fmla="*/ 3 w 8"/>
                    <a:gd name="T5" fmla="*/ 0 h 21"/>
                    <a:gd name="T6" fmla="*/ 7 w 8"/>
                    <a:gd name="T7" fmla="*/ 10 h 21"/>
                    <a:gd name="T8" fmla="*/ 5 w 8"/>
                    <a:gd name="T9" fmla="*/ 21 h 21"/>
                  </a:gdLst>
                  <a:ahLst/>
                  <a:cxnLst>
                    <a:cxn ang="0">
                      <a:pos x="T0" y="T1"/>
                    </a:cxn>
                    <a:cxn ang="0">
                      <a:pos x="T2" y="T3"/>
                    </a:cxn>
                    <a:cxn ang="0">
                      <a:pos x="T4" y="T5"/>
                    </a:cxn>
                    <a:cxn ang="0">
                      <a:pos x="T6" y="T7"/>
                    </a:cxn>
                    <a:cxn ang="0">
                      <a:pos x="T8" y="T9"/>
                    </a:cxn>
                  </a:cxnLst>
                  <a:rect l="0" t="0" r="r" b="b"/>
                  <a:pathLst>
                    <a:path w="8" h="21">
                      <a:moveTo>
                        <a:pt x="5" y="21"/>
                      </a:moveTo>
                      <a:cubicBezTo>
                        <a:pt x="3" y="21"/>
                        <a:pt x="1" y="16"/>
                        <a:pt x="1" y="11"/>
                      </a:cubicBezTo>
                      <a:cubicBezTo>
                        <a:pt x="0" y="5"/>
                        <a:pt x="1" y="0"/>
                        <a:pt x="3" y="0"/>
                      </a:cubicBezTo>
                      <a:cubicBezTo>
                        <a:pt x="5" y="0"/>
                        <a:pt x="7" y="4"/>
                        <a:pt x="7" y="10"/>
                      </a:cubicBezTo>
                      <a:cubicBezTo>
                        <a:pt x="8" y="16"/>
                        <a:pt x="7" y="20"/>
                        <a:pt x="5" y="21"/>
                      </a:cubicBezTo>
                      <a:close/>
                    </a:path>
                  </a:pathLst>
                </a:custGeom>
                <a:solidFill>
                  <a:srgbClr val="D02E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137" name="Freeform 348">
                  <a:extLst>
                    <a:ext uri="{FF2B5EF4-FFF2-40B4-BE49-F238E27FC236}">
                      <a16:creationId xmlns:a16="http://schemas.microsoft.com/office/drawing/2014/main" id="{C06C2D12-8F1E-D6D9-1EFC-C6EAE804D744}"/>
                    </a:ext>
                  </a:extLst>
                </p:cNvPr>
                <p:cNvSpPr>
                  <a:spLocks/>
                </p:cNvSpPr>
                <p:nvPr/>
              </p:nvSpPr>
              <p:spPr bwMode="auto">
                <a:xfrm>
                  <a:off x="5584" y="3594"/>
                  <a:ext cx="16" cy="42"/>
                </a:xfrm>
                <a:custGeom>
                  <a:avLst/>
                  <a:gdLst>
                    <a:gd name="T0" fmla="*/ 5 w 8"/>
                    <a:gd name="T1" fmla="*/ 20 h 21"/>
                    <a:gd name="T2" fmla="*/ 1 w 8"/>
                    <a:gd name="T3" fmla="*/ 11 h 21"/>
                    <a:gd name="T4" fmla="*/ 3 w 8"/>
                    <a:gd name="T5" fmla="*/ 0 h 21"/>
                    <a:gd name="T6" fmla="*/ 7 w 8"/>
                    <a:gd name="T7" fmla="*/ 10 h 21"/>
                    <a:gd name="T8" fmla="*/ 5 w 8"/>
                    <a:gd name="T9" fmla="*/ 20 h 21"/>
                  </a:gdLst>
                  <a:ahLst/>
                  <a:cxnLst>
                    <a:cxn ang="0">
                      <a:pos x="T0" y="T1"/>
                    </a:cxn>
                    <a:cxn ang="0">
                      <a:pos x="T2" y="T3"/>
                    </a:cxn>
                    <a:cxn ang="0">
                      <a:pos x="T4" y="T5"/>
                    </a:cxn>
                    <a:cxn ang="0">
                      <a:pos x="T6" y="T7"/>
                    </a:cxn>
                    <a:cxn ang="0">
                      <a:pos x="T8" y="T9"/>
                    </a:cxn>
                  </a:cxnLst>
                  <a:rect l="0" t="0" r="r" b="b"/>
                  <a:pathLst>
                    <a:path w="8" h="21">
                      <a:moveTo>
                        <a:pt x="5" y="20"/>
                      </a:moveTo>
                      <a:cubicBezTo>
                        <a:pt x="3" y="21"/>
                        <a:pt x="1" y="16"/>
                        <a:pt x="1" y="11"/>
                      </a:cubicBezTo>
                      <a:cubicBezTo>
                        <a:pt x="0" y="5"/>
                        <a:pt x="1" y="0"/>
                        <a:pt x="3" y="0"/>
                      </a:cubicBezTo>
                      <a:cubicBezTo>
                        <a:pt x="5" y="0"/>
                        <a:pt x="7" y="4"/>
                        <a:pt x="7" y="10"/>
                      </a:cubicBezTo>
                      <a:cubicBezTo>
                        <a:pt x="8" y="16"/>
                        <a:pt x="7" y="20"/>
                        <a:pt x="5" y="20"/>
                      </a:cubicBezTo>
                      <a:close/>
                    </a:path>
                  </a:pathLst>
                </a:custGeom>
                <a:solidFill>
                  <a:srgbClr val="D12F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138" name="Freeform 349">
                  <a:extLst>
                    <a:ext uri="{FF2B5EF4-FFF2-40B4-BE49-F238E27FC236}">
                      <a16:creationId xmlns:a16="http://schemas.microsoft.com/office/drawing/2014/main" id="{718FEC23-7B1D-7C8C-7A68-DE86334EAEFC}"/>
                    </a:ext>
                  </a:extLst>
                </p:cNvPr>
                <p:cNvSpPr>
                  <a:spLocks/>
                </p:cNvSpPr>
                <p:nvPr/>
              </p:nvSpPr>
              <p:spPr bwMode="auto">
                <a:xfrm>
                  <a:off x="5586" y="3594"/>
                  <a:ext cx="14" cy="40"/>
                </a:xfrm>
                <a:custGeom>
                  <a:avLst/>
                  <a:gdLst>
                    <a:gd name="T0" fmla="*/ 4 w 7"/>
                    <a:gd name="T1" fmla="*/ 20 h 20"/>
                    <a:gd name="T2" fmla="*/ 0 w 7"/>
                    <a:gd name="T3" fmla="*/ 11 h 20"/>
                    <a:gd name="T4" fmla="*/ 2 w 7"/>
                    <a:gd name="T5" fmla="*/ 0 h 20"/>
                    <a:gd name="T6" fmla="*/ 6 w 7"/>
                    <a:gd name="T7" fmla="*/ 10 h 20"/>
                    <a:gd name="T8" fmla="*/ 4 w 7"/>
                    <a:gd name="T9" fmla="*/ 20 h 20"/>
                  </a:gdLst>
                  <a:ahLst/>
                  <a:cxnLst>
                    <a:cxn ang="0">
                      <a:pos x="T0" y="T1"/>
                    </a:cxn>
                    <a:cxn ang="0">
                      <a:pos x="T2" y="T3"/>
                    </a:cxn>
                    <a:cxn ang="0">
                      <a:pos x="T4" y="T5"/>
                    </a:cxn>
                    <a:cxn ang="0">
                      <a:pos x="T6" y="T7"/>
                    </a:cxn>
                    <a:cxn ang="0">
                      <a:pos x="T8" y="T9"/>
                    </a:cxn>
                  </a:cxnLst>
                  <a:rect l="0" t="0" r="r" b="b"/>
                  <a:pathLst>
                    <a:path w="7" h="20">
                      <a:moveTo>
                        <a:pt x="4" y="20"/>
                      </a:moveTo>
                      <a:cubicBezTo>
                        <a:pt x="2" y="20"/>
                        <a:pt x="1" y="16"/>
                        <a:pt x="0" y="11"/>
                      </a:cubicBezTo>
                      <a:cubicBezTo>
                        <a:pt x="0" y="5"/>
                        <a:pt x="0" y="0"/>
                        <a:pt x="2" y="0"/>
                      </a:cubicBezTo>
                      <a:cubicBezTo>
                        <a:pt x="4" y="0"/>
                        <a:pt x="6" y="4"/>
                        <a:pt x="6" y="10"/>
                      </a:cubicBezTo>
                      <a:cubicBezTo>
                        <a:pt x="7" y="15"/>
                        <a:pt x="6" y="20"/>
                        <a:pt x="4" y="20"/>
                      </a:cubicBezTo>
                      <a:close/>
                    </a:path>
                  </a:pathLst>
                </a:custGeom>
                <a:solidFill>
                  <a:srgbClr val="D230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139" name="Freeform 350">
                  <a:extLst>
                    <a:ext uri="{FF2B5EF4-FFF2-40B4-BE49-F238E27FC236}">
                      <a16:creationId xmlns:a16="http://schemas.microsoft.com/office/drawing/2014/main" id="{5189DF68-B756-D6D8-ED1C-8A9190A0138A}"/>
                    </a:ext>
                  </a:extLst>
                </p:cNvPr>
                <p:cNvSpPr>
                  <a:spLocks/>
                </p:cNvSpPr>
                <p:nvPr/>
              </p:nvSpPr>
              <p:spPr bwMode="auto">
                <a:xfrm>
                  <a:off x="5586" y="3594"/>
                  <a:ext cx="14" cy="40"/>
                </a:xfrm>
                <a:custGeom>
                  <a:avLst/>
                  <a:gdLst>
                    <a:gd name="T0" fmla="*/ 4 w 7"/>
                    <a:gd name="T1" fmla="*/ 20 h 20"/>
                    <a:gd name="T2" fmla="*/ 0 w 7"/>
                    <a:gd name="T3" fmla="*/ 10 h 20"/>
                    <a:gd name="T4" fmla="*/ 2 w 7"/>
                    <a:gd name="T5" fmla="*/ 0 h 20"/>
                    <a:gd name="T6" fmla="*/ 6 w 7"/>
                    <a:gd name="T7" fmla="*/ 10 h 20"/>
                    <a:gd name="T8" fmla="*/ 4 w 7"/>
                    <a:gd name="T9" fmla="*/ 20 h 20"/>
                  </a:gdLst>
                  <a:ahLst/>
                  <a:cxnLst>
                    <a:cxn ang="0">
                      <a:pos x="T0" y="T1"/>
                    </a:cxn>
                    <a:cxn ang="0">
                      <a:pos x="T2" y="T3"/>
                    </a:cxn>
                    <a:cxn ang="0">
                      <a:pos x="T4" y="T5"/>
                    </a:cxn>
                    <a:cxn ang="0">
                      <a:pos x="T6" y="T7"/>
                    </a:cxn>
                    <a:cxn ang="0">
                      <a:pos x="T8" y="T9"/>
                    </a:cxn>
                  </a:cxnLst>
                  <a:rect l="0" t="0" r="r" b="b"/>
                  <a:pathLst>
                    <a:path w="7" h="20">
                      <a:moveTo>
                        <a:pt x="4" y="20"/>
                      </a:moveTo>
                      <a:cubicBezTo>
                        <a:pt x="2" y="20"/>
                        <a:pt x="1" y="16"/>
                        <a:pt x="0" y="10"/>
                      </a:cubicBezTo>
                      <a:cubicBezTo>
                        <a:pt x="0" y="5"/>
                        <a:pt x="1" y="1"/>
                        <a:pt x="2" y="0"/>
                      </a:cubicBezTo>
                      <a:cubicBezTo>
                        <a:pt x="4" y="0"/>
                        <a:pt x="6" y="5"/>
                        <a:pt x="6" y="10"/>
                      </a:cubicBezTo>
                      <a:cubicBezTo>
                        <a:pt x="7" y="15"/>
                        <a:pt x="6" y="20"/>
                        <a:pt x="4" y="20"/>
                      </a:cubicBezTo>
                      <a:close/>
                    </a:path>
                  </a:pathLst>
                </a:custGeom>
                <a:solidFill>
                  <a:srgbClr val="D331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140" name="Freeform 351">
                  <a:extLst>
                    <a:ext uri="{FF2B5EF4-FFF2-40B4-BE49-F238E27FC236}">
                      <a16:creationId xmlns:a16="http://schemas.microsoft.com/office/drawing/2014/main" id="{8ACE4B6B-DD10-2465-6FA2-24CF13D2979F}"/>
                    </a:ext>
                  </a:extLst>
                </p:cNvPr>
                <p:cNvSpPr>
                  <a:spLocks/>
                </p:cNvSpPr>
                <p:nvPr/>
              </p:nvSpPr>
              <p:spPr bwMode="auto">
                <a:xfrm>
                  <a:off x="5586" y="3596"/>
                  <a:ext cx="14" cy="38"/>
                </a:xfrm>
                <a:custGeom>
                  <a:avLst/>
                  <a:gdLst>
                    <a:gd name="T0" fmla="*/ 4 w 7"/>
                    <a:gd name="T1" fmla="*/ 19 h 19"/>
                    <a:gd name="T2" fmla="*/ 0 w 7"/>
                    <a:gd name="T3" fmla="*/ 9 h 19"/>
                    <a:gd name="T4" fmla="*/ 2 w 7"/>
                    <a:gd name="T5" fmla="*/ 0 h 19"/>
                    <a:gd name="T6" fmla="*/ 6 w 7"/>
                    <a:gd name="T7" fmla="*/ 9 h 19"/>
                    <a:gd name="T8" fmla="*/ 4 w 7"/>
                    <a:gd name="T9" fmla="*/ 19 h 19"/>
                  </a:gdLst>
                  <a:ahLst/>
                  <a:cxnLst>
                    <a:cxn ang="0">
                      <a:pos x="T0" y="T1"/>
                    </a:cxn>
                    <a:cxn ang="0">
                      <a:pos x="T2" y="T3"/>
                    </a:cxn>
                    <a:cxn ang="0">
                      <a:pos x="T4" y="T5"/>
                    </a:cxn>
                    <a:cxn ang="0">
                      <a:pos x="T6" y="T7"/>
                    </a:cxn>
                    <a:cxn ang="0">
                      <a:pos x="T8" y="T9"/>
                    </a:cxn>
                  </a:cxnLst>
                  <a:rect l="0" t="0" r="r" b="b"/>
                  <a:pathLst>
                    <a:path w="7" h="19">
                      <a:moveTo>
                        <a:pt x="4" y="19"/>
                      </a:moveTo>
                      <a:cubicBezTo>
                        <a:pt x="2" y="19"/>
                        <a:pt x="1" y="15"/>
                        <a:pt x="0" y="9"/>
                      </a:cubicBezTo>
                      <a:cubicBezTo>
                        <a:pt x="0" y="4"/>
                        <a:pt x="1" y="0"/>
                        <a:pt x="2" y="0"/>
                      </a:cubicBezTo>
                      <a:cubicBezTo>
                        <a:pt x="4" y="0"/>
                        <a:pt x="6" y="4"/>
                        <a:pt x="6" y="9"/>
                      </a:cubicBezTo>
                      <a:cubicBezTo>
                        <a:pt x="7" y="14"/>
                        <a:pt x="6" y="19"/>
                        <a:pt x="4" y="19"/>
                      </a:cubicBezTo>
                      <a:close/>
                    </a:path>
                  </a:pathLst>
                </a:custGeom>
                <a:solidFill>
                  <a:srgbClr val="D432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141" name="Freeform 352">
                  <a:extLst>
                    <a:ext uri="{FF2B5EF4-FFF2-40B4-BE49-F238E27FC236}">
                      <a16:creationId xmlns:a16="http://schemas.microsoft.com/office/drawing/2014/main" id="{EF72F128-6386-59EE-AF75-274C22E9E819}"/>
                    </a:ext>
                  </a:extLst>
                </p:cNvPr>
                <p:cNvSpPr>
                  <a:spLocks/>
                </p:cNvSpPr>
                <p:nvPr/>
              </p:nvSpPr>
              <p:spPr bwMode="auto">
                <a:xfrm>
                  <a:off x="5586" y="3596"/>
                  <a:ext cx="12" cy="38"/>
                </a:xfrm>
                <a:custGeom>
                  <a:avLst/>
                  <a:gdLst>
                    <a:gd name="T0" fmla="*/ 4 w 6"/>
                    <a:gd name="T1" fmla="*/ 19 h 19"/>
                    <a:gd name="T2" fmla="*/ 0 w 6"/>
                    <a:gd name="T3" fmla="*/ 9 h 19"/>
                    <a:gd name="T4" fmla="*/ 2 w 6"/>
                    <a:gd name="T5" fmla="*/ 0 h 19"/>
                    <a:gd name="T6" fmla="*/ 6 w 6"/>
                    <a:gd name="T7" fmla="*/ 9 h 19"/>
                    <a:gd name="T8" fmla="*/ 4 w 6"/>
                    <a:gd name="T9" fmla="*/ 19 h 19"/>
                  </a:gdLst>
                  <a:ahLst/>
                  <a:cxnLst>
                    <a:cxn ang="0">
                      <a:pos x="T0" y="T1"/>
                    </a:cxn>
                    <a:cxn ang="0">
                      <a:pos x="T2" y="T3"/>
                    </a:cxn>
                    <a:cxn ang="0">
                      <a:pos x="T4" y="T5"/>
                    </a:cxn>
                    <a:cxn ang="0">
                      <a:pos x="T6" y="T7"/>
                    </a:cxn>
                    <a:cxn ang="0">
                      <a:pos x="T8" y="T9"/>
                    </a:cxn>
                  </a:cxnLst>
                  <a:rect l="0" t="0" r="r" b="b"/>
                  <a:pathLst>
                    <a:path w="6" h="19">
                      <a:moveTo>
                        <a:pt x="4" y="19"/>
                      </a:moveTo>
                      <a:cubicBezTo>
                        <a:pt x="2" y="19"/>
                        <a:pt x="1" y="15"/>
                        <a:pt x="0" y="9"/>
                      </a:cubicBezTo>
                      <a:cubicBezTo>
                        <a:pt x="0" y="4"/>
                        <a:pt x="1" y="0"/>
                        <a:pt x="2" y="0"/>
                      </a:cubicBezTo>
                      <a:cubicBezTo>
                        <a:pt x="4" y="0"/>
                        <a:pt x="5" y="4"/>
                        <a:pt x="6" y="9"/>
                      </a:cubicBezTo>
                      <a:cubicBezTo>
                        <a:pt x="6" y="14"/>
                        <a:pt x="6" y="18"/>
                        <a:pt x="4" y="19"/>
                      </a:cubicBezTo>
                      <a:close/>
                    </a:path>
                  </a:pathLst>
                </a:custGeom>
                <a:solidFill>
                  <a:srgbClr val="D433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142" name="Freeform 353">
                  <a:extLst>
                    <a:ext uri="{FF2B5EF4-FFF2-40B4-BE49-F238E27FC236}">
                      <a16:creationId xmlns:a16="http://schemas.microsoft.com/office/drawing/2014/main" id="{ADA90C94-F949-763A-4195-2E7CB83C6468}"/>
                    </a:ext>
                  </a:extLst>
                </p:cNvPr>
                <p:cNvSpPr>
                  <a:spLocks/>
                </p:cNvSpPr>
                <p:nvPr/>
              </p:nvSpPr>
              <p:spPr bwMode="auto">
                <a:xfrm>
                  <a:off x="5586" y="3596"/>
                  <a:ext cx="12" cy="36"/>
                </a:xfrm>
                <a:custGeom>
                  <a:avLst/>
                  <a:gdLst>
                    <a:gd name="T0" fmla="*/ 4 w 6"/>
                    <a:gd name="T1" fmla="*/ 18 h 18"/>
                    <a:gd name="T2" fmla="*/ 0 w 6"/>
                    <a:gd name="T3" fmla="*/ 9 h 18"/>
                    <a:gd name="T4" fmla="*/ 2 w 6"/>
                    <a:gd name="T5" fmla="*/ 0 h 18"/>
                    <a:gd name="T6" fmla="*/ 6 w 6"/>
                    <a:gd name="T7" fmla="*/ 9 h 18"/>
                    <a:gd name="T8" fmla="*/ 4 w 6"/>
                    <a:gd name="T9" fmla="*/ 18 h 18"/>
                  </a:gdLst>
                  <a:ahLst/>
                  <a:cxnLst>
                    <a:cxn ang="0">
                      <a:pos x="T0" y="T1"/>
                    </a:cxn>
                    <a:cxn ang="0">
                      <a:pos x="T2" y="T3"/>
                    </a:cxn>
                    <a:cxn ang="0">
                      <a:pos x="T4" y="T5"/>
                    </a:cxn>
                    <a:cxn ang="0">
                      <a:pos x="T6" y="T7"/>
                    </a:cxn>
                    <a:cxn ang="0">
                      <a:pos x="T8" y="T9"/>
                    </a:cxn>
                  </a:cxnLst>
                  <a:rect l="0" t="0" r="r" b="b"/>
                  <a:pathLst>
                    <a:path w="6" h="18">
                      <a:moveTo>
                        <a:pt x="4" y="18"/>
                      </a:moveTo>
                      <a:cubicBezTo>
                        <a:pt x="2" y="18"/>
                        <a:pt x="1" y="14"/>
                        <a:pt x="0" y="9"/>
                      </a:cubicBezTo>
                      <a:cubicBezTo>
                        <a:pt x="0" y="4"/>
                        <a:pt x="1" y="0"/>
                        <a:pt x="2" y="0"/>
                      </a:cubicBezTo>
                      <a:cubicBezTo>
                        <a:pt x="4" y="0"/>
                        <a:pt x="5" y="4"/>
                        <a:pt x="6" y="9"/>
                      </a:cubicBezTo>
                      <a:cubicBezTo>
                        <a:pt x="6" y="14"/>
                        <a:pt x="5" y="18"/>
                        <a:pt x="4" y="18"/>
                      </a:cubicBezTo>
                      <a:close/>
                    </a:path>
                  </a:pathLst>
                </a:custGeom>
                <a:solidFill>
                  <a:srgbClr val="D534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143" name="Freeform 354">
                  <a:extLst>
                    <a:ext uri="{FF2B5EF4-FFF2-40B4-BE49-F238E27FC236}">
                      <a16:creationId xmlns:a16="http://schemas.microsoft.com/office/drawing/2014/main" id="{84B68B4D-36EF-53D0-3E6E-500B4192A350}"/>
                    </a:ext>
                  </a:extLst>
                </p:cNvPr>
                <p:cNvSpPr>
                  <a:spLocks/>
                </p:cNvSpPr>
                <p:nvPr/>
              </p:nvSpPr>
              <p:spPr bwMode="auto">
                <a:xfrm>
                  <a:off x="5586" y="3596"/>
                  <a:ext cx="12" cy="36"/>
                </a:xfrm>
                <a:custGeom>
                  <a:avLst/>
                  <a:gdLst>
                    <a:gd name="T0" fmla="*/ 4 w 6"/>
                    <a:gd name="T1" fmla="*/ 18 h 18"/>
                    <a:gd name="T2" fmla="*/ 0 w 6"/>
                    <a:gd name="T3" fmla="*/ 9 h 18"/>
                    <a:gd name="T4" fmla="*/ 2 w 6"/>
                    <a:gd name="T5" fmla="*/ 0 h 18"/>
                    <a:gd name="T6" fmla="*/ 6 w 6"/>
                    <a:gd name="T7" fmla="*/ 9 h 18"/>
                    <a:gd name="T8" fmla="*/ 4 w 6"/>
                    <a:gd name="T9" fmla="*/ 18 h 18"/>
                  </a:gdLst>
                  <a:ahLst/>
                  <a:cxnLst>
                    <a:cxn ang="0">
                      <a:pos x="T0" y="T1"/>
                    </a:cxn>
                    <a:cxn ang="0">
                      <a:pos x="T2" y="T3"/>
                    </a:cxn>
                    <a:cxn ang="0">
                      <a:pos x="T4" y="T5"/>
                    </a:cxn>
                    <a:cxn ang="0">
                      <a:pos x="T6" y="T7"/>
                    </a:cxn>
                    <a:cxn ang="0">
                      <a:pos x="T8" y="T9"/>
                    </a:cxn>
                  </a:cxnLst>
                  <a:rect l="0" t="0" r="r" b="b"/>
                  <a:pathLst>
                    <a:path w="6" h="18">
                      <a:moveTo>
                        <a:pt x="4" y="18"/>
                      </a:moveTo>
                      <a:cubicBezTo>
                        <a:pt x="2" y="18"/>
                        <a:pt x="1" y="14"/>
                        <a:pt x="0" y="9"/>
                      </a:cubicBezTo>
                      <a:cubicBezTo>
                        <a:pt x="0" y="5"/>
                        <a:pt x="1" y="0"/>
                        <a:pt x="2" y="0"/>
                      </a:cubicBezTo>
                      <a:cubicBezTo>
                        <a:pt x="4" y="0"/>
                        <a:pt x="5" y="4"/>
                        <a:pt x="6" y="9"/>
                      </a:cubicBezTo>
                      <a:cubicBezTo>
                        <a:pt x="6" y="14"/>
                        <a:pt x="5" y="18"/>
                        <a:pt x="4" y="18"/>
                      </a:cubicBezTo>
                      <a:close/>
                    </a:path>
                  </a:pathLst>
                </a:custGeom>
                <a:solidFill>
                  <a:srgbClr val="D63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144" name="Freeform 355">
                  <a:extLst>
                    <a:ext uri="{FF2B5EF4-FFF2-40B4-BE49-F238E27FC236}">
                      <a16:creationId xmlns:a16="http://schemas.microsoft.com/office/drawing/2014/main" id="{B66B1B67-9B1B-E81B-7139-8F18CDE7E397}"/>
                    </a:ext>
                  </a:extLst>
                </p:cNvPr>
                <p:cNvSpPr>
                  <a:spLocks/>
                </p:cNvSpPr>
                <p:nvPr/>
              </p:nvSpPr>
              <p:spPr bwMode="auto">
                <a:xfrm>
                  <a:off x="5586" y="3596"/>
                  <a:ext cx="12" cy="36"/>
                </a:xfrm>
                <a:custGeom>
                  <a:avLst/>
                  <a:gdLst>
                    <a:gd name="T0" fmla="*/ 4 w 6"/>
                    <a:gd name="T1" fmla="*/ 18 h 18"/>
                    <a:gd name="T2" fmla="*/ 0 w 6"/>
                    <a:gd name="T3" fmla="*/ 9 h 18"/>
                    <a:gd name="T4" fmla="*/ 2 w 6"/>
                    <a:gd name="T5" fmla="*/ 1 h 18"/>
                    <a:gd name="T6" fmla="*/ 6 w 6"/>
                    <a:gd name="T7" fmla="*/ 9 h 18"/>
                    <a:gd name="T8" fmla="*/ 4 w 6"/>
                    <a:gd name="T9" fmla="*/ 18 h 18"/>
                  </a:gdLst>
                  <a:ahLst/>
                  <a:cxnLst>
                    <a:cxn ang="0">
                      <a:pos x="T0" y="T1"/>
                    </a:cxn>
                    <a:cxn ang="0">
                      <a:pos x="T2" y="T3"/>
                    </a:cxn>
                    <a:cxn ang="0">
                      <a:pos x="T4" y="T5"/>
                    </a:cxn>
                    <a:cxn ang="0">
                      <a:pos x="T6" y="T7"/>
                    </a:cxn>
                    <a:cxn ang="0">
                      <a:pos x="T8" y="T9"/>
                    </a:cxn>
                  </a:cxnLst>
                  <a:rect l="0" t="0" r="r" b="b"/>
                  <a:pathLst>
                    <a:path w="6" h="18">
                      <a:moveTo>
                        <a:pt x="4" y="18"/>
                      </a:moveTo>
                      <a:cubicBezTo>
                        <a:pt x="2" y="18"/>
                        <a:pt x="1" y="14"/>
                        <a:pt x="0" y="9"/>
                      </a:cubicBezTo>
                      <a:cubicBezTo>
                        <a:pt x="0" y="5"/>
                        <a:pt x="1" y="1"/>
                        <a:pt x="2" y="1"/>
                      </a:cubicBezTo>
                      <a:cubicBezTo>
                        <a:pt x="4" y="0"/>
                        <a:pt x="5" y="4"/>
                        <a:pt x="6" y="9"/>
                      </a:cubicBezTo>
                      <a:cubicBezTo>
                        <a:pt x="6" y="14"/>
                        <a:pt x="5" y="18"/>
                        <a:pt x="4" y="18"/>
                      </a:cubicBezTo>
                      <a:close/>
                    </a:path>
                  </a:pathLst>
                </a:custGeom>
                <a:solidFill>
                  <a:srgbClr val="D736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145" name="Freeform 356">
                  <a:extLst>
                    <a:ext uri="{FF2B5EF4-FFF2-40B4-BE49-F238E27FC236}">
                      <a16:creationId xmlns:a16="http://schemas.microsoft.com/office/drawing/2014/main" id="{AB48C5B6-C343-1659-3CF4-966D9E7ADB44}"/>
                    </a:ext>
                  </a:extLst>
                </p:cNvPr>
                <p:cNvSpPr>
                  <a:spLocks/>
                </p:cNvSpPr>
                <p:nvPr/>
              </p:nvSpPr>
              <p:spPr bwMode="auto">
                <a:xfrm>
                  <a:off x="5586" y="3598"/>
                  <a:ext cx="12" cy="34"/>
                </a:xfrm>
                <a:custGeom>
                  <a:avLst/>
                  <a:gdLst>
                    <a:gd name="T0" fmla="*/ 4 w 6"/>
                    <a:gd name="T1" fmla="*/ 17 h 17"/>
                    <a:gd name="T2" fmla="*/ 1 w 6"/>
                    <a:gd name="T3" fmla="*/ 8 h 17"/>
                    <a:gd name="T4" fmla="*/ 2 w 6"/>
                    <a:gd name="T5" fmla="*/ 0 h 17"/>
                    <a:gd name="T6" fmla="*/ 6 w 6"/>
                    <a:gd name="T7" fmla="*/ 8 h 17"/>
                    <a:gd name="T8" fmla="*/ 4 w 6"/>
                    <a:gd name="T9" fmla="*/ 17 h 17"/>
                  </a:gdLst>
                  <a:ahLst/>
                  <a:cxnLst>
                    <a:cxn ang="0">
                      <a:pos x="T0" y="T1"/>
                    </a:cxn>
                    <a:cxn ang="0">
                      <a:pos x="T2" y="T3"/>
                    </a:cxn>
                    <a:cxn ang="0">
                      <a:pos x="T4" y="T5"/>
                    </a:cxn>
                    <a:cxn ang="0">
                      <a:pos x="T6" y="T7"/>
                    </a:cxn>
                    <a:cxn ang="0">
                      <a:pos x="T8" y="T9"/>
                    </a:cxn>
                  </a:cxnLst>
                  <a:rect l="0" t="0" r="r" b="b"/>
                  <a:pathLst>
                    <a:path w="6" h="17">
                      <a:moveTo>
                        <a:pt x="4" y="17"/>
                      </a:moveTo>
                      <a:cubicBezTo>
                        <a:pt x="2" y="17"/>
                        <a:pt x="1" y="13"/>
                        <a:pt x="1" y="8"/>
                      </a:cubicBezTo>
                      <a:cubicBezTo>
                        <a:pt x="0" y="4"/>
                        <a:pt x="1" y="0"/>
                        <a:pt x="2" y="0"/>
                      </a:cubicBezTo>
                      <a:cubicBezTo>
                        <a:pt x="4" y="0"/>
                        <a:pt x="5" y="3"/>
                        <a:pt x="6" y="8"/>
                      </a:cubicBezTo>
                      <a:cubicBezTo>
                        <a:pt x="6" y="13"/>
                        <a:pt x="5" y="17"/>
                        <a:pt x="4" y="17"/>
                      </a:cubicBezTo>
                      <a:close/>
                    </a:path>
                  </a:pathLst>
                </a:custGeom>
                <a:solidFill>
                  <a:srgbClr val="D837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146" name="Freeform 357">
                  <a:extLst>
                    <a:ext uri="{FF2B5EF4-FFF2-40B4-BE49-F238E27FC236}">
                      <a16:creationId xmlns:a16="http://schemas.microsoft.com/office/drawing/2014/main" id="{79A44264-C85A-5217-104F-06F7DE171F87}"/>
                    </a:ext>
                  </a:extLst>
                </p:cNvPr>
                <p:cNvSpPr>
                  <a:spLocks/>
                </p:cNvSpPr>
                <p:nvPr/>
              </p:nvSpPr>
              <p:spPr bwMode="auto">
                <a:xfrm>
                  <a:off x="5586" y="3598"/>
                  <a:ext cx="12" cy="34"/>
                </a:xfrm>
                <a:custGeom>
                  <a:avLst/>
                  <a:gdLst>
                    <a:gd name="T0" fmla="*/ 4 w 6"/>
                    <a:gd name="T1" fmla="*/ 16 h 17"/>
                    <a:gd name="T2" fmla="*/ 1 w 6"/>
                    <a:gd name="T3" fmla="*/ 8 h 17"/>
                    <a:gd name="T4" fmla="*/ 2 w 6"/>
                    <a:gd name="T5" fmla="*/ 0 h 17"/>
                    <a:gd name="T6" fmla="*/ 6 w 6"/>
                    <a:gd name="T7" fmla="*/ 8 h 17"/>
                    <a:gd name="T8" fmla="*/ 4 w 6"/>
                    <a:gd name="T9" fmla="*/ 16 h 17"/>
                  </a:gdLst>
                  <a:ahLst/>
                  <a:cxnLst>
                    <a:cxn ang="0">
                      <a:pos x="T0" y="T1"/>
                    </a:cxn>
                    <a:cxn ang="0">
                      <a:pos x="T2" y="T3"/>
                    </a:cxn>
                    <a:cxn ang="0">
                      <a:pos x="T4" y="T5"/>
                    </a:cxn>
                    <a:cxn ang="0">
                      <a:pos x="T6" y="T7"/>
                    </a:cxn>
                    <a:cxn ang="0">
                      <a:pos x="T8" y="T9"/>
                    </a:cxn>
                  </a:cxnLst>
                  <a:rect l="0" t="0" r="r" b="b"/>
                  <a:pathLst>
                    <a:path w="6" h="17">
                      <a:moveTo>
                        <a:pt x="4" y="16"/>
                      </a:moveTo>
                      <a:cubicBezTo>
                        <a:pt x="2" y="17"/>
                        <a:pt x="1" y="13"/>
                        <a:pt x="1" y="8"/>
                      </a:cubicBezTo>
                      <a:cubicBezTo>
                        <a:pt x="0" y="4"/>
                        <a:pt x="1" y="0"/>
                        <a:pt x="2" y="0"/>
                      </a:cubicBezTo>
                      <a:cubicBezTo>
                        <a:pt x="4" y="0"/>
                        <a:pt x="5" y="3"/>
                        <a:pt x="6" y="8"/>
                      </a:cubicBezTo>
                      <a:cubicBezTo>
                        <a:pt x="6" y="13"/>
                        <a:pt x="5" y="16"/>
                        <a:pt x="4" y="16"/>
                      </a:cubicBezTo>
                      <a:close/>
                    </a:path>
                  </a:pathLst>
                </a:custGeom>
                <a:solidFill>
                  <a:srgbClr val="D938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147" name="Freeform 358">
                  <a:extLst>
                    <a:ext uri="{FF2B5EF4-FFF2-40B4-BE49-F238E27FC236}">
                      <a16:creationId xmlns:a16="http://schemas.microsoft.com/office/drawing/2014/main" id="{0EF7E744-C426-310F-D865-564A596508F4}"/>
                    </a:ext>
                  </a:extLst>
                </p:cNvPr>
                <p:cNvSpPr>
                  <a:spLocks/>
                </p:cNvSpPr>
                <p:nvPr/>
              </p:nvSpPr>
              <p:spPr bwMode="auto">
                <a:xfrm>
                  <a:off x="5586" y="3598"/>
                  <a:ext cx="12" cy="32"/>
                </a:xfrm>
                <a:custGeom>
                  <a:avLst/>
                  <a:gdLst>
                    <a:gd name="T0" fmla="*/ 4 w 6"/>
                    <a:gd name="T1" fmla="*/ 16 h 16"/>
                    <a:gd name="T2" fmla="*/ 1 w 6"/>
                    <a:gd name="T3" fmla="*/ 8 h 16"/>
                    <a:gd name="T4" fmla="*/ 2 w 6"/>
                    <a:gd name="T5" fmla="*/ 0 h 16"/>
                    <a:gd name="T6" fmla="*/ 6 w 6"/>
                    <a:gd name="T7" fmla="*/ 8 h 16"/>
                    <a:gd name="T8" fmla="*/ 4 w 6"/>
                    <a:gd name="T9" fmla="*/ 16 h 16"/>
                  </a:gdLst>
                  <a:ahLst/>
                  <a:cxnLst>
                    <a:cxn ang="0">
                      <a:pos x="T0" y="T1"/>
                    </a:cxn>
                    <a:cxn ang="0">
                      <a:pos x="T2" y="T3"/>
                    </a:cxn>
                    <a:cxn ang="0">
                      <a:pos x="T4" y="T5"/>
                    </a:cxn>
                    <a:cxn ang="0">
                      <a:pos x="T6" y="T7"/>
                    </a:cxn>
                    <a:cxn ang="0">
                      <a:pos x="T8" y="T9"/>
                    </a:cxn>
                  </a:cxnLst>
                  <a:rect l="0" t="0" r="r" b="b"/>
                  <a:pathLst>
                    <a:path w="6" h="16">
                      <a:moveTo>
                        <a:pt x="4" y="16"/>
                      </a:moveTo>
                      <a:cubicBezTo>
                        <a:pt x="2" y="16"/>
                        <a:pt x="1" y="13"/>
                        <a:pt x="1" y="8"/>
                      </a:cubicBezTo>
                      <a:cubicBezTo>
                        <a:pt x="0" y="4"/>
                        <a:pt x="1" y="0"/>
                        <a:pt x="2" y="0"/>
                      </a:cubicBezTo>
                      <a:cubicBezTo>
                        <a:pt x="4" y="0"/>
                        <a:pt x="5" y="4"/>
                        <a:pt x="6" y="8"/>
                      </a:cubicBezTo>
                      <a:cubicBezTo>
                        <a:pt x="6" y="12"/>
                        <a:pt x="5" y="16"/>
                        <a:pt x="4" y="16"/>
                      </a:cubicBezTo>
                      <a:close/>
                    </a:path>
                  </a:pathLst>
                </a:custGeom>
                <a:solidFill>
                  <a:srgbClr val="DA39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148" name="Freeform 359">
                  <a:extLst>
                    <a:ext uri="{FF2B5EF4-FFF2-40B4-BE49-F238E27FC236}">
                      <a16:creationId xmlns:a16="http://schemas.microsoft.com/office/drawing/2014/main" id="{25C036E3-810E-EE26-A957-4619BA1E9B1F}"/>
                    </a:ext>
                  </a:extLst>
                </p:cNvPr>
                <p:cNvSpPr>
                  <a:spLocks/>
                </p:cNvSpPr>
                <p:nvPr/>
              </p:nvSpPr>
              <p:spPr bwMode="auto">
                <a:xfrm>
                  <a:off x="5586" y="3598"/>
                  <a:ext cx="12" cy="32"/>
                </a:xfrm>
                <a:custGeom>
                  <a:avLst/>
                  <a:gdLst>
                    <a:gd name="T0" fmla="*/ 4 w 6"/>
                    <a:gd name="T1" fmla="*/ 16 h 16"/>
                    <a:gd name="T2" fmla="*/ 1 w 6"/>
                    <a:gd name="T3" fmla="*/ 8 h 16"/>
                    <a:gd name="T4" fmla="*/ 2 w 6"/>
                    <a:gd name="T5" fmla="*/ 0 h 16"/>
                    <a:gd name="T6" fmla="*/ 6 w 6"/>
                    <a:gd name="T7" fmla="*/ 8 h 16"/>
                    <a:gd name="T8" fmla="*/ 4 w 6"/>
                    <a:gd name="T9" fmla="*/ 16 h 16"/>
                  </a:gdLst>
                  <a:ahLst/>
                  <a:cxnLst>
                    <a:cxn ang="0">
                      <a:pos x="T0" y="T1"/>
                    </a:cxn>
                    <a:cxn ang="0">
                      <a:pos x="T2" y="T3"/>
                    </a:cxn>
                    <a:cxn ang="0">
                      <a:pos x="T4" y="T5"/>
                    </a:cxn>
                    <a:cxn ang="0">
                      <a:pos x="T6" y="T7"/>
                    </a:cxn>
                    <a:cxn ang="0">
                      <a:pos x="T8" y="T9"/>
                    </a:cxn>
                  </a:cxnLst>
                  <a:rect l="0" t="0" r="r" b="b"/>
                  <a:pathLst>
                    <a:path w="6" h="16">
                      <a:moveTo>
                        <a:pt x="4" y="16"/>
                      </a:moveTo>
                      <a:cubicBezTo>
                        <a:pt x="3" y="16"/>
                        <a:pt x="1" y="13"/>
                        <a:pt x="1" y="8"/>
                      </a:cubicBezTo>
                      <a:cubicBezTo>
                        <a:pt x="0" y="4"/>
                        <a:pt x="1" y="1"/>
                        <a:pt x="2" y="0"/>
                      </a:cubicBezTo>
                      <a:cubicBezTo>
                        <a:pt x="4" y="0"/>
                        <a:pt x="5" y="4"/>
                        <a:pt x="6" y="8"/>
                      </a:cubicBezTo>
                      <a:cubicBezTo>
                        <a:pt x="6" y="12"/>
                        <a:pt x="5" y="16"/>
                        <a:pt x="4" y="16"/>
                      </a:cubicBezTo>
                      <a:close/>
                    </a:path>
                  </a:pathLst>
                </a:custGeom>
                <a:solidFill>
                  <a:srgbClr val="DB3A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149" name="Freeform 360">
                  <a:extLst>
                    <a:ext uri="{FF2B5EF4-FFF2-40B4-BE49-F238E27FC236}">
                      <a16:creationId xmlns:a16="http://schemas.microsoft.com/office/drawing/2014/main" id="{F9745A98-5AB8-4227-31B7-2DCD806A70D8}"/>
                    </a:ext>
                  </a:extLst>
                </p:cNvPr>
                <p:cNvSpPr>
                  <a:spLocks/>
                </p:cNvSpPr>
                <p:nvPr/>
              </p:nvSpPr>
              <p:spPr bwMode="auto">
                <a:xfrm>
                  <a:off x="5586" y="3600"/>
                  <a:ext cx="12" cy="30"/>
                </a:xfrm>
                <a:custGeom>
                  <a:avLst/>
                  <a:gdLst>
                    <a:gd name="T0" fmla="*/ 4 w 6"/>
                    <a:gd name="T1" fmla="*/ 15 h 15"/>
                    <a:gd name="T2" fmla="*/ 1 w 6"/>
                    <a:gd name="T3" fmla="*/ 7 h 15"/>
                    <a:gd name="T4" fmla="*/ 2 w 6"/>
                    <a:gd name="T5" fmla="*/ 0 h 15"/>
                    <a:gd name="T6" fmla="*/ 5 w 6"/>
                    <a:gd name="T7" fmla="*/ 7 h 15"/>
                    <a:gd name="T8" fmla="*/ 4 w 6"/>
                    <a:gd name="T9" fmla="*/ 15 h 15"/>
                  </a:gdLst>
                  <a:ahLst/>
                  <a:cxnLst>
                    <a:cxn ang="0">
                      <a:pos x="T0" y="T1"/>
                    </a:cxn>
                    <a:cxn ang="0">
                      <a:pos x="T2" y="T3"/>
                    </a:cxn>
                    <a:cxn ang="0">
                      <a:pos x="T4" y="T5"/>
                    </a:cxn>
                    <a:cxn ang="0">
                      <a:pos x="T6" y="T7"/>
                    </a:cxn>
                    <a:cxn ang="0">
                      <a:pos x="T8" y="T9"/>
                    </a:cxn>
                  </a:cxnLst>
                  <a:rect l="0" t="0" r="r" b="b"/>
                  <a:pathLst>
                    <a:path w="6" h="15">
                      <a:moveTo>
                        <a:pt x="4" y="15"/>
                      </a:moveTo>
                      <a:cubicBezTo>
                        <a:pt x="3" y="15"/>
                        <a:pt x="1" y="12"/>
                        <a:pt x="1" y="7"/>
                      </a:cubicBezTo>
                      <a:cubicBezTo>
                        <a:pt x="0" y="3"/>
                        <a:pt x="1" y="0"/>
                        <a:pt x="2" y="0"/>
                      </a:cubicBezTo>
                      <a:cubicBezTo>
                        <a:pt x="4" y="0"/>
                        <a:pt x="5" y="3"/>
                        <a:pt x="5" y="7"/>
                      </a:cubicBezTo>
                      <a:cubicBezTo>
                        <a:pt x="6" y="11"/>
                        <a:pt x="5" y="15"/>
                        <a:pt x="4" y="15"/>
                      </a:cubicBezTo>
                      <a:close/>
                    </a:path>
                  </a:pathLst>
                </a:custGeom>
                <a:solidFill>
                  <a:srgbClr val="DC3A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150" name="Freeform 361">
                  <a:extLst>
                    <a:ext uri="{FF2B5EF4-FFF2-40B4-BE49-F238E27FC236}">
                      <a16:creationId xmlns:a16="http://schemas.microsoft.com/office/drawing/2014/main" id="{0445ADFF-62B2-BF31-084F-C489972BC253}"/>
                    </a:ext>
                  </a:extLst>
                </p:cNvPr>
                <p:cNvSpPr>
                  <a:spLocks/>
                </p:cNvSpPr>
                <p:nvPr/>
              </p:nvSpPr>
              <p:spPr bwMode="auto">
                <a:xfrm>
                  <a:off x="5586" y="3600"/>
                  <a:ext cx="12" cy="30"/>
                </a:xfrm>
                <a:custGeom>
                  <a:avLst/>
                  <a:gdLst>
                    <a:gd name="T0" fmla="*/ 4 w 6"/>
                    <a:gd name="T1" fmla="*/ 15 h 15"/>
                    <a:gd name="T2" fmla="*/ 1 w 6"/>
                    <a:gd name="T3" fmla="*/ 7 h 15"/>
                    <a:gd name="T4" fmla="*/ 2 w 6"/>
                    <a:gd name="T5" fmla="*/ 0 h 15"/>
                    <a:gd name="T6" fmla="*/ 5 w 6"/>
                    <a:gd name="T7" fmla="*/ 7 h 15"/>
                    <a:gd name="T8" fmla="*/ 4 w 6"/>
                    <a:gd name="T9" fmla="*/ 15 h 15"/>
                  </a:gdLst>
                  <a:ahLst/>
                  <a:cxnLst>
                    <a:cxn ang="0">
                      <a:pos x="T0" y="T1"/>
                    </a:cxn>
                    <a:cxn ang="0">
                      <a:pos x="T2" y="T3"/>
                    </a:cxn>
                    <a:cxn ang="0">
                      <a:pos x="T4" y="T5"/>
                    </a:cxn>
                    <a:cxn ang="0">
                      <a:pos x="T6" y="T7"/>
                    </a:cxn>
                    <a:cxn ang="0">
                      <a:pos x="T8" y="T9"/>
                    </a:cxn>
                  </a:cxnLst>
                  <a:rect l="0" t="0" r="r" b="b"/>
                  <a:pathLst>
                    <a:path w="6" h="15">
                      <a:moveTo>
                        <a:pt x="4" y="15"/>
                      </a:moveTo>
                      <a:cubicBezTo>
                        <a:pt x="3" y="15"/>
                        <a:pt x="1" y="11"/>
                        <a:pt x="1" y="7"/>
                      </a:cubicBezTo>
                      <a:cubicBezTo>
                        <a:pt x="0" y="3"/>
                        <a:pt x="1" y="0"/>
                        <a:pt x="2" y="0"/>
                      </a:cubicBezTo>
                      <a:cubicBezTo>
                        <a:pt x="4" y="0"/>
                        <a:pt x="5" y="3"/>
                        <a:pt x="5" y="7"/>
                      </a:cubicBezTo>
                      <a:cubicBezTo>
                        <a:pt x="6" y="11"/>
                        <a:pt x="5" y="14"/>
                        <a:pt x="4" y="15"/>
                      </a:cubicBezTo>
                      <a:close/>
                    </a:path>
                  </a:pathLst>
                </a:custGeom>
                <a:solidFill>
                  <a:srgbClr val="DD3B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151" name="Freeform 362">
                  <a:extLst>
                    <a:ext uri="{FF2B5EF4-FFF2-40B4-BE49-F238E27FC236}">
                      <a16:creationId xmlns:a16="http://schemas.microsoft.com/office/drawing/2014/main" id="{D1EDF5B8-CA52-91D5-9755-F5019011CAB4}"/>
                    </a:ext>
                  </a:extLst>
                </p:cNvPr>
                <p:cNvSpPr>
                  <a:spLocks/>
                </p:cNvSpPr>
                <p:nvPr/>
              </p:nvSpPr>
              <p:spPr bwMode="auto">
                <a:xfrm>
                  <a:off x="5588" y="3600"/>
                  <a:ext cx="10" cy="28"/>
                </a:xfrm>
                <a:custGeom>
                  <a:avLst/>
                  <a:gdLst>
                    <a:gd name="T0" fmla="*/ 3 w 5"/>
                    <a:gd name="T1" fmla="*/ 14 h 14"/>
                    <a:gd name="T2" fmla="*/ 0 w 5"/>
                    <a:gd name="T3" fmla="*/ 7 h 14"/>
                    <a:gd name="T4" fmla="*/ 1 w 5"/>
                    <a:gd name="T5" fmla="*/ 0 h 14"/>
                    <a:gd name="T6" fmla="*/ 4 w 5"/>
                    <a:gd name="T7" fmla="*/ 7 h 14"/>
                    <a:gd name="T8" fmla="*/ 3 w 5"/>
                    <a:gd name="T9" fmla="*/ 14 h 14"/>
                  </a:gdLst>
                  <a:ahLst/>
                  <a:cxnLst>
                    <a:cxn ang="0">
                      <a:pos x="T0" y="T1"/>
                    </a:cxn>
                    <a:cxn ang="0">
                      <a:pos x="T2" y="T3"/>
                    </a:cxn>
                    <a:cxn ang="0">
                      <a:pos x="T4" y="T5"/>
                    </a:cxn>
                    <a:cxn ang="0">
                      <a:pos x="T6" y="T7"/>
                    </a:cxn>
                    <a:cxn ang="0">
                      <a:pos x="T8" y="T9"/>
                    </a:cxn>
                  </a:cxnLst>
                  <a:rect l="0" t="0" r="r" b="b"/>
                  <a:pathLst>
                    <a:path w="5" h="14">
                      <a:moveTo>
                        <a:pt x="3" y="14"/>
                      </a:moveTo>
                      <a:cubicBezTo>
                        <a:pt x="2" y="14"/>
                        <a:pt x="0" y="11"/>
                        <a:pt x="0" y="7"/>
                      </a:cubicBezTo>
                      <a:cubicBezTo>
                        <a:pt x="0" y="3"/>
                        <a:pt x="0" y="0"/>
                        <a:pt x="1" y="0"/>
                      </a:cubicBezTo>
                      <a:cubicBezTo>
                        <a:pt x="3" y="0"/>
                        <a:pt x="4" y="3"/>
                        <a:pt x="4" y="7"/>
                      </a:cubicBezTo>
                      <a:cubicBezTo>
                        <a:pt x="5" y="11"/>
                        <a:pt x="4" y="14"/>
                        <a:pt x="3" y="14"/>
                      </a:cubicBezTo>
                      <a:close/>
                    </a:path>
                  </a:pathLst>
                </a:custGeom>
                <a:solidFill>
                  <a:srgbClr val="DE3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152" name="Freeform 363">
                  <a:extLst>
                    <a:ext uri="{FF2B5EF4-FFF2-40B4-BE49-F238E27FC236}">
                      <a16:creationId xmlns:a16="http://schemas.microsoft.com/office/drawing/2014/main" id="{A05CC4D9-451B-877F-1875-CCDEF5A12CED}"/>
                    </a:ext>
                  </a:extLst>
                </p:cNvPr>
                <p:cNvSpPr>
                  <a:spLocks/>
                </p:cNvSpPr>
                <p:nvPr/>
              </p:nvSpPr>
              <p:spPr bwMode="auto">
                <a:xfrm>
                  <a:off x="5588" y="3600"/>
                  <a:ext cx="10" cy="28"/>
                </a:xfrm>
                <a:custGeom>
                  <a:avLst/>
                  <a:gdLst>
                    <a:gd name="T0" fmla="*/ 3 w 5"/>
                    <a:gd name="T1" fmla="*/ 14 h 14"/>
                    <a:gd name="T2" fmla="*/ 0 w 5"/>
                    <a:gd name="T3" fmla="*/ 7 h 14"/>
                    <a:gd name="T4" fmla="*/ 1 w 5"/>
                    <a:gd name="T5" fmla="*/ 0 h 14"/>
                    <a:gd name="T6" fmla="*/ 4 w 5"/>
                    <a:gd name="T7" fmla="*/ 7 h 14"/>
                    <a:gd name="T8" fmla="*/ 3 w 5"/>
                    <a:gd name="T9" fmla="*/ 14 h 14"/>
                  </a:gdLst>
                  <a:ahLst/>
                  <a:cxnLst>
                    <a:cxn ang="0">
                      <a:pos x="T0" y="T1"/>
                    </a:cxn>
                    <a:cxn ang="0">
                      <a:pos x="T2" y="T3"/>
                    </a:cxn>
                    <a:cxn ang="0">
                      <a:pos x="T4" y="T5"/>
                    </a:cxn>
                    <a:cxn ang="0">
                      <a:pos x="T6" y="T7"/>
                    </a:cxn>
                    <a:cxn ang="0">
                      <a:pos x="T8" y="T9"/>
                    </a:cxn>
                  </a:cxnLst>
                  <a:rect l="0" t="0" r="r" b="b"/>
                  <a:pathLst>
                    <a:path w="5" h="14">
                      <a:moveTo>
                        <a:pt x="3" y="14"/>
                      </a:moveTo>
                      <a:cubicBezTo>
                        <a:pt x="2" y="14"/>
                        <a:pt x="0" y="11"/>
                        <a:pt x="0" y="7"/>
                      </a:cubicBezTo>
                      <a:cubicBezTo>
                        <a:pt x="0" y="4"/>
                        <a:pt x="0" y="0"/>
                        <a:pt x="1" y="0"/>
                      </a:cubicBezTo>
                      <a:cubicBezTo>
                        <a:pt x="3" y="0"/>
                        <a:pt x="4" y="3"/>
                        <a:pt x="4" y="7"/>
                      </a:cubicBezTo>
                      <a:cubicBezTo>
                        <a:pt x="5" y="11"/>
                        <a:pt x="4" y="14"/>
                        <a:pt x="3" y="14"/>
                      </a:cubicBezTo>
                      <a:close/>
                    </a:path>
                  </a:pathLst>
                </a:custGeom>
                <a:solidFill>
                  <a:srgbClr val="DE3D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153" name="Freeform 364">
                  <a:extLst>
                    <a:ext uri="{FF2B5EF4-FFF2-40B4-BE49-F238E27FC236}">
                      <a16:creationId xmlns:a16="http://schemas.microsoft.com/office/drawing/2014/main" id="{D7C13854-587A-A6D6-97E0-05E4FCEB4682}"/>
                    </a:ext>
                  </a:extLst>
                </p:cNvPr>
                <p:cNvSpPr>
                  <a:spLocks/>
                </p:cNvSpPr>
                <p:nvPr/>
              </p:nvSpPr>
              <p:spPr bwMode="auto">
                <a:xfrm>
                  <a:off x="5588" y="3600"/>
                  <a:ext cx="10" cy="28"/>
                </a:xfrm>
                <a:custGeom>
                  <a:avLst/>
                  <a:gdLst>
                    <a:gd name="T0" fmla="*/ 3 w 5"/>
                    <a:gd name="T1" fmla="*/ 14 h 14"/>
                    <a:gd name="T2" fmla="*/ 0 w 5"/>
                    <a:gd name="T3" fmla="*/ 7 h 14"/>
                    <a:gd name="T4" fmla="*/ 1 w 5"/>
                    <a:gd name="T5" fmla="*/ 1 h 14"/>
                    <a:gd name="T6" fmla="*/ 4 w 5"/>
                    <a:gd name="T7" fmla="*/ 7 h 14"/>
                    <a:gd name="T8" fmla="*/ 3 w 5"/>
                    <a:gd name="T9" fmla="*/ 14 h 14"/>
                  </a:gdLst>
                  <a:ahLst/>
                  <a:cxnLst>
                    <a:cxn ang="0">
                      <a:pos x="T0" y="T1"/>
                    </a:cxn>
                    <a:cxn ang="0">
                      <a:pos x="T2" y="T3"/>
                    </a:cxn>
                    <a:cxn ang="0">
                      <a:pos x="T4" y="T5"/>
                    </a:cxn>
                    <a:cxn ang="0">
                      <a:pos x="T6" y="T7"/>
                    </a:cxn>
                    <a:cxn ang="0">
                      <a:pos x="T8" y="T9"/>
                    </a:cxn>
                  </a:cxnLst>
                  <a:rect l="0" t="0" r="r" b="b"/>
                  <a:pathLst>
                    <a:path w="5" h="14">
                      <a:moveTo>
                        <a:pt x="3" y="14"/>
                      </a:moveTo>
                      <a:cubicBezTo>
                        <a:pt x="2" y="14"/>
                        <a:pt x="0" y="11"/>
                        <a:pt x="0" y="7"/>
                      </a:cubicBezTo>
                      <a:cubicBezTo>
                        <a:pt x="0" y="4"/>
                        <a:pt x="0" y="1"/>
                        <a:pt x="1" y="1"/>
                      </a:cubicBezTo>
                      <a:cubicBezTo>
                        <a:pt x="3" y="0"/>
                        <a:pt x="4" y="3"/>
                        <a:pt x="4" y="7"/>
                      </a:cubicBezTo>
                      <a:cubicBezTo>
                        <a:pt x="5" y="11"/>
                        <a:pt x="4" y="14"/>
                        <a:pt x="3" y="14"/>
                      </a:cubicBezTo>
                      <a:close/>
                    </a:path>
                  </a:pathLst>
                </a:custGeom>
                <a:solidFill>
                  <a:srgbClr val="DF3E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154" name="Freeform 365">
                  <a:extLst>
                    <a:ext uri="{FF2B5EF4-FFF2-40B4-BE49-F238E27FC236}">
                      <a16:creationId xmlns:a16="http://schemas.microsoft.com/office/drawing/2014/main" id="{C9C576C3-06F7-2EA9-E25A-189A3D5C85E1}"/>
                    </a:ext>
                  </a:extLst>
                </p:cNvPr>
                <p:cNvSpPr>
                  <a:spLocks/>
                </p:cNvSpPr>
                <p:nvPr/>
              </p:nvSpPr>
              <p:spPr bwMode="auto">
                <a:xfrm>
                  <a:off x="5588" y="3602"/>
                  <a:ext cx="8" cy="26"/>
                </a:xfrm>
                <a:custGeom>
                  <a:avLst/>
                  <a:gdLst>
                    <a:gd name="T0" fmla="*/ 3 w 4"/>
                    <a:gd name="T1" fmla="*/ 13 h 13"/>
                    <a:gd name="T2" fmla="*/ 0 w 4"/>
                    <a:gd name="T3" fmla="*/ 6 h 13"/>
                    <a:gd name="T4" fmla="*/ 1 w 4"/>
                    <a:gd name="T5" fmla="*/ 0 h 13"/>
                    <a:gd name="T6" fmla="*/ 4 w 4"/>
                    <a:gd name="T7" fmla="*/ 6 h 13"/>
                    <a:gd name="T8" fmla="*/ 3 w 4"/>
                    <a:gd name="T9" fmla="*/ 13 h 13"/>
                  </a:gdLst>
                  <a:ahLst/>
                  <a:cxnLst>
                    <a:cxn ang="0">
                      <a:pos x="T0" y="T1"/>
                    </a:cxn>
                    <a:cxn ang="0">
                      <a:pos x="T2" y="T3"/>
                    </a:cxn>
                    <a:cxn ang="0">
                      <a:pos x="T4" y="T5"/>
                    </a:cxn>
                    <a:cxn ang="0">
                      <a:pos x="T6" y="T7"/>
                    </a:cxn>
                    <a:cxn ang="0">
                      <a:pos x="T8" y="T9"/>
                    </a:cxn>
                  </a:cxnLst>
                  <a:rect l="0" t="0" r="r" b="b"/>
                  <a:pathLst>
                    <a:path w="4" h="13">
                      <a:moveTo>
                        <a:pt x="3" y="13"/>
                      </a:moveTo>
                      <a:cubicBezTo>
                        <a:pt x="2" y="13"/>
                        <a:pt x="0" y="10"/>
                        <a:pt x="0" y="6"/>
                      </a:cubicBezTo>
                      <a:cubicBezTo>
                        <a:pt x="0" y="3"/>
                        <a:pt x="0" y="0"/>
                        <a:pt x="1" y="0"/>
                      </a:cubicBezTo>
                      <a:cubicBezTo>
                        <a:pt x="3" y="0"/>
                        <a:pt x="4" y="2"/>
                        <a:pt x="4" y="6"/>
                      </a:cubicBezTo>
                      <a:cubicBezTo>
                        <a:pt x="4" y="10"/>
                        <a:pt x="4" y="13"/>
                        <a:pt x="3" y="13"/>
                      </a:cubicBezTo>
                      <a:close/>
                    </a:path>
                  </a:pathLst>
                </a:custGeom>
                <a:solidFill>
                  <a:srgbClr val="E03F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155" name="Freeform 366">
                  <a:extLst>
                    <a:ext uri="{FF2B5EF4-FFF2-40B4-BE49-F238E27FC236}">
                      <a16:creationId xmlns:a16="http://schemas.microsoft.com/office/drawing/2014/main" id="{6A88EAEB-79A4-0C4B-1B92-A4AB0046CB89}"/>
                    </a:ext>
                  </a:extLst>
                </p:cNvPr>
                <p:cNvSpPr>
                  <a:spLocks/>
                </p:cNvSpPr>
                <p:nvPr/>
              </p:nvSpPr>
              <p:spPr bwMode="auto">
                <a:xfrm>
                  <a:off x="5588" y="3602"/>
                  <a:ext cx="8" cy="26"/>
                </a:xfrm>
                <a:custGeom>
                  <a:avLst/>
                  <a:gdLst>
                    <a:gd name="T0" fmla="*/ 3 w 4"/>
                    <a:gd name="T1" fmla="*/ 12 h 13"/>
                    <a:gd name="T2" fmla="*/ 0 w 4"/>
                    <a:gd name="T3" fmla="*/ 6 h 13"/>
                    <a:gd name="T4" fmla="*/ 2 w 4"/>
                    <a:gd name="T5" fmla="*/ 0 h 13"/>
                    <a:gd name="T6" fmla="*/ 4 w 4"/>
                    <a:gd name="T7" fmla="*/ 6 h 13"/>
                    <a:gd name="T8" fmla="*/ 3 w 4"/>
                    <a:gd name="T9" fmla="*/ 12 h 13"/>
                  </a:gdLst>
                  <a:ahLst/>
                  <a:cxnLst>
                    <a:cxn ang="0">
                      <a:pos x="T0" y="T1"/>
                    </a:cxn>
                    <a:cxn ang="0">
                      <a:pos x="T2" y="T3"/>
                    </a:cxn>
                    <a:cxn ang="0">
                      <a:pos x="T4" y="T5"/>
                    </a:cxn>
                    <a:cxn ang="0">
                      <a:pos x="T6" y="T7"/>
                    </a:cxn>
                    <a:cxn ang="0">
                      <a:pos x="T8" y="T9"/>
                    </a:cxn>
                  </a:cxnLst>
                  <a:rect l="0" t="0" r="r" b="b"/>
                  <a:pathLst>
                    <a:path w="4" h="13">
                      <a:moveTo>
                        <a:pt x="3" y="12"/>
                      </a:moveTo>
                      <a:cubicBezTo>
                        <a:pt x="2" y="13"/>
                        <a:pt x="0" y="10"/>
                        <a:pt x="0" y="6"/>
                      </a:cubicBezTo>
                      <a:cubicBezTo>
                        <a:pt x="0" y="3"/>
                        <a:pt x="0" y="0"/>
                        <a:pt x="2" y="0"/>
                      </a:cubicBezTo>
                      <a:cubicBezTo>
                        <a:pt x="3" y="0"/>
                        <a:pt x="4" y="3"/>
                        <a:pt x="4" y="6"/>
                      </a:cubicBezTo>
                      <a:cubicBezTo>
                        <a:pt x="4" y="9"/>
                        <a:pt x="4" y="12"/>
                        <a:pt x="3" y="12"/>
                      </a:cubicBezTo>
                      <a:close/>
                    </a:path>
                  </a:pathLst>
                </a:custGeom>
                <a:solidFill>
                  <a:srgbClr val="E14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156" name="Freeform 367">
                  <a:extLst>
                    <a:ext uri="{FF2B5EF4-FFF2-40B4-BE49-F238E27FC236}">
                      <a16:creationId xmlns:a16="http://schemas.microsoft.com/office/drawing/2014/main" id="{0E5F7CF3-8B40-11C2-9A6B-9AEAEAF5E041}"/>
                    </a:ext>
                  </a:extLst>
                </p:cNvPr>
                <p:cNvSpPr>
                  <a:spLocks/>
                </p:cNvSpPr>
                <p:nvPr/>
              </p:nvSpPr>
              <p:spPr bwMode="auto">
                <a:xfrm>
                  <a:off x="5588" y="3602"/>
                  <a:ext cx="8" cy="24"/>
                </a:xfrm>
                <a:custGeom>
                  <a:avLst/>
                  <a:gdLst>
                    <a:gd name="T0" fmla="*/ 3 w 4"/>
                    <a:gd name="T1" fmla="*/ 12 h 12"/>
                    <a:gd name="T2" fmla="*/ 0 w 4"/>
                    <a:gd name="T3" fmla="*/ 6 h 12"/>
                    <a:gd name="T4" fmla="*/ 2 w 4"/>
                    <a:gd name="T5" fmla="*/ 0 h 12"/>
                    <a:gd name="T6" fmla="*/ 4 w 4"/>
                    <a:gd name="T7" fmla="*/ 6 h 12"/>
                    <a:gd name="T8" fmla="*/ 3 w 4"/>
                    <a:gd name="T9" fmla="*/ 12 h 12"/>
                  </a:gdLst>
                  <a:ahLst/>
                  <a:cxnLst>
                    <a:cxn ang="0">
                      <a:pos x="T0" y="T1"/>
                    </a:cxn>
                    <a:cxn ang="0">
                      <a:pos x="T2" y="T3"/>
                    </a:cxn>
                    <a:cxn ang="0">
                      <a:pos x="T4" y="T5"/>
                    </a:cxn>
                    <a:cxn ang="0">
                      <a:pos x="T6" y="T7"/>
                    </a:cxn>
                    <a:cxn ang="0">
                      <a:pos x="T8" y="T9"/>
                    </a:cxn>
                  </a:cxnLst>
                  <a:rect l="0" t="0" r="r" b="b"/>
                  <a:pathLst>
                    <a:path w="4" h="12">
                      <a:moveTo>
                        <a:pt x="3" y="12"/>
                      </a:moveTo>
                      <a:cubicBezTo>
                        <a:pt x="2" y="12"/>
                        <a:pt x="1" y="10"/>
                        <a:pt x="0" y="6"/>
                      </a:cubicBezTo>
                      <a:cubicBezTo>
                        <a:pt x="0" y="3"/>
                        <a:pt x="1" y="0"/>
                        <a:pt x="2" y="0"/>
                      </a:cubicBezTo>
                      <a:cubicBezTo>
                        <a:pt x="3" y="0"/>
                        <a:pt x="4" y="3"/>
                        <a:pt x="4" y="6"/>
                      </a:cubicBezTo>
                      <a:cubicBezTo>
                        <a:pt x="4" y="9"/>
                        <a:pt x="4" y="12"/>
                        <a:pt x="3" y="12"/>
                      </a:cubicBezTo>
                      <a:close/>
                    </a:path>
                  </a:pathLst>
                </a:custGeom>
                <a:solidFill>
                  <a:srgbClr val="E24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157" name="Freeform 368">
                  <a:extLst>
                    <a:ext uri="{FF2B5EF4-FFF2-40B4-BE49-F238E27FC236}">
                      <a16:creationId xmlns:a16="http://schemas.microsoft.com/office/drawing/2014/main" id="{778C4211-EC36-FCA1-299D-97ED8F7F2527}"/>
                    </a:ext>
                  </a:extLst>
                </p:cNvPr>
                <p:cNvSpPr>
                  <a:spLocks/>
                </p:cNvSpPr>
                <p:nvPr/>
              </p:nvSpPr>
              <p:spPr bwMode="auto">
                <a:xfrm>
                  <a:off x="5588" y="3602"/>
                  <a:ext cx="8" cy="24"/>
                </a:xfrm>
                <a:custGeom>
                  <a:avLst/>
                  <a:gdLst>
                    <a:gd name="T0" fmla="*/ 3 w 4"/>
                    <a:gd name="T1" fmla="*/ 12 h 12"/>
                    <a:gd name="T2" fmla="*/ 0 w 4"/>
                    <a:gd name="T3" fmla="*/ 6 h 12"/>
                    <a:gd name="T4" fmla="*/ 2 w 4"/>
                    <a:gd name="T5" fmla="*/ 0 h 12"/>
                    <a:gd name="T6" fmla="*/ 4 w 4"/>
                    <a:gd name="T7" fmla="*/ 6 h 12"/>
                    <a:gd name="T8" fmla="*/ 3 w 4"/>
                    <a:gd name="T9" fmla="*/ 12 h 12"/>
                  </a:gdLst>
                  <a:ahLst/>
                  <a:cxnLst>
                    <a:cxn ang="0">
                      <a:pos x="T0" y="T1"/>
                    </a:cxn>
                    <a:cxn ang="0">
                      <a:pos x="T2" y="T3"/>
                    </a:cxn>
                    <a:cxn ang="0">
                      <a:pos x="T4" y="T5"/>
                    </a:cxn>
                    <a:cxn ang="0">
                      <a:pos x="T6" y="T7"/>
                    </a:cxn>
                    <a:cxn ang="0">
                      <a:pos x="T8" y="T9"/>
                    </a:cxn>
                  </a:cxnLst>
                  <a:rect l="0" t="0" r="r" b="b"/>
                  <a:pathLst>
                    <a:path w="4" h="12">
                      <a:moveTo>
                        <a:pt x="3" y="12"/>
                      </a:moveTo>
                      <a:cubicBezTo>
                        <a:pt x="2" y="12"/>
                        <a:pt x="1" y="10"/>
                        <a:pt x="0" y="6"/>
                      </a:cubicBezTo>
                      <a:cubicBezTo>
                        <a:pt x="0" y="3"/>
                        <a:pt x="1" y="0"/>
                        <a:pt x="2" y="0"/>
                      </a:cubicBezTo>
                      <a:cubicBezTo>
                        <a:pt x="3" y="0"/>
                        <a:pt x="4" y="3"/>
                        <a:pt x="4" y="6"/>
                      </a:cubicBezTo>
                      <a:cubicBezTo>
                        <a:pt x="4" y="9"/>
                        <a:pt x="4" y="12"/>
                        <a:pt x="3" y="12"/>
                      </a:cubicBezTo>
                      <a:close/>
                    </a:path>
                  </a:pathLst>
                </a:custGeom>
                <a:solidFill>
                  <a:srgbClr val="E342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158" name="Freeform 369">
                  <a:extLst>
                    <a:ext uri="{FF2B5EF4-FFF2-40B4-BE49-F238E27FC236}">
                      <a16:creationId xmlns:a16="http://schemas.microsoft.com/office/drawing/2014/main" id="{03D051D9-59A3-CB52-70FC-B52EE7339296}"/>
                    </a:ext>
                  </a:extLst>
                </p:cNvPr>
                <p:cNvSpPr>
                  <a:spLocks/>
                </p:cNvSpPr>
                <p:nvPr/>
              </p:nvSpPr>
              <p:spPr bwMode="auto">
                <a:xfrm>
                  <a:off x="5588" y="3604"/>
                  <a:ext cx="8" cy="22"/>
                </a:xfrm>
                <a:custGeom>
                  <a:avLst/>
                  <a:gdLst>
                    <a:gd name="T0" fmla="*/ 3 w 4"/>
                    <a:gd name="T1" fmla="*/ 11 h 11"/>
                    <a:gd name="T2" fmla="*/ 0 w 4"/>
                    <a:gd name="T3" fmla="*/ 5 h 11"/>
                    <a:gd name="T4" fmla="*/ 2 w 4"/>
                    <a:gd name="T5" fmla="*/ 0 h 11"/>
                    <a:gd name="T6" fmla="*/ 4 w 4"/>
                    <a:gd name="T7" fmla="*/ 5 h 11"/>
                    <a:gd name="T8" fmla="*/ 3 w 4"/>
                    <a:gd name="T9" fmla="*/ 11 h 11"/>
                  </a:gdLst>
                  <a:ahLst/>
                  <a:cxnLst>
                    <a:cxn ang="0">
                      <a:pos x="T0" y="T1"/>
                    </a:cxn>
                    <a:cxn ang="0">
                      <a:pos x="T2" y="T3"/>
                    </a:cxn>
                    <a:cxn ang="0">
                      <a:pos x="T4" y="T5"/>
                    </a:cxn>
                    <a:cxn ang="0">
                      <a:pos x="T6" y="T7"/>
                    </a:cxn>
                    <a:cxn ang="0">
                      <a:pos x="T8" y="T9"/>
                    </a:cxn>
                  </a:cxnLst>
                  <a:rect l="0" t="0" r="r" b="b"/>
                  <a:pathLst>
                    <a:path w="4" h="11">
                      <a:moveTo>
                        <a:pt x="3" y="11"/>
                      </a:moveTo>
                      <a:cubicBezTo>
                        <a:pt x="2" y="11"/>
                        <a:pt x="1" y="8"/>
                        <a:pt x="0" y="5"/>
                      </a:cubicBezTo>
                      <a:cubicBezTo>
                        <a:pt x="0" y="2"/>
                        <a:pt x="1" y="0"/>
                        <a:pt x="2" y="0"/>
                      </a:cubicBezTo>
                      <a:cubicBezTo>
                        <a:pt x="3" y="0"/>
                        <a:pt x="4" y="2"/>
                        <a:pt x="4" y="5"/>
                      </a:cubicBezTo>
                      <a:cubicBezTo>
                        <a:pt x="4" y="8"/>
                        <a:pt x="4" y="11"/>
                        <a:pt x="3" y="11"/>
                      </a:cubicBezTo>
                      <a:close/>
                    </a:path>
                  </a:pathLst>
                </a:custGeom>
                <a:solidFill>
                  <a:srgbClr val="E443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159" name="Freeform 370">
                  <a:extLst>
                    <a:ext uri="{FF2B5EF4-FFF2-40B4-BE49-F238E27FC236}">
                      <a16:creationId xmlns:a16="http://schemas.microsoft.com/office/drawing/2014/main" id="{64B83952-9257-D75D-7D69-768F54C5FD44}"/>
                    </a:ext>
                  </a:extLst>
                </p:cNvPr>
                <p:cNvSpPr>
                  <a:spLocks/>
                </p:cNvSpPr>
                <p:nvPr/>
              </p:nvSpPr>
              <p:spPr bwMode="auto">
                <a:xfrm>
                  <a:off x="5588" y="3604"/>
                  <a:ext cx="8" cy="22"/>
                </a:xfrm>
                <a:custGeom>
                  <a:avLst/>
                  <a:gdLst>
                    <a:gd name="T0" fmla="*/ 3 w 4"/>
                    <a:gd name="T1" fmla="*/ 11 h 11"/>
                    <a:gd name="T2" fmla="*/ 0 w 4"/>
                    <a:gd name="T3" fmla="*/ 5 h 11"/>
                    <a:gd name="T4" fmla="*/ 2 w 4"/>
                    <a:gd name="T5" fmla="*/ 0 h 11"/>
                    <a:gd name="T6" fmla="*/ 4 w 4"/>
                    <a:gd name="T7" fmla="*/ 5 h 11"/>
                    <a:gd name="T8" fmla="*/ 3 w 4"/>
                    <a:gd name="T9" fmla="*/ 11 h 11"/>
                  </a:gdLst>
                  <a:ahLst/>
                  <a:cxnLst>
                    <a:cxn ang="0">
                      <a:pos x="T0" y="T1"/>
                    </a:cxn>
                    <a:cxn ang="0">
                      <a:pos x="T2" y="T3"/>
                    </a:cxn>
                    <a:cxn ang="0">
                      <a:pos x="T4" y="T5"/>
                    </a:cxn>
                    <a:cxn ang="0">
                      <a:pos x="T6" y="T7"/>
                    </a:cxn>
                    <a:cxn ang="0">
                      <a:pos x="T8" y="T9"/>
                    </a:cxn>
                  </a:cxnLst>
                  <a:rect l="0" t="0" r="r" b="b"/>
                  <a:pathLst>
                    <a:path w="4" h="11">
                      <a:moveTo>
                        <a:pt x="3" y="11"/>
                      </a:moveTo>
                      <a:cubicBezTo>
                        <a:pt x="2" y="11"/>
                        <a:pt x="1" y="8"/>
                        <a:pt x="0" y="5"/>
                      </a:cubicBezTo>
                      <a:cubicBezTo>
                        <a:pt x="0" y="2"/>
                        <a:pt x="1" y="0"/>
                        <a:pt x="2" y="0"/>
                      </a:cubicBezTo>
                      <a:cubicBezTo>
                        <a:pt x="3" y="0"/>
                        <a:pt x="3" y="2"/>
                        <a:pt x="4" y="5"/>
                      </a:cubicBezTo>
                      <a:cubicBezTo>
                        <a:pt x="4" y="8"/>
                        <a:pt x="4" y="11"/>
                        <a:pt x="3" y="11"/>
                      </a:cubicBezTo>
                      <a:close/>
                    </a:path>
                  </a:pathLst>
                </a:custGeom>
                <a:solidFill>
                  <a:srgbClr val="E544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160" name="Freeform 371">
                  <a:extLst>
                    <a:ext uri="{FF2B5EF4-FFF2-40B4-BE49-F238E27FC236}">
                      <a16:creationId xmlns:a16="http://schemas.microsoft.com/office/drawing/2014/main" id="{DBC8AC53-2471-7E52-9C96-A0BF7E77D2DE}"/>
                    </a:ext>
                  </a:extLst>
                </p:cNvPr>
                <p:cNvSpPr>
                  <a:spLocks/>
                </p:cNvSpPr>
                <p:nvPr/>
              </p:nvSpPr>
              <p:spPr bwMode="auto">
                <a:xfrm>
                  <a:off x="5588" y="3604"/>
                  <a:ext cx="8" cy="20"/>
                </a:xfrm>
                <a:custGeom>
                  <a:avLst/>
                  <a:gdLst>
                    <a:gd name="T0" fmla="*/ 3 w 4"/>
                    <a:gd name="T1" fmla="*/ 10 h 10"/>
                    <a:gd name="T2" fmla="*/ 1 w 4"/>
                    <a:gd name="T3" fmla="*/ 5 h 10"/>
                    <a:gd name="T4" fmla="*/ 2 w 4"/>
                    <a:gd name="T5" fmla="*/ 0 h 10"/>
                    <a:gd name="T6" fmla="*/ 4 w 4"/>
                    <a:gd name="T7" fmla="*/ 5 h 10"/>
                    <a:gd name="T8" fmla="*/ 3 w 4"/>
                    <a:gd name="T9" fmla="*/ 10 h 10"/>
                  </a:gdLst>
                  <a:ahLst/>
                  <a:cxnLst>
                    <a:cxn ang="0">
                      <a:pos x="T0" y="T1"/>
                    </a:cxn>
                    <a:cxn ang="0">
                      <a:pos x="T2" y="T3"/>
                    </a:cxn>
                    <a:cxn ang="0">
                      <a:pos x="T4" y="T5"/>
                    </a:cxn>
                    <a:cxn ang="0">
                      <a:pos x="T6" y="T7"/>
                    </a:cxn>
                    <a:cxn ang="0">
                      <a:pos x="T8" y="T9"/>
                    </a:cxn>
                  </a:cxnLst>
                  <a:rect l="0" t="0" r="r" b="b"/>
                  <a:pathLst>
                    <a:path w="4" h="10">
                      <a:moveTo>
                        <a:pt x="3" y="10"/>
                      </a:moveTo>
                      <a:cubicBezTo>
                        <a:pt x="2" y="10"/>
                        <a:pt x="1" y="8"/>
                        <a:pt x="1" y="5"/>
                      </a:cubicBezTo>
                      <a:cubicBezTo>
                        <a:pt x="0" y="2"/>
                        <a:pt x="1" y="0"/>
                        <a:pt x="2" y="0"/>
                      </a:cubicBezTo>
                      <a:cubicBezTo>
                        <a:pt x="3" y="0"/>
                        <a:pt x="3" y="2"/>
                        <a:pt x="4" y="5"/>
                      </a:cubicBezTo>
                      <a:cubicBezTo>
                        <a:pt x="4" y="8"/>
                        <a:pt x="3" y="10"/>
                        <a:pt x="3" y="10"/>
                      </a:cubicBezTo>
                      <a:close/>
                    </a:path>
                  </a:pathLst>
                </a:custGeom>
                <a:solidFill>
                  <a:srgbClr val="E6456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161" name="Freeform 372">
                  <a:extLst>
                    <a:ext uri="{FF2B5EF4-FFF2-40B4-BE49-F238E27FC236}">
                      <a16:creationId xmlns:a16="http://schemas.microsoft.com/office/drawing/2014/main" id="{7E6F6001-0ABC-C22E-6AA2-103998D8B545}"/>
                    </a:ext>
                  </a:extLst>
                </p:cNvPr>
                <p:cNvSpPr>
                  <a:spLocks/>
                </p:cNvSpPr>
                <p:nvPr/>
              </p:nvSpPr>
              <p:spPr bwMode="auto">
                <a:xfrm>
                  <a:off x="5588" y="3604"/>
                  <a:ext cx="8" cy="20"/>
                </a:xfrm>
                <a:custGeom>
                  <a:avLst/>
                  <a:gdLst>
                    <a:gd name="T0" fmla="*/ 3 w 4"/>
                    <a:gd name="T1" fmla="*/ 10 h 10"/>
                    <a:gd name="T2" fmla="*/ 1 w 4"/>
                    <a:gd name="T3" fmla="*/ 5 h 10"/>
                    <a:gd name="T4" fmla="*/ 2 w 4"/>
                    <a:gd name="T5" fmla="*/ 0 h 10"/>
                    <a:gd name="T6" fmla="*/ 4 w 4"/>
                    <a:gd name="T7" fmla="*/ 5 h 10"/>
                    <a:gd name="T8" fmla="*/ 3 w 4"/>
                    <a:gd name="T9" fmla="*/ 10 h 10"/>
                  </a:gdLst>
                  <a:ahLst/>
                  <a:cxnLst>
                    <a:cxn ang="0">
                      <a:pos x="T0" y="T1"/>
                    </a:cxn>
                    <a:cxn ang="0">
                      <a:pos x="T2" y="T3"/>
                    </a:cxn>
                    <a:cxn ang="0">
                      <a:pos x="T4" y="T5"/>
                    </a:cxn>
                    <a:cxn ang="0">
                      <a:pos x="T6" y="T7"/>
                    </a:cxn>
                    <a:cxn ang="0">
                      <a:pos x="T8" y="T9"/>
                    </a:cxn>
                  </a:cxnLst>
                  <a:rect l="0" t="0" r="r" b="b"/>
                  <a:pathLst>
                    <a:path w="4" h="10">
                      <a:moveTo>
                        <a:pt x="3" y="10"/>
                      </a:moveTo>
                      <a:cubicBezTo>
                        <a:pt x="2" y="10"/>
                        <a:pt x="1" y="8"/>
                        <a:pt x="1" y="5"/>
                      </a:cubicBezTo>
                      <a:cubicBezTo>
                        <a:pt x="0" y="3"/>
                        <a:pt x="1" y="0"/>
                        <a:pt x="2" y="0"/>
                      </a:cubicBezTo>
                      <a:cubicBezTo>
                        <a:pt x="2" y="0"/>
                        <a:pt x="3" y="2"/>
                        <a:pt x="4" y="5"/>
                      </a:cubicBezTo>
                      <a:cubicBezTo>
                        <a:pt x="4" y="8"/>
                        <a:pt x="3" y="10"/>
                        <a:pt x="3" y="10"/>
                      </a:cubicBezTo>
                      <a:close/>
                    </a:path>
                  </a:pathLst>
                </a:custGeom>
                <a:solidFill>
                  <a:srgbClr val="E746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162" name="Freeform 373">
                  <a:extLst>
                    <a:ext uri="{FF2B5EF4-FFF2-40B4-BE49-F238E27FC236}">
                      <a16:creationId xmlns:a16="http://schemas.microsoft.com/office/drawing/2014/main" id="{84D98240-D0B6-C7FC-E02C-614A7B83A508}"/>
                    </a:ext>
                  </a:extLst>
                </p:cNvPr>
                <p:cNvSpPr>
                  <a:spLocks/>
                </p:cNvSpPr>
                <p:nvPr/>
              </p:nvSpPr>
              <p:spPr bwMode="auto">
                <a:xfrm>
                  <a:off x="5588" y="3604"/>
                  <a:ext cx="8" cy="20"/>
                </a:xfrm>
                <a:custGeom>
                  <a:avLst/>
                  <a:gdLst>
                    <a:gd name="T0" fmla="*/ 3 w 4"/>
                    <a:gd name="T1" fmla="*/ 10 h 10"/>
                    <a:gd name="T2" fmla="*/ 1 w 4"/>
                    <a:gd name="T3" fmla="*/ 5 h 10"/>
                    <a:gd name="T4" fmla="*/ 2 w 4"/>
                    <a:gd name="T5" fmla="*/ 0 h 10"/>
                    <a:gd name="T6" fmla="*/ 4 w 4"/>
                    <a:gd name="T7" fmla="*/ 5 h 10"/>
                    <a:gd name="T8" fmla="*/ 3 w 4"/>
                    <a:gd name="T9" fmla="*/ 10 h 10"/>
                  </a:gdLst>
                  <a:ahLst/>
                  <a:cxnLst>
                    <a:cxn ang="0">
                      <a:pos x="T0" y="T1"/>
                    </a:cxn>
                    <a:cxn ang="0">
                      <a:pos x="T2" y="T3"/>
                    </a:cxn>
                    <a:cxn ang="0">
                      <a:pos x="T4" y="T5"/>
                    </a:cxn>
                    <a:cxn ang="0">
                      <a:pos x="T6" y="T7"/>
                    </a:cxn>
                    <a:cxn ang="0">
                      <a:pos x="T8" y="T9"/>
                    </a:cxn>
                  </a:cxnLst>
                  <a:rect l="0" t="0" r="r" b="b"/>
                  <a:pathLst>
                    <a:path w="4" h="10">
                      <a:moveTo>
                        <a:pt x="3" y="10"/>
                      </a:moveTo>
                      <a:cubicBezTo>
                        <a:pt x="2" y="10"/>
                        <a:pt x="1" y="8"/>
                        <a:pt x="1" y="5"/>
                      </a:cubicBezTo>
                      <a:cubicBezTo>
                        <a:pt x="0" y="3"/>
                        <a:pt x="1" y="1"/>
                        <a:pt x="2" y="0"/>
                      </a:cubicBezTo>
                      <a:cubicBezTo>
                        <a:pt x="2" y="0"/>
                        <a:pt x="3" y="2"/>
                        <a:pt x="4" y="5"/>
                      </a:cubicBezTo>
                      <a:cubicBezTo>
                        <a:pt x="4" y="8"/>
                        <a:pt x="3" y="10"/>
                        <a:pt x="3" y="10"/>
                      </a:cubicBezTo>
                      <a:close/>
                    </a:path>
                  </a:pathLst>
                </a:custGeom>
                <a:solidFill>
                  <a:srgbClr val="E847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163" name="Freeform 374">
                  <a:extLst>
                    <a:ext uri="{FF2B5EF4-FFF2-40B4-BE49-F238E27FC236}">
                      <a16:creationId xmlns:a16="http://schemas.microsoft.com/office/drawing/2014/main" id="{D6B9ABAE-93D7-4B5D-5DD2-B5CF66C4C532}"/>
                    </a:ext>
                  </a:extLst>
                </p:cNvPr>
                <p:cNvSpPr>
                  <a:spLocks/>
                </p:cNvSpPr>
                <p:nvPr/>
              </p:nvSpPr>
              <p:spPr bwMode="auto">
                <a:xfrm>
                  <a:off x="5588" y="3606"/>
                  <a:ext cx="8" cy="18"/>
                </a:xfrm>
                <a:custGeom>
                  <a:avLst/>
                  <a:gdLst>
                    <a:gd name="T0" fmla="*/ 3 w 4"/>
                    <a:gd name="T1" fmla="*/ 9 h 9"/>
                    <a:gd name="T2" fmla="*/ 1 w 4"/>
                    <a:gd name="T3" fmla="*/ 4 h 9"/>
                    <a:gd name="T4" fmla="*/ 2 w 4"/>
                    <a:gd name="T5" fmla="*/ 0 h 9"/>
                    <a:gd name="T6" fmla="*/ 4 w 4"/>
                    <a:gd name="T7" fmla="*/ 4 h 9"/>
                    <a:gd name="T8" fmla="*/ 3 w 4"/>
                    <a:gd name="T9" fmla="*/ 9 h 9"/>
                  </a:gdLst>
                  <a:ahLst/>
                  <a:cxnLst>
                    <a:cxn ang="0">
                      <a:pos x="T0" y="T1"/>
                    </a:cxn>
                    <a:cxn ang="0">
                      <a:pos x="T2" y="T3"/>
                    </a:cxn>
                    <a:cxn ang="0">
                      <a:pos x="T4" y="T5"/>
                    </a:cxn>
                    <a:cxn ang="0">
                      <a:pos x="T6" y="T7"/>
                    </a:cxn>
                    <a:cxn ang="0">
                      <a:pos x="T8" y="T9"/>
                    </a:cxn>
                  </a:cxnLst>
                  <a:rect l="0" t="0" r="r" b="b"/>
                  <a:pathLst>
                    <a:path w="4" h="9">
                      <a:moveTo>
                        <a:pt x="3" y="9"/>
                      </a:moveTo>
                      <a:cubicBezTo>
                        <a:pt x="2" y="9"/>
                        <a:pt x="1" y="7"/>
                        <a:pt x="1" y="4"/>
                      </a:cubicBezTo>
                      <a:cubicBezTo>
                        <a:pt x="0" y="2"/>
                        <a:pt x="1" y="0"/>
                        <a:pt x="2" y="0"/>
                      </a:cubicBezTo>
                      <a:cubicBezTo>
                        <a:pt x="2" y="0"/>
                        <a:pt x="3" y="2"/>
                        <a:pt x="4" y="4"/>
                      </a:cubicBezTo>
                      <a:cubicBezTo>
                        <a:pt x="4" y="7"/>
                        <a:pt x="3" y="9"/>
                        <a:pt x="3" y="9"/>
                      </a:cubicBezTo>
                      <a:close/>
                    </a:path>
                  </a:pathLst>
                </a:custGeom>
                <a:solidFill>
                  <a:srgbClr val="E948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164" name="Freeform 375">
                  <a:extLst>
                    <a:ext uri="{FF2B5EF4-FFF2-40B4-BE49-F238E27FC236}">
                      <a16:creationId xmlns:a16="http://schemas.microsoft.com/office/drawing/2014/main" id="{7D69EEF7-BFB3-4850-424C-474F328E6288}"/>
                    </a:ext>
                  </a:extLst>
                </p:cNvPr>
                <p:cNvSpPr>
                  <a:spLocks/>
                </p:cNvSpPr>
                <p:nvPr/>
              </p:nvSpPr>
              <p:spPr bwMode="auto">
                <a:xfrm>
                  <a:off x="5590" y="3606"/>
                  <a:ext cx="6" cy="18"/>
                </a:xfrm>
                <a:custGeom>
                  <a:avLst/>
                  <a:gdLst>
                    <a:gd name="T0" fmla="*/ 2 w 3"/>
                    <a:gd name="T1" fmla="*/ 9 h 9"/>
                    <a:gd name="T2" fmla="*/ 0 w 3"/>
                    <a:gd name="T3" fmla="*/ 4 h 9"/>
                    <a:gd name="T4" fmla="*/ 1 w 3"/>
                    <a:gd name="T5" fmla="*/ 0 h 9"/>
                    <a:gd name="T6" fmla="*/ 2 w 3"/>
                    <a:gd name="T7" fmla="*/ 4 h 9"/>
                    <a:gd name="T8" fmla="*/ 2 w 3"/>
                    <a:gd name="T9" fmla="*/ 9 h 9"/>
                  </a:gdLst>
                  <a:ahLst/>
                  <a:cxnLst>
                    <a:cxn ang="0">
                      <a:pos x="T0" y="T1"/>
                    </a:cxn>
                    <a:cxn ang="0">
                      <a:pos x="T2" y="T3"/>
                    </a:cxn>
                    <a:cxn ang="0">
                      <a:pos x="T4" y="T5"/>
                    </a:cxn>
                    <a:cxn ang="0">
                      <a:pos x="T6" y="T7"/>
                    </a:cxn>
                    <a:cxn ang="0">
                      <a:pos x="T8" y="T9"/>
                    </a:cxn>
                  </a:cxnLst>
                  <a:rect l="0" t="0" r="r" b="b"/>
                  <a:pathLst>
                    <a:path w="3" h="9">
                      <a:moveTo>
                        <a:pt x="2" y="9"/>
                      </a:moveTo>
                      <a:cubicBezTo>
                        <a:pt x="1" y="9"/>
                        <a:pt x="0" y="7"/>
                        <a:pt x="0" y="4"/>
                      </a:cubicBezTo>
                      <a:cubicBezTo>
                        <a:pt x="0" y="2"/>
                        <a:pt x="0" y="0"/>
                        <a:pt x="1" y="0"/>
                      </a:cubicBezTo>
                      <a:cubicBezTo>
                        <a:pt x="1" y="0"/>
                        <a:pt x="2" y="2"/>
                        <a:pt x="2" y="4"/>
                      </a:cubicBezTo>
                      <a:cubicBezTo>
                        <a:pt x="3" y="6"/>
                        <a:pt x="2" y="8"/>
                        <a:pt x="2" y="9"/>
                      </a:cubicBezTo>
                      <a:close/>
                    </a:path>
                  </a:pathLst>
                </a:custGeom>
                <a:solidFill>
                  <a:srgbClr val="EA496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165" name="Freeform 376">
                  <a:extLst>
                    <a:ext uri="{FF2B5EF4-FFF2-40B4-BE49-F238E27FC236}">
                      <a16:creationId xmlns:a16="http://schemas.microsoft.com/office/drawing/2014/main" id="{21263F88-48E2-E7B5-E801-BEC2E66F3995}"/>
                    </a:ext>
                  </a:extLst>
                </p:cNvPr>
                <p:cNvSpPr>
                  <a:spLocks/>
                </p:cNvSpPr>
                <p:nvPr/>
              </p:nvSpPr>
              <p:spPr bwMode="auto">
                <a:xfrm>
                  <a:off x="5590" y="3606"/>
                  <a:ext cx="6" cy="16"/>
                </a:xfrm>
                <a:custGeom>
                  <a:avLst/>
                  <a:gdLst>
                    <a:gd name="T0" fmla="*/ 1 w 3"/>
                    <a:gd name="T1" fmla="*/ 8 h 8"/>
                    <a:gd name="T2" fmla="*/ 0 w 3"/>
                    <a:gd name="T3" fmla="*/ 4 h 8"/>
                    <a:gd name="T4" fmla="*/ 1 w 3"/>
                    <a:gd name="T5" fmla="*/ 0 h 8"/>
                    <a:gd name="T6" fmla="*/ 2 w 3"/>
                    <a:gd name="T7" fmla="*/ 4 h 8"/>
                    <a:gd name="T8" fmla="*/ 1 w 3"/>
                    <a:gd name="T9" fmla="*/ 8 h 8"/>
                  </a:gdLst>
                  <a:ahLst/>
                  <a:cxnLst>
                    <a:cxn ang="0">
                      <a:pos x="T0" y="T1"/>
                    </a:cxn>
                    <a:cxn ang="0">
                      <a:pos x="T2" y="T3"/>
                    </a:cxn>
                    <a:cxn ang="0">
                      <a:pos x="T4" y="T5"/>
                    </a:cxn>
                    <a:cxn ang="0">
                      <a:pos x="T6" y="T7"/>
                    </a:cxn>
                    <a:cxn ang="0">
                      <a:pos x="T8" y="T9"/>
                    </a:cxn>
                  </a:cxnLst>
                  <a:rect l="0" t="0" r="r" b="b"/>
                  <a:pathLst>
                    <a:path w="3" h="8">
                      <a:moveTo>
                        <a:pt x="1" y="8"/>
                      </a:moveTo>
                      <a:cubicBezTo>
                        <a:pt x="1" y="8"/>
                        <a:pt x="0" y="7"/>
                        <a:pt x="0" y="4"/>
                      </a:cubicBezTo>
                      <a:cubicBezTo>
                        <a:pt x="0" y="2"/>
                        <a:pt x="0" y="0"/>
                        <a:pt x="1" y="0"/>
                      </a:cubicBezTo>
                      <a:cubicBezTo>
                        <a:pt x="1" y="0"/>
                        <a:pt x="2" y="2"/>
                        <a:pt x="2" y="4"/>
                      </a:cubicBezTo>
                      <a:cubicBezTo>
                        <a:pt x="3" y="6"/>
                        <a:pt x="2" y="8"/>
                        <a:pt x="1" y="8"/>
                      </a:cubicBezTo>
                      <a:close/>
                    </a:path>
                  </a:pathLst>
                </a:custGeom>
                <a:solidFill>
                  <a:srgbClr val="EB4A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166" name="Freeform 377">
                  <a:extLst>
                    <a:ext uri="{FF2B5EF4-FFF2-40B4-BE49-F238E27FC236}">
                      <a16:creationId xmlns:a16="http://schemas.microsoft.com/office/drawing/2014/main" id="{97CDCC6B-D2B6-76C7-DAF2-77A3139E994D}"/>
                    </a:ext>
                  </a:extLst>
                </p:cNvPr>
                <p:cNvSpPr>
                  <a:spLocks/>
                </p:cNvSpPr>
                <p:nvPr/>
              </p:nvSpPr>
              <p:spPr bwMode="auto">
                <a:xfrm>
                  <a:off x="5590" y="3606"/>
                  <a:ext cx="6" cy="16"/>
                </a:xfrm>
                <a:custGeom>
                  <a:avLst/>
                  <a:gdLst>
                    <a:gd name="T0" fmla="*/ 1 w 3"/>
                    <a:gd name="T1" fmla="*/ 8 h 8"/>
                    <a:gd name="T2" fmla="*/ 0 w 3"/>
                    <a:gd name="T3" fmla="*/ 4 h 8"/>
                    <a:gd name="T4" fmla="*/ 1 w 3"/>
                    <a:gd name="T5" fmla="*/ 0 h 8"/>
                    <a:gd name="T6" fmla="*/ 2 w 3"/>
                    <a:gd name="T7" fmla="*/ 4 h 8"/>
                    <a:gd name="T8" fmla="*/ 1 w 3"/>
                    <a:gd name="T9" fmla="*/ 8 h 8"/>
                  </a:gdLst>
                  <a:ahLst/>
                  <a:cxnLst>
                    <a:cxn ang="0">
                      <a:pos x="T0" y="T1"/>
                    </a:cxn>
                    <a:cxn ang="0">
                      <a:pos x="T2" y="T3"/>
                    </a:cxn>
                    <a:cxn ang="0">
                      <a:pos x="T4" y="T5"/>
                    </a:cxn>
                    <a:cxn ang="0">
                      <a:pos x="T6" y="T7"/>
                    </a:cxn>
                    <a:cxn ang="0">
                      <a:pos x="T8" y="T9"/>
                    </a:cxn>
                  </a:cxnLst>
                  <a:rect l="0" t="0" r="r" b="b"/>
                  <a:pathLst>
                    <a:path w="3" h="8">
                      <a:moveTo>
                        <a:pt x="1" y="8"/>
                      </a:moveTo>
                      <a:cubicBezTo>
                        <a:pt x="1" y="8"/>
                        <a:pt x="0" y="6"/>
                        <a:pt x="0" y="4"/>
                      </a:cubicBezTo>
                      <a:cubicBezTo>
                        <a:pt x="0" y="2"/>
                        <a:pt x="0" y="0"/>
                        <a:pt x="1" y="0"/>
                      </a:cubicBezTo>
                      <a:cubicBezTo>
                        <a:pt x="1" y="0"/>
                        <a:pt x="2" y="2"/>
                        <a:pt x="2" y="4"/>
                      </a:cubicBezTo>
                      <a:cubicBezTo>
                        <a:pt x="3" y="6"/>
                        <a:pt x="2" y="8"/>
                        <a:pt x="1" y="8"/>
                      </a:cubicBezTo>
                      <a:close/>
                    </a:path>
                  </a:pathLst>
                </a:custGeom>
                <a:solidFill>
                  <a:srgbClr val="EC4B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167" name="Freeform 378">
                  <a:extLst>
                    <a:ext uri="{FF2B5EF4-FFF2-40B4-BE49-F238E27FC236}">
                      <a16:creationId xmlns:a16="http://schemas.microsoft.com/office/drawing/2014/main" id="{F1B3068F-DBEA-2A16-7192-DE4C177C6C0F}"/>
                    </a:ext>
                  </a:extLst>
                </p:cNvPr>
                <p:cNvSpPr>
                  <a:spLocks/>
                </p:cNvSpPr>
                <p:nvPr/>
              </p:nvSpPr>
              <p:spPr bwMode="auto">
                <a:xfrm>
                  <a:off x="5590" y="3606"/>
                  <a:ext cx="4" cy="16"/>
                </a:xfrm>
                <a:custGeom>
                  <a:avLst/>
                  <a:gdLst>
                    <a:gd name="T0" fmla="*/ 1 w 2"/>
                    <a:gd name="T1" fmla="*/ 8 h 8"/>
                    <a:gd name="T2" fmla="*/ 0 w 2"/>
                    <a:gd name="T3" fmla="*/ 4 h 8"/>
                    <a:gd name="T4" fmla="*/ 1 w 2"/>
                    <a:gd name="T5" fmla="*/ 1 h 8"/>
                    <a:gd name="T6" fmla="*/ 2 w 2"/>
                    <a:gd name="T7" fmla="*/ 4 h 8"/>
                    <a:gd name="T8" fmla="*/ 1 w 2"/>
                    <a:gd name="T9" fmla="*/ 8 h 8"/>
                  </a:gdLst>
                  <a:ahLst/>
                  <a:cxnLst>
                    <a:cxn ang="0">
                      <a:pos x="T0" y="T1"/>
                    </a:cxn>
                    <a:cxn ang="0">
                      <a:pos x="T2" y="T3"/>
                    </a:cxn>
                    <a:cxn ang="0">
                      <a:pos x="T4" y="T5"/>
                    </a:cxn>
                    <a:cxn ang="0">
                      <a:pos x="T6" y="T7"/>
                    </a:cxn>
                    <a:cxn ang="0">
                      <a:pos x="T8" y="T9"/>
                    </a:cxn>
                  </a:cxnLst>
                  <a:rect l="0" t="0" r="r" b="b"/>
                  <a:pathLst>
                    <a:path w="2" h="8">
                      <a:moveTo>
                        <a:pt x="1" y="8"/>
                      </a:moveTo>
                      <a:cubicBezTo>
                        <a:pt x="1" y="8"/>
                        <a:pt x="0" y="6"/>
                        <a:pt x="0" y="4"/>
                      </a:cubicBezTo>
                      <a:cubicBezTo>
                        <a:pt x="0" y="2"/>
                        <a:pt x="0" y="1"/>
                        <a:pt x="1" y="1"/>
                      </a:cubicBezTo>
                      <a:cubicBezTo>
                        <a:pt x="1" y="0"/>
                        <a:pt x="2" y="2"/>
                        <a:pt x="2" y="4"/>
                      </a:cubicBezTo>
                      <a:cubicBezTo>
                        <a:pt x="2" y="6"/>
                        <a:pt x="2" y="8"/>
                        <a:pt x="1" y="8"/>
                      </a:cubicBezTo>
                      <a:close/>
                    </a:path>
                  </a:pathLst>
                </a:custGeom>
                <a:solidFill>
                  <a:srgbClr val="ED4C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168" name="Freeform 379">
                  <a:extLst>
                    <a:ext uri="{FF2B5EF4-FFF2-40B4-BE49-F238E27FC236}">
                      <a16:creationId xmlns:a16="http://schemas.microsoft.com/office/drawing/2014/main" id="{847505BA-3BE3-3792-3037-5BEE1305E996}"/>
                    </a:ext>
                  </a:extLst>
                </p:cNvPr>
                <p:cNvSpPr>
                  <a:spLocks/>
                </p:cNvSpPr>
                <p:nvPr/>
              </p:nvSpPr>
              <p:spPr bwMode="auto">
                <a:xfrm>
                  <a:off x="5590" y="3608"/>
                  <a:ext cx="4" cy="14"/>
                </a:xfrm>
                <a:custGeom>
                  <a:avLst/>
                  <a:gdLst>
                    <a:gd name="T0" fmla="*/ 1 w 2"/>
                    <a:gd name="T1" fmla="*/ 7 h 7"/>
                    <a:gd name="T2" fmla="*/ 0 w 2"/>
                    <a:gd name="T3" fmla="*/ 3 h 7"/>
                    <a:gd name="T4" fmla="*/ 1 w 2"/>
                    <a:gd name="T5" fmla="*/ 0 h 7"/>
                    <a:gd name="T6" fmla="*/ 2 w 2"/>
                    <a:gd name="T7" fmla="*/ 3 h 7"/>
                    <a:gd name="T8" fmla="*/ 1 w 2"/>
                    <a:gd name="T9" fmla="*/ 7 h 7"/>
                  </a:gdLst>
                  <a:ahLst/>
                  <a:cxnLst>
                    <a:cxn ang="0">
                      <a:pos x="T0" y="T1"/>
                    </a:cxn>
                    <a:cxn ang="0">
                      <a:pos x="T2" y="T3"/>
                    </a:cxn>
                    <a:cxn ang="0">
                      <a:pos x="T4" y="T5"/>
                    </a:cxn>
                    <a:cxn ang="0">
                      <a:pos x="T6" y="T7"/>
                    </a:cxn>
                    <a:cxn ang="0">
                      <a:pos x="T8" y="T9"/>
                    </a:cxn>
                  </a:cxnLst>
                  <a:rect l="0" t="0" r="r" b="b"/>
                  <a:pathLst>
                    <a:path w="2" h="7">
                      <a:moveTo>
                        <a:pt x="1" y="7"/>
                      </a:moveTo>
                      <a:cubicBezTo>
                        <a:pt x="1" y="7"/>
                        <a:pt x="0" y="5"/>
                        <a:pt x="0" y="3"/>
                      </a:cubicBezTo>
                      <a:cubicBezTo>
                        <a:pt x="0" y="1"/>
                        <a:pt x="0" y="0"/>
                        <a:pt x="1" y="0"/>
                      </a:cubicBezTo>
                      <a:cubicBezTo>
                        <a:pt x="1" y="0"/>
                        <a:pt x="2" y="1"/>
                        <a:pt x="2" y="3"/>
                      </a:cubicBezTo>
                      <a:cubicBezTo>
                        <a:pt x="2" y="5"/>
                        <a:pt x="2" y="7"/>
                        <a:pt x="1" y="7"/>
                      </a:cubicBezTo>
                      <a:close/>
                    </a:path>
                  </a:pathLst>
                </a:custGeom>
                <a:solidFill>
                  <a:srgbClr val="ED4D6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169" name="Freeform 380">
                  <a:extLst>
                    <a:ext uri="{FF2B5EF4-FFF2-40B4-BE49-F238E27FC236}">
                      <a16:creationId xmlns:a16="http://schemas.microsoft.com/office/drawing/2014/main" id="{7F71EA5E-4C03-8A8E-0ABA-8F8EFA294D93}"/>
                    </a:ext>
                  </a:extLst>
                </p:cNvPr>
                <p:cNvSpPr>
                  <a:spLocks/>
                </p:cNvSpPr>
                <p:nvPr/>
              </p:nvSpPr>
              <p:spPr bwMode="auto">
                <a:xfrm>
                  <a:off x="5590" y="3608"/>
                  <a:ext cx="4" cy="14"/>
                </a:xfrm>
                <a:custGeom>
                  <a:avLst/>
                  <a:gdLst>
                    <a:gd name="T0" fmla="*/ 1 w 2"/>
                    <a:gd name="T1" fmla="*/ 6 h 7"/>
                    <a:gd name="T2" fmla="*/ 0 w 2"/>
                    <a:gd name="T3" fmla="*/ 3 h 7"/>
                    <a:gd name="T4" fmla="*/ 1 w 2"/>
                    <a:gd name="T5" fmla="*/ 0 h 7"/>
                    <a:gd name="T6" fmla="*/ 2 w 2"/>
                    <a:gd name="T7" fmla="*/ 3 h 7"/>
                    <a:gd name="T8" fmla="*/ 1 w 2"/>
                    <a:gd name="T9" fmla="*/ 6 h 7"/>
                  </a:gdLst>
                  <a:ahLst/>
                  <a:cxnLst>
                    <a:cxn ang="0">
                      <a:pos x="T0" y="T1"/>
                    </a:cxn>
                    <a:cxn ang="0">
                      <a:pos x="T2" y="T3"/>
                    </a:cxn>
                    <a:cxn ang="0">
                      <a:pos x="T4" y="T5"/>
                    </a:cxn>
                    <a:cxn ang="0">
                      <a:pos x="T6" y="T7"/>
                    </a:cxn>
                    <a:cxn ang="0">
                      <a:pos x="T8" y="T9"/>
                    </a:cxn>
                  </a:cxnLst>
                  <a:rect l="0" t="0" r="r" b="b"/>
                  <a:pathLst>
                    <a:path w="2" h="7">
                      <a:moveTo>
                        <a:pt x="1" y="6"/>
                      </a:moveTo>
                      <a:cubicBezTo>
                        <a:pt x="1" y="7"/>
                        <a:pt x="0" y="5"/>
                        <a:pt x="0" y="3"/>
                      </a:cubicBezTo>
                      <a:cubicBezTo>
                        <a:pt x="0" y="2"/>
                        <a:pt x="0" y="0"/>
                        <a:pt x="1" y="0"/>
                      </a:cubicBezTo>
                      <a:cubicBezTo>
                        <a:pt x="1" y="0"/>
                        <a:pt x="2" y="1"/>
                        <a:pt x="2" y="3"/>
                      </a:cubicBezTo>
                      <a:cubicBezTo>
                        <a:pt x="2" y="5"/>
                        <a:pt x="2" y="6"/>
                        <a:pt x="1" y="6"/>
                      </a:cubicBezTo>
                      <a:close/>
                    </a:path>
                  </a:pathLst>
                </a:custGeom>
                <a:solidFill>
                  <a:srgbClr val="EE4E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170" name="Freeform 381">
                  <a:extLst>
                    <a:ext uri="{FF2B5EF4-FFF2-40B4-BE49-F238E27FC236}">
                      <a16:creationId xmlns:a16="http://schemas.microsoft.com/office/drawing/2014/main" id="{334DAA83-9331-9DEA-BA86-F23736B314F2}"/>
                    </a:ext>
                  </a:extLst>
                </p:cNvPr>
                <p:cNvSpPr>
                  <a:spLocks/>
                </p:cNvSpPr>
                <p:nvPr/>
              </p:nvSpPr>
              <p:spPr bwMode="auto">
                <a:xfrm>
                  <a:off x="5590" y="3608"/>
                  <a:ext cx="4" cy="12"/>
                </a:xfrm>
                <a:custGeom>
                  <a:avLst/>
                  <a:gdLst>
                    <a:gd name="T0" fmla="*/ 1 w 2"/>
                    <a:gd name="T1" fmla="*/ 6 h 6"/>
                    <a:gd name="T2" fmla="*/ 0 w 2"/>
                    <a:gd name="T3" fmla="*/ 3 h 6"/>
                    <a:gd name="T4" fmla="*/ 1 w 2"/>
                    <a:gd name="T5" fmla="*/ 0 h 6"/>
                    <a:gd name="T6" fmla="*/ 2 w 2"/>
                    <a:gd name="T7" fmla="*/ 3 h 6"/>
                    <a:gd name="T8" fmla="*/ 1 w 2"/>
                    <a:gd name="T9" fmla="*/ 6 h 6"/>
                  </a:gdLst>
                  <a:ahLst/>
                  <a:cxnLst>
                    <a:cxn ang="0">
                      <a:pos x="T0" y="T1"/>
                    </a:cxn>
                    <a:cxn ang="0">
                      <a:pos x="T2" y="T3"/>
                    </a:cxn>
                    <a:cxn ang="0">
                      <a:pos x="T4" y="T5"/>
                    </a:cxn>
                    <a:cxn ang="0">
                      <a:pos x="T6" y="T7"/>
                    </a:cxn>
                    <a:cxn ang="0">
                      <a:pos x="T8" y="T9"/>
                    </a:cxn>
                  </a:cxnLst>
                  <a:rect l="0" t="0" r="r" b="b"/>
                  <a:pathLst>
                    <a:path w="2" h="6">
                      <a:moveTo>
                        <a:pt x="1" y="6"/>
                      </a:moveTo>
                      <a:cubicBezTo>
                        <a:pt x="1" y="6"/>
                        <a:pt x="0" y="5"/>
                        <a:pt x="0" y="3"/>
                      </a:cubicBezTo>
                      <a:cubicBezTo>
                        <a:pt x="0" y="2"/>
                        <a:pt x="0" y="0"/>
                        <a:pt x="1" y="0"/>
                      </a:cubicBezTo>
                      <a:cubicBezTo>
                        <a:pt x="1" y="0"/>
                        <a:pt x="2" y="1"/>
                        <a:pt x="2" y="3"/>
                      </a:cubicBezTo>
                      <a:cubicBezTo>
                        <a:pt x="2" y="5"/>
                        <a:pt x="2" y="6"/>
                        <a:pt x="1" y="6"/>
                      </a:cubicBezTo>
                      <a:close/>
                    </a:path>
                  </a:pathLst>
                </a:custGeom>
                <a:solidFill>
                  <a:srgbClr val="EF50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171" name="Freeform 382">
                  <a:extLst>
                    <a:ext uri="{FF2B5EF4-FFF2-40B4-BE49-F238E27FC236}">
                      <a16:creationId xmlns:a16="http://schemas.microsoft.com/office/drawing/2014/main" id="{B3906A08-7A79-B18D-8FF0-D82D13633D65}"/>
                    </a:ext>
                  </a:extLst>
                </p:cNvPr>
                <p:cNvSpPr>
                  <a:spLocks/>
                </p:cNvSpPr>
                <p:nvPr/>
              </p:nvSpPr>
              <p:spPr bwMode="auto">
                <a:xfrm>
                  <a:off x="5590" y="3608"/>
                  <a:ext cx="4" cy="12"/>
                </a:xfrm>
                <a:custGeom>
                  <a:avLst/>
                  <a:gdLst>
                    <a:gd name="T0" fmla="*/ 1 w 2"/>
                    <a:gd name="T1" fmla="*/ 6 h 6"/>
                    <a:gd name="T2" fmla="*/ 0 w 2"/>
                    <a:gd name="T3" fmla="*/ 3 h 6"/>
                    <a:gd name="T4" fmla="*/ 1 w 2"/>
                    <a:gd name="T5" fmla="*/ 0 h 6"/>
                    <a:gd name="T6" fmla="*/ 2 w 2"/>
                    <a:gd name="T7" fmla="*/ 3 h 6"/>
                    <a:gd name="T8" fmla="*/ 1 w 2"/>
                    <a:gd name="T9" fmla="*/ 6 h 6"/>
                  </a:gdLst>
                  <a:ahLst/>
                  <a:cxnLst>
                    <a:cxn ang="0">
                      <a:pos x="T0" y="T1"/>
                    </a:cxn>
                    <a:cxn ang="0">
                      <a:pos x="T2" y="T3"/>
                    </a:cxn>
                    <a:cxn ang="0">
                      <a:pos x="T4" y="T5"/>
                    </a:cxn>
                    <a:cxn ang="0">
                      <a:pos x="T6" y="T7"/>
                    </a:cxn>
                    <a:cxn ang="0">
                      <a:pos x="T8" y="T9"/>
                    </a:cxn>
                  </a:cxnLst>
                  <a:rect l="0" t="0" r="r" b="b"/>
                  <a:pathLst>
                    <a:path w="2" h="6">
                      <a:moveTo>
                        <a:pt x="1" y="6"/>
                      </a:moveTo>
                      <a:cubicBezTo>
                        <a:pt x="1" y="6"/>
                        <a:pt x="0" y="5"/>
                        <a:pt x="0" y="3"/>
                      </a:cubicBezTo>
                      <a:cubicBezTo>
                        <a:pt x="0" y="2"/>
                        <a:pt x="0" y="0"/>
                        <a:pt x="1" y="0"/>
                      </a:cubicBezTo>
                      <a:cubicBezTo>
                        <a:pt x="1" y="0"/>
                        <a:pt x="2" y="2"/>
                        <a:pt x="2" y="3"/>
                      </a:cubicBezTo>
                      <a:cubicBezTo>
                        <a:pt x="2" y="5"/>
                        <a:pt x="2" y="6"/>
                        <a:pt x="1" y="6"/>
                      </a:cubicBezTo>
                      <a:close/>
                    </a:path>
                  </a:pathLst>
                </a:custGeom>
                <a:solidFill>
                  <a:srgbClr val="F051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172" name="Freeform 383">
                  <a:extLst>
                    <a:ext uri="{FF2B5EF4-FFF2-40B4-BE49-F238E27FC236}">
                      <a16:creationId xmlns:a16="http://schemas.microsoft.com/office/drawing/2014/main" id="{12BAF57E-C782-7BB1-58A9-53806B919DB6}"/>
                    </a:ext>
                  </a:extLst>
                </p:cNvPr>
                <p:cNvSpPr>
                  <a:spLocks/>
                </p:cNvSpPr>
                <p:nvPr/>
              </p:nvSpPr>
              <p:spPr bwMode="auto">
                <a:xfrm>
                  <a:off x="5590" y="3610"/>
                  <a:ext cx="4" cy="10"/>
                </a:xfrm>
                <a:custGeom>
                  <a:avLst/>
                  <a:gdLst>
                    <a:gd name="T0" fmla="*/ 1 w 2"/>
                    <a:gd name="T1" fmla="*/ 5 h 5"/>
                    <a:gd name="T2" fmla="*/ 0 w 2"/>
                    <a:gd name="T3" fmla="*/ 2 h 5"/>
                    <a:gd name="T4" fmla="*/ 1 w 2"/>
                    <a:gd name="T5" fmla="*/ 0 h 5"/>
                    <a:gd name="T6" fmla="*/ 2 w 2"/>
                    <a:gd name="T7" fmla="*/ 2 h 5"/>
                    <a:gd name="T8" fmla="*/ 1 w 2"/>
                    <a:gd name="T9" fmla="*/ 5 h 5"/>
                  </a:gdLst>
                  <a:ahLst/>
                  <a:cxnLst>
                    <a:cxn ang="0">
                      <a:pos x="T0" y="T1"/>
                    </a:cxn>
                    <a:cxn ang="0">
                      <a:pos x="T2" y="T3"/>
                    </a:cxn>
                    <a:cxn ang="0">
                      <a:pos x="T4" y="T5"/>
                    </a:cxn>
                    <a:cxn ang="0">
                      <a:pos x="T6" y="T7"/>
                    </a:cxn>
                    <a:cxn ang="0">
                      <a:pos x="T8" y="T9"/>
                    </a:cxn>
                  </a:cxnLst>
                  <a:rect l="0" t="0" r="r" b="b"/>
                  <a:pathLst>
                    <a:path w="2" h="5">
                      <a:moveTo>
                        <a:pt x="1" y="5"/>
                      </a:moveTo>
                      <a:cubicBezTo>
                        <a:pt x="1" y="5"/>
                        <a:pt x="0" y="4"/>
                        <a:pt x="0" y="2"/>
                      </a:cubicBezTo>
                      <a:cubicBezTo>
                        <a:pt x="0" y="1"/>
                        <a:pt x="0" y="0"/>
                        <a:pt x="1" y="0"/>
                      </a:cubicBezTo>
                      <a:cubicBezTo>
                        <a:pt x="1" y="0"/>
                        <a:pt x="2" y="1"/>
                        <a:pt x="2" y="2"/>
                      </a:cubicBezTo>
                      <a:cubicBezTo>
                        <a:pt x="2" y="4"/>
                        <a:pt x="2" y="5"/>
                        <a:pt x="1" y="5"/>
                      </a:cubicBezTo>
                      <a:close/>
                    </a:path>
                  </a:pathLst>
                </a:custGeom>
                <a:solidFill>
                  <a:srgbClr val="F152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173" name="Freeform 384">
                  <a:extLst>
                    <a:ext uri="{FF2B5EF4-FFF2-40B4-BE49-F238E27FC236}">
                      <a16:creationId xmlns:a16="http://schemas.microsoft.com/office/drawing/2014/main" id="{B27691EC-1B26-95C4-C114-939E7BAF1032}"/>
                    </a:ext>
                  </a:extLst>
                </p:cNvPr>
                <p:cNvSpPr>
                  <a:spLocks/>
                </p:cNvSpPr>
                <p:nvPr/>
              </p:nvSpPr>
              <p:spPr bwMode="auto">
                <a:xfrm>
                  <a:off x="5590" y="3610"/>
                  <a:ext cx="4" cy="10"/>
                </a:xfrm>
                <a:custGeom>
                  <a:avLst/>
                  <a:gdLst>
                    <a:gd name="T0" fmla="*/ 1 w 2"/>
                    <a:gd name="T1" fmla="*/ 5 h 5"/>
                    <a:gd name="T2" fmla="*/ 0 w 2"/>
                    <a:gd name="T3" fmla="*/ 2 h 5"/>
                    <a:gd name="T4" fmla="*/ 1 w 2"/>
                    <a:gd name="T5" fmla="*/ 0 h 5"/>
                    <a:gd name="T6" fmla="*/ 2 w 2"/>
                    <a:gd name="T7" fmla="*/ 2 h 5"/>
                    <a:gd name="T8" fmla="*/ 1 w 2"/>
                    <a:gd name="T9" fmla="*/ 5 h 5"/>
                  </a:gdLst>
                  <a:ahLst/>
                  <a:cxnLst>
                    <a:cxn ang="0">
                      <a:pos x="T0" y="T1"/>
                    </a:cxn>
                    <a:cxn ang="0">
                      <a:pos x="T2" y="T3"/>
                    </a:cxn>
                    <a:cxn ang="0">
                      <a:pos x="T4" y="T5"/>
                    </a:cxn>
                    <a:cxn ang="0">
                      <a:pos x="T6" y="T7"/>
                    </a:cxn>
                    <a:cxn ang="0">
                      <a:pos x="T8" y="T9"/>
                    </a:cxn>
                  </a:cxnLst>
                  <a:rect l="0" t="0" r="r" b="b"/>
                  <a:pathLst>
                    <a:path w="2" h="5">
                      <a:moveTo>
                        <a:pt x="1" y="5"/>
                      </a:moveTo>
                      <a:cubicBezTo>
                        <a:pt x="1" y="5"/>
                        <a:pt x="0" y="4"/>
                        <a:pt x="0" y="2"/>
                      </a:cubicBezTo>
                      <a:cubicBezTo>
                        <a:pt x="0" y="1"/>
                        <a:pt x="0" y="0"/>
                        <a:pt x="1" y="0"/>
                      </a:cubicBezTo>
                      <a:cubicBezTo>
                        <a:pt x="1" y="0"/>
                        <a:pt x="2" y="1"/>
                        <a:pt x="2" y="2"/>
                      </a:cubicBezTo>
                      <a:cubicBezTo>
                        <a:pt x="2" y="3"/>
                        <a:pt x="2" y="5"/>
                        <a:pt x="1" y="5"/>
                      </a:cubicBezTo>
                      <a:close/>
                    </a:path>
                  </a:pathLst>
                </a:custGeom>
                <a:solidFill>
                  <a:srgbClr val="F253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174" name="Freeform 385">
                  <a:extLst>
                    <a:ext uri="{FF2B5EF4-FFF2-40B4-BE49-F238E27FC236}">
                      <a16:creationId xmlns:a16="http://schemas.microsoft.com/office/drawing/2014/main" id="{6DF2A178-5AD8-46CA-FAE8-916B8414E526}"/>
                    </a:ext>
                  </a:extLst>
                </p:cNvPr>
                <p:cNvSpPr>
                  <a:spLocks/>
                </p:cNvSpPr>
                <p:nvPr/>
              </p:nvSpPr>
              <p:spPr bwMode="auto">
                <a:xfrm>
                  <a:off x="5590" y="3610"/>
                  <a:ext cx="4" cy="8"/>
                </a:xfrm>
                <a:custGeom>
                  <a:avLst/>
                  <a:gdLst>
                    <a:gd name="T0" fmla="*/ 1 w 2"/>
                    <a:gd name="T1" fmla="*/ 4 h 4"/>
                    <a:gd name="T2" fmla="*/ 0 w 2"/>
                    <a:gd name="T3" fmla="*/ 2 h 4"/>
                    <a:gd name="T4" fmla="*/ 1 w 2"/>
                    <a:gd name="T5" fmla="*/ 0 h 4"/>
                    <a:gd name="T6" fmla="*/ 2 w 2"/>
                    <a:gd name="T7" fmla="*/ 2 h 4"/>
                    <a:gd name="T8" fmla="*/ 1 w 2"/>
                    <a:gd name="T9" fmla="*/ 4 h 4"/>
                  </a:gdLst>
                  <a:ahLst/>
                  <a:cxnLst>
                    <a:cxn ang="0">
                      <a:pos x="T0" y="T1"/>
                    </a:cxn>
                    <a:cxn ang="0">
                      <a:pos x="T2" y="T3"/>
                    </a:cxn>
                    <a:cxn ang="0">
                      <a:pos x="T4" y="T5"/>
                    </a:cxn>
                    <a:cxn ang="0">
                      <a:pos x="T6" y="T7"/>
                    </a:cxn>
                    <a:cxn ang="0">
                      <a:pos x="T8" y="T9"/>
                    </a:cxn>
                  </a:cxnLst>
                  <a:rect l="0" t="0" r="r" b="b"/>
                  <a:pathLst>
                    <a:path w="2" h="4">
                      <a:moveTo>
                        <a:pt x="1" y="4"/>
                      </a:moveTo>
                      <a:cubicBezTo>
                        <a:pt x="1" y="4"/>
                        <a:pt x="1" y="3"/>
                        <a:pt x="0" y="2"/>
                      </a:cubicBezTo>
                      <a:cubicBezTo>
                        <a:pt x="0" y="1"/>
                        <a:pt x="1" y="0"/>
                        <a:pt x="1" y="0"/>
                      </a:cubicBezTo>
                      <a:cubicBezTo>
                        <a:pt x="1" y="0"/>
                        <a:pt x="2" y="1"/>
                        <a:pt x="2" y="2"/>
                      </a:cubicBezTo>
                      <a:cubicBezTo>
                        <a:pt x="2" y="3"/>
                        <a:pt x="2" y="4"/>
                        <a:pt x="1" y="4"/>
                      </a:cubicBezTo>
                      <a:close/>
                    </a:path>
                  </a:pathLst>
                </a:custGeom>
                <a:solidFill>
                  <a:srgbClr val="F354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175" name="Freeform 386">
                  <a:extLst>
                    <a:ext uri="{FF2B5EF4-FFF2-40B4-BE49-F238E27FC236}">
                      <a16:creationId xmlns:a16="http://schemas.microsoft.com/office/drawing/2014/main" id="{53C5602A-FA93-3C1B-012A-92BF1C5A1C7D}"/>
                    </a:ext>
                  </a:extLst>
                </p:cNvPr>
                <p:cNvSpPr>
                  <a:spLocks/>
                </p:cNvSpPr>
                <p:nvPr/>
              </p:nvSpPr>
              <p:spPr bwMode="auto">
                <a:xfrm>
                  <a:off x="5590" y="3610"/>
                  <a:ext cx="4" cy="8"/>
                </a:xfrm>
                <a:custGeom>
                  <a:avLst/>
                  <a:gdLst>
                    <a:gd name="T0" fmla="*/ 1 w 2"/>
                    <a:gd name="T1" fmla="*/ 4 h 4"/>
                    <a:gd name="T2" fmla="*/ 1 w 2"/>
                    <a:gd name="T3" fmla="*/ 2 h 4"/>
                    <a:gd name="T4" fmla="*/ 1 w 2"/>
                    <a:gd name="T5" fmla="*/ 0 h 4"/>
                    <a:gd name="T6" fmla="*/ 2 w 2"/>
                    <a:gd name="T7" fmla="*/ 2 h 4"/>
                    <a:gd name="T8" fmla="*/ 1 w 2"/>
                    <a:gd name="T9" fmla="*/ 4 h 4"/>
                  </a:gdLst>
                  <a:ahLst/>
                  <a:cxnLst>
                    <a:cxn ang="0">
                      <a:pos x="T0" y="T1"/>
                    </a:cxn>
                    <a:cxn ang="0">
                      <a:pos x="T2" y="T3"/>
                    </a:cxn>
                    <a:cxn ang="0">
                      <a:pos x="T4" y="T5"/>
                    </a:cxn>
                    <a:cxn ang="0">
                      <a:pos x="T6" y="T7"/>
                    </a:cxn>
                    <a:cxn ang="0">
                      <a:pos x="T8" y="T9"/>
                    </a:cxn>
                  </a:cxnLst>
                  <a:rect l="0" t="0" r="r" b="b"/>
                  <a:pathLst>
                    <a:path w="2" h="4">
                      <a:moveTo>
                        <a:pt x="1" y="4"/>
                      </a:moveTo>
                      <a:cubicBezTo>
                        <a:pt x="1" y="4"/>
                        <a:pt x="1" y="3"/>
                        <a:pt x="1" y="2"/>
                      </a:cubicBezTo>
                      <a:cubicBezTo>
                        <a:pt x="0" y="1"/>
                        <a:pt x="1" y="0"/>
                        <a:pt x="1" y="0"/>
                      </a:cubicBezTo>
                      <a:cubicBezTo>
                        <a:pt x="1" y="0"/>
                        <a:pt x="2" y="1"/>
                        <a:pt x="2" y="2"/>
                      </a:cubicBezTo>
                      <a:cubicBezTo>
                        <a:pt x="2" y="3"/>
                        <a:pt x="2" y="4"/>
                        <a:pt x="1" y="4"/>
                      </a:cubicBezTo>
                      <a:close/>
                    </a:path>
                  </a:pathLst>
                </a:custGeom>
                <a:solidFill>
                  <a:srgbClr val="F455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176" name="Freeform 387">
                  <a:extLst>
                    <a:ext uri="{FF2B5EF4-FFF2-40B4-BE49-F238E27FC236}">
                      <a16:creationId xmlns:a16="http://schemas.microsoft.com/office/drawing/2014/main" id="{597F6874-393D-CA54-1727-79A1651C7306}"/>
                    </a:ext>
                  </a:extLst>
                </p:cNvPr>
                <p:cNvSpPr>
                  <a:spLocks/>
                </p:cNvSpPr>
                <p:nvPr/>
              </p:nvSpPr>
              <p:spPr bwMode="auto">
                <a:xfrm>
                  <a:off x="5590" y="3610"/>
                  <a:ext cx="4" cy="8"/>
                </a:xfrm>
                <a:custGeom>
                  <a:avLst/>
                  <a:gdLst>
                    <a:gd name="T0" fmla="*/ 1 w 2"/>
                    <a:gd name="T1" fmla="*/ 4 h 4"/>
                    <a:gd name="T2" fmla="*/ 1 w 2"/>
                    <a:gd name="T3" fmla="*/ 2 h 4"/>
                    <a:gd name="T4" fmla="*/ 1 w 2"/>
                    <a:gd name="T5" fmla="*/ 0 h 4"/>
                    <a:gd name="T6" fmla="*/ 2 w 2"/>
                    <a:gd name="T7" fmla="*/ 2 h 4"/>
                    <a:gd name="T8" fmla="*/ 1 w 2"/>
                    <a:gd name="T9" fmla="*/ 4 h 4"/>
                  </a:gdLst>
                  <a:ahLst/>
                  <a:cxnLst>
                    <a:cxn ang="0">
                      <a:pos x="T0" y="T1"/>
                    </a:cxn>
                    <a:cxn ang="0">
                      <a:pos x="T2" y="T3"/>
                    </a:cxn>
                    <a:cxn ang="0">
                      <a:pos x="T4" y="T5"/>
                    </a:cxn>
                    <a:cxn ang="0">
                      <a:pos x="T6" y="T7"/>
                    </a:cxn>
                    <a:cxn ang="0">
                      <a:pos x="T8" y="T9"/>
                    </a:cxn>
                  </a:cxnLst>
                  <a:rect l="0" t="0" r="r" b="b"/>
                  <a:pathLst>
                    <a:path w="2" h="4">
                      <a:moveTo>
                        <a:pt x="1" y="4"/>
                      </a:moveTo>
                      <a:cubicBezTo>
                        <a:pt x="1" y="4"/>
                        <a:pt x="1" y="3"/>
                        <a:pt x="1" y="2"/>
                      </a:cubicBezTo>
                      <a:cubicBezTo>
                        <a:pt x="0" y="1"/>
                        <a:pt x="1" y="1"/>
                        <a:pt x="1" y="0"/>
                      </a:cubicBezTo>
                      <a:cubicBezTo>
                        <a:pt x="1" y="0"/>
                        <a:pt x="2" y="1"/>
                        <a:pt x="2" y="2"/>
                      </a:cubicBezTo>
                      <a:cubicBezTo>
                        <a:pt x="2" y="3"/>
                        <a:pt x="2" y="4"/>
                        <a:pt x="1" y="4"/>
                      </a:cubicBezTo>
                      <a:close/>
                    </a:path>
                  </a:pathLst>
                </a:custGeom>
                <a:solidFill>
                  <a:srgbClr val="F556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177" name="Freeform 388">
                  <a:extLst>
                    <a:ext uri="{FF2B5EF4-FFF2-40B4-BE49-F238E27FC236}">
                      <a16:creationId xmlns:a16="http://schemas.microsoft.com/office/drawing/2014/main" id="{7A17738E-4CBA-7347-C68E-AC22E234A81E}"/>
                    </a:ext>
                  </a:extLst>
                </p:cNvPr>
                <p:cNvSpPr>
                  <a:spLocks/>
                </p:cNvSpPr>
                <p:nvPr/>
              </p:nvSpPr>
              <p:spPr bwMode="auto">
                <a:xfrm>
                  <a:off x="5592" y="3612"/>
                  <a:ext cx="2" cy="6"/>
                </a:xfrm>
                <a:custGeom>
                  <a:avLst/>
                  <a:gdLst>
                    <a:gd name="T0" fmla="*/ 0 w 1"/>
                    <a:gd name="T1" fmla="*/ 3 h 3"/>
                    <a:gd name="T2" fmla="*/ 0 w 1"/>
                    <a:gd name="T3" fmla="*/ 1 h 3"/>
                    <a:gd name="T4" fmla="*/ 0 w 1"/>
                    <a:gd name="T5" fmla="*/ 0 h 3"/>
                    <a:gd name="T6" fmla="*/ 1 w 1"/>
                    <a:gd name="T7" fmla="*/ 1 h 3"/>
                    <a:gd name="T8" fmla="*/ 0 w 1"/>
                    <a:gd name="T9" fmla="*/ 3 h 3"/>
                  </a:gdLst>
                  <a:ahLst/>
                  <a:cxnLst>
                    <a:cxn ang="0">
                      <a:pos x="T0" y="T1"/>
                    </a:cxn>
                    <a:cxn ang="0">
                      <a:pos x="T2" y="T3"/>
                    </a:cxn>
                    <a:cxn ang="0">
                      <a:pos x="T4" y="T5"/>
                    </a:cxn>
                    <a:cxn ang="0">
                      <a:pos x="T6" y="T7"/>
                    </a:cxn>
                    <a:cxn ang="0">
                      <a:pos x="T8" y="T9"/>
                    </a:cxn>
                  </a:cxnLst>
                  <a:rect l="0" t="0" r="r" b="b"/>
                  <a:pathLst>
                    <a:path w="1" h="3">
                      <a:moveTo>
                        <a:pt x="0" y="3"/>
                      </a:moveTo>
                      <a:cubicBezTo>
                        <a:pt x="0" y="3"/>
                        <a:pt x="0" y="2"/>
                        <a:pt x="0" y="1"/>
                      </a:cubicBezTo>
                      <a:cubicBezTo>
                        <a:pt x="0" y="0"/>
                        <a:pt x="0" y="0"/>
                        <a:pt x="0" y="0"/>
                      </a:cubicBezTo>
                      <a:cubicBezTo>
                        <a:pt x="0" y="0"/>
                        <a:pt x="0" y="0"/>
                        <a:pt x="1" y="1"/>
                      </a:cubicBezTo>
                      <a:cubicBezTo>
                        <a:pt x="1" y="2"/>
                        <a:pt x="1" y="3"/>
                        <a:pt x="0" y="3"/>
                      </a:cubicBezTo>
                      <a:close/>
                    </a:path>
                  </a:pathLst>
                </a:custGeom>
                <a:solidFill>
                  <a:srgbClr val="F657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178" name="Freeform 389">
                  <a:extLst>
                    <a:ext uri="{FF2B5EF4-FFF2-40B4-BE49-F238E27FC236}">
                      <a16:creationId xmlns:a16="http://schemas.microsoft.com/office/drawing/2014/main" id="{031CCCA9-1057-A78F-E0E7-ADD9ABCB6264}"/>
                    </a:ext>
                  </a:extLst>
                </p:cNvPr>
                <p:cNvSpPr>
                  <a:spLocks/>
                </p:cNvSpPr>
                <p:nvPr/>
              </p:nvSpPr>
              <p:spPr bwMode="auto">
                <a:xfrm>
                  <a:off x="5592" y="3612"/>
                  <a:ext cx="2" cy="6"/>
                </a:xfrm>
                <a:custGeom>
                  <a:avLst/>
                  <a:gdLst>
                    <a:gd name="T0" fmla="*/ 0 w 1"/>
                    <a:gd name="T1" fmla="*/ 3 h 3"/>
                    <a:gd name="T2" fmla="*/ 0 w 1"/>
                    <a:gd name="T3" fmla="*/ 1 h 3"/>
                    <a:gd name="T4" fmla="*/ 0 w 1"/>
                    <a:gd name="T5" fmla="*/ 0 h 3"/>
                    <a:gd name="T6" fmla="*/ 1 w 1"/>
                    <a:gd name="T7" fmla="*/ 1 h 3"/>
                    <a:gd name="T8" fmla="*/ 0 w 1"/>
                    <a:gd name="T9" fmla="*/ 3 h 3"/>
                  </a:gdLst>
                  <a:ahLst/>
                  <a:cxnLst>
                    <a:cxn ang="0">
                      <a:pos x="T0" y="T1"/>
                    </a:cxn>
                    <a:cxn ang="0">
                      <a:pos x="T2" y="T3"/>
                    </a:cxn>
                    <a:cxn ang="0">
                      <a:pos x="T4" y="T5"/>
                    </a:cxn>
                    <a:cxn ang="0">
                      <a:pos x="T6" y="T7"/>
                    </a:cxn>
                    <a:cxn ang="0">
                      <a:pos x="T8" y="T9"/>
                    </a:cxn>
                  </a:cxnLst>
                  <a:rect l="0" t="0" r="r" b="b"/>
                  <a:pathLst>
                    <a:path w="1" h="3">
                      <a:moveTo>
                        <a:pt x="0" y="3"/>
                      </a:moveTo>
                      <a:cubicBezTo>
                        <a:pt x="0" y="3"/>
                        <a:pt x="0" y="2"/>
                        <a:pt x="0" y="1"/>
                      </a:cubicBezTo>
                      <a:cubicBezTo>
                        <a:pt x="0" y="1"/>
                        <a:pt x="0" y="0"/>
                        <a:pt x="0" y="0"/>
                      </a:cubicBezTo>
                      <a:cubicBezTo>
                        <a:pt x="0" y="0"/>
                        <a:pt x="0" y="0"/>
                        <a:pt x="1" y="1"/>
                      </a:cubicBezTo>
                      <a:cubicBezTo>
                        <a:pt x="1" y="2"/>
                        <a:pt x="0" y="2"/>
                        <a:pt x="0" y="3"/>
                      </a:cubicBezTo>
                      <a:close/>
                    </a:path>
                  </a:pathLst>
                </a:custGeom>
                <a:solidFill>
                  <a:srgbClr val="F758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179" name="Oval 390">
                  <a:extLst>
                    <a:ext uri="{FF2B5EF4-FFF2-40B4-BE49-F238E27FC236}">
                      <a16:creationId xmlns:a16="http://schemas.microsoft.com/office/drawing/2014/main" id="{A0FB7946-77BB-5B7B-F204-F890D2FF16A9}"/>
                    </a:ext>
                  </a:extLst>
                </p:cNvPr>
                <p:cNvSpPr>
                  <a:spLocks/>
                </p:cNvSpPr>
                <p:nvPr/>
              </p:nvSpPr>
              <p:spPr bwMode="auto">
                <a:xfrm>
                  <a:off x="5592" y="3612"/>
                  <a:ext cx="1" cy="4"/>
                </a:xfrm>
                <a:prstGeom prst="ellipse">
                  <a:avLst/>
                </a:prstGeom>
                <a:solidFill>
                  <a:srgbClr val="F8597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180" name="Oval 391">
                  <a:extLst>
                    <a:ext uri="{FF2B5EF4-FFF2-40B4-BE49-F238E27FC236}">
                      <a16:creationId xmlns:a16="http://schemas.microsoft.com/office/drawing/2014/main" id="{0F95A9EB-031F-3F1E-FD37-D9340A883FC1}"/>
                    </a:ext>
                  </a:extLst>
                </p:cNvPr>
                <p:cNvSpPr>
                  <a:spLocks/>
                </p:cNvSpPr>
                <p:nvPr/>
              </p:nvSpPr>
              <p:spPr bwMode="auto">
                <a:xfrm>
                  <a:off x="5592" y="3612"/>
                  <a:ext cx="1" cy="4"/>
                </a:xfrm>
                <a:prstGeom prst="ellipse">
                  <a:avLst/>
                </a:prstGeom>
                <a:solidFill>
                  <a:srgbClr val="F95A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181" name="Freeform 392">
                  <a:extLst>
                    <a:ext uri="{FF2B5EF4-FFF2-40B4-BE49-F238E27FC236}">
                      <a16:creationId xmlns:a16="http://schemas.microsoft.com/office/drawing/2014/main" id="{9BCAF62B-D184-F640-BEF4-40A61E68E936}"/>
                    </a:ext>
                  </a:extLst>
                </p:cNvPr>
                <p:cNvSpPr>
                  <a:spLocks/>
                </p:cNvSpPr>
                <p:nvPr/>
              </p:nvSpPr>
              <p:spPr bwMode="auto">
                <a:xfrm>
                  <a:off x="5592" y="3614"/>
                  <a:ext cx="0" cy="2"/>
                </a:xfrm>
                <a:custGeom>
                  <a:avLst/>
                  <a:gdLst>
                    <a:gd name="T0" fmla="*/ 2 h 2"/>
                    <a:gd name="T1" fmla="*/ 0 h 2"/>
                    <a:gd name="T2" fmla="*/ 0 h 2"/>
                    <a:gd name="T3" fmla="*/ 0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0"/>
                      </a:lnTo>
                      <a:lnTo>
                        <a:pt x="0" y="0"/>
                      </a:lnTo>
                      <a:lnTo>
                        <a:pt x="0" y="2"/>
                      </a:lnTo>
                      <a:close/>
                    </a:path>
                  </a:pathLst>
                </a:custGeom>
                <a:solidFill>
                  <a:srgbClr val="FA5B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182" name="Freeform 393">
                  <a:extLst>
                    <a:ext uri="{FF2B5EF4-FFF2-40B4-BE49-F238E27FC236}">
                      <a16:creationId xmlns:a16="http://schemas.microsoft.com/office/drawing/2014/main" id="{5DC8488E-90B9-DF62-06B5-D982378436EB}"/>
                    </a:ext>
                  </a:extLst>
                </p:cNvPr>
                <p:cNvSpPr>
                  <a:spLocks/>
                </p:cNvSpPr>
                <p:nvPr/>
              </p:nvSpPr>
              <p:spPr bwMode="auto">
                <a:xfrm>
                  <a:off x="5592" y="3614"/>
                  <a:ext cx="0" cy="2"/>
                </a:xfrm>
                <a:custGeom>
                  <a:avLst/>
                  <a:gdLst>
                    <a:gd name="T0" fmla="*/ 2 h 2"/>
                    <a:gd name="T1" fmla="*/ 0 h 2"/>
                    <a:gd name="T2" fmla="*/ 0 h 2"/>
                    <a:gd name="T3" fmla="*/ 0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0"/>
                      </a:lnTo>
                      <a:lnTo>
                        <a:pt x="0" y="0"/>
                      </a:lnTo>
                      <a:lnTo>
                        <a:pt x="0" y="2"/>
                      </a:lnTo>
                      <a:close/>
                    </a:path>
                  </a:pathLst>
                </a:custGeom>
                <a:solidFill>
                  <a:srgbClr val="FB5C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183" name="Rectangle 394">
                  <a:extLst>
                    <a:ext uri="{FF2B5EF4-FFF2-40B4-BE49-F238E27FC236}">
                      <a16:creationId xmlns:a16="http://schemas.microsoft.com/office/drawing/2014/main" id="{95FDAF45-71D8-7E08-D80C-CA7E5D25DB85}"/>
                    </a:ext>
                  </a:extLst>
                </p:cNvPr>
                <p:cNvSpPr>
                  <a:spLocks/>
                </p:cNvSpPr>
                <p:nvPr/>
              </p:nvSpPr>
              <p:spPr bwMode="auto">
                <a:xfrm>
                  <a:off x="5592" y="3614"/>
                  <a:ext cx="1" cy="1"/>
                </a:xfrm>
                <a:prstGeom prst="rect">
                  <a:avLst/>
                </a:prstGeom>
                <a:solidFill>
                  <a:srgbClr val="FC5D7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pic>
              <p:nvPicPr>
                <p:cNvPr id="1184" name="Picture 395">
                  <a:extLst>
                    <a:ext uri="{FF2B5EF4-FFF2-40B4-BE49-F238E27FC236}">
                      <a16:creationId xmlns:a16="http://schemas.microsoft.com/office/drawing/2014/main" id="{B563BB8E-565C-3093-0F6D-23554E26B4E2}"/>
                    </a:ext>
                  </a:extLst>
                </p:cNvPr>
                <p:cNvPicPr>
                  <a:picLocks noChangeAspect="1"/>
                </p:cNvPicPr>
                <p:nvPr/>
              </p:nvPicPr>
              <p:blipFill>
                <a:blip r:embed="rId65">
                  <a:extLst>
                    <a:ext uri="{28A0092B-C50C-407E-A947-70E740481C1C}">
                      <a14:useLocalDpi xmlns:a14="http://schemas.microsoft.com/office/drawing/2010/main" val="0"/>
                    </a:ext>
                  </a:extLst>
                </a:blip>
                <a:srcRect/>
                <a:stretch>
                  <a:fillRect/>
                </a:stretch>
              </p:blipFill>
              <p:spPr bwMode="auto">
                <a:xfrm>
                  <a:off x="5843" y="3232"/>
                  <a:ext cx="36" cy="3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85" name="Picture 396">
                  <a:extLst>
                    <a:ext uri="{FF2B5EF4-FFF2-40B4-BE49-F238E27FC236}">
                      <a16:creationId xmlns:a16="http://schemas.microsoft.com/office/drawing/2014/main" id="{ECF086D0-FD17-043A-BCAD-44EE65D99DAC}"/>
                    </a:ext>
                  </a:extLst>
                </p:cNvPr>
                <p:cNvPicPr>
                  <a:picLocks noChangeAspect="1"/>
                </p:cNvPicPr>
                <p:nvPr/>
              </p:nvPicPr>
              <p:blipFill>
                <a:blip r:embed="rId66">
                  <a:extLst>
                    <a:ext uri="{28A0092B-C50C-407E-A947-70E740481C1C}">
                      <a14:useLocalDpi xmlns:a14="http://schemas.microsoft.com/office/drawing/2010/main" val="0"/>
                    </a:ext>
                  </a:extLst>
                </a:blip>
                <a:srcRect/>
                <a:stretch>
                  <a:fillRect/>
                </a:stretch>
              </p:blipFill>
              <p:spPr bwMode="auto">
                <a:xfrm>
                  <a:off x="5576" y="3232"/>
                  <a:ext cx="36" cy="3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86" name="Picture 397">
                  <a:extLst>
                    <a:ext uri="{FF2B5EF4-FFF2-40B4-BE49-F238E27FC236}">
                      <a16:creationId xmlns:a16="http://schemas.microsoft.com/office/drawing/2014/main" id="{629EC293-E351-0C4D-D2C0-DD9B1B19E652}"/>
                    </a:ext>
                  </a:extLst>
                </p:cNvPr>
                <p:cNvPicPr>
                  <a:picLocks noChangeAspect="1"/>
                </p:cNvPicPr>
                <p:nvPr/>
              </p:nvPicPr>
              <p:blipFill>
                <a:blip r:embed="rId67">
                  <a:extLst>
                    <a:ext uri="{28A0092B-C50C-407E-A947-70E740481C1C}">
                      <a14:useLocalDpi xmlns:a14="http://schemas.microsoft.com/office/drawing/2010/main" val="0"/>
                    </a:ext>
                  </a:extLst>
                </a:blip>
                <a:srcRect/>
                <a:stretch>
                  <a:fillRect/>
                </a:stretch>
              </p:blipFill>
              <p:spPr bwMode="auto">
                <a:xfrm>
                  <a:off x="5576" y="3424"/>
                  <a:ext cx="54" cy="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87" name="Picture 398">
                  <a:extLst>
                    <a:ext uri="{FF2B5EF4-FFF2-40B4-BE49-F238E27FC236}">
                      <a16:creationId xmlns:a16="http://schemas.microsoft.com/office/drawing/2014/main" id="{6A45AED4-84FA-36C7-44A7-FC1392B6226C}"/>
                    </a:ext>
                  </a:extLst>
                </p:cNvPr>
                <p:cNvPicPr>
                  <a:picLocks noChangeAspect="1"/>
                </p:cNvPicPr>
                <p:nvPr/>
              </p:nvPicPr>
              <p:blipFill>
                <a:blip r:embed="rId68">
                  <a:extLst>
                    <a:ext uri="{28A0092B-C50C-407E-A947-70E740481C1C}">
                      <a14:useLocalDpi xmlns:a14="http://schemas.microsoft.com/office/drawing/2010/main" val="0"/>
                    </a:ext>
                  </a:extLst>
                </a:blip>
                <a:srcRect/>
                <a:stretch>
                  <a:fillRect/>
                </a:stretch>
              </p:blipFill>
              <p:spPr bwMode="auto">
                <a:xfrm>
                  <a:off x="5819" y="3424"/>
                  <a:ext cx="54" cy="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88" name="Picture 399">
                  <a:extLst>
                    <a:ext uri="{FF2B5EF4-FFF2-40B4-BE49-F238E27FC236}">
                      <a16:creationId xmlns:a16="http://schemas.microsoft.com/office/drawing/2014/main" id="{A19D1601-4AFF-1AEF-6234-D80EA53BE1DE}"/>
                    </a:ext>
                  </a:extLst>
                </p:cNvPr>
                <p:cNvPicPr>
                  <a:picLocks noChangeAspect="1"/>
                </p:cNvPicPr>
                <p:nvPr/>
              </p:nvPicPr>
              <p:blipFill>
                <a:blip r:embed="rId69">
                  <a:extLst>
                    <a:ext uri="{28A0092B-C50C-407E-A947-70E740481C1C}">
                      <a14:useLocalDpi xmlns:a14="http://schemas.microsoft.com/office/drawing/2010/main" val="0"/>
                    </a:ext>
                  </a:extLst>
                </a:blip>
                <a:srcRect/>
                <a:stretch>
                  <a:fillRect/>
                </a:stretch>
              </p:blipFill>
              <p:spPr bwMode="auto">
                <a:xfrm>
                  <a:off x="5859" y="3220"/>
                  <a:ext cx="54" cy="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89" name="Freeform 400">
                  <a:extLst>
                    <a:ext uri="{FF2B5EF4-FFF2-40B4-BE49-F238E27FC236}">
                      <a16:creationId xmlns:a16="http://schemas.microsoft.com/office/drawing/2014/main" id="{65FAFF54-C653-62B6-9D32-9F8446456931}"/>
                    </a:ext>
                  </a:extLst>
                </p:cNvPr>
                <p:cNvSpPr>
                  <a:spLocks/>
                </p:cNvSpPr>
                <p:nvPr/>
              </p:nvSpPr>
              <p:spPr bwMode="auto">
                <a:xfrm>
                  <a:off x="5883" y="3256"/>
                  <a:ext cx="24" cy="10"/>
                </a:xfrm>
                <a:custGeom>
                  <a:avLst/>
                  <a:gdLst>
                    <a:gd name="T0" fmla="*/ 0 w 12"/>
                    <a:gd name="T1" fmla="*/ 0 h 5"/>
                    <a:gd name="T2" fmla="*/ 12 w 12"/>
                    <a:gd name="T3" fmla="*/ 4 h 5"/>
                    <a:gd name="T4" fmla="*/ 10 w 12"/>
                    <a:gd name="T5" fmla="*/ 5 h 5"/>
                    <a:gd name="T6" fmla="*/ 1 w 12"/>
                    <a:gd name="T7" fmla="*/ 1 h 5"/>
                    <a:gd name="T8" fmla="*/ 0 w 12"/>
                    <a:gd name="T9" fmla="*/ 0 h 5"/>
                  </a:gdLst>
                  <a:ahLst/>
                  <a:cxnLst>
                    <a:cxn ang="0">
                      <a:pos x="T0" y="T1"/>
                    </a:cxn>
                    <a:cxn ang="0">
                      <a:pos x="T2" y="T3"/>
                    </a:cxn>
                    <a:cxn ang="0">
                      <a:pos x="T4" y="T5"/>
                    </a:cxn>
                    <a:cxn ang="0">
                      <a:pos x="T6" y="T7"/>
                    </a:cxn>
                    <a:cxn ang="0">
                      <a:pos x="T8" y="T9"/>
                    </a:cxn>
                  </a:cxnLst>
                  <a:rect l="0" t="0" r="r" b="b"/>
                  <a:pathLst>
                    <a:path w="12" h="5">
                      <a:moveTo>
                        <a:pt x="0" y="0"/>
                      </a:moveTo>
                      <a:cubicBezTo>
                        <a:pt x="12" y="4"/>
                        <a:pt x="12" y="4"/>
                        <a:pt x="12" y="4"/>
                      </a:cubicBezTo>
                      <a:cubicBezTo>
                        <a:pt x="12" y="5"/>
                        <a:pt x="11" y="5"/>
                        <a:pt x="10" y="5"/>
                      </a:cubicBezTo>
                      <a:cubicBezTo>
                        <a:pt x="1" y="1"/>
                        <a:pt x="1" y="1"/>
                        <a:pt x="1" y="1"/>
                      </a:cubicBezTo>
                      <a:cubicBezTo>
                        <a:pt x="0" y="1"/>
                        <a:pt x="0" y="0"/>
                        <a:pt x="0" y="0"/>
                      </a:cubicBezTo>
                      <a:close/>
                    </a:path>
                  </a:pathLst>
                </a:custGeom>
                <a:solidFill>
                  <a:srgbClr val="0303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pic>
              <p:nvPicPr>
                <p:cNvPr id="1190" name="Picture 401">
                  <a:extLst>
                    <a:ext uri="{FF2B5EF4-FFF2-40B4-BE49-F238E27FC236}">
                      <a16:creationId xmlns:a16="http://schemas.microsoft.com/office/drawing/2014/main" id="{72FA8C8A-5E9F-3DD0-6914-41E9195E6E25}"/>
                    </a:ext>
                  </a:extLst>
                </p:cNvPr>
                <p:cNvPicPr>
                  <a:picLocks noChangeAspect="1"/>
                </p:cNvPicPr>
                <p:nvPr/>
              </p:nvPicPr>
              <p:blipFill>
                <a:blip r:embed="rId70">
                  <a:extLst>
                    <a:ext uri="{28A0092B-C50C-407E-A947-70E740481C1C}">
                      <a14:useLocalDpi xmlns:a14="http://schemas.microsoft.com/office/drawing/2010/main" val="0"/>
                    </a:ext>
                  </a:extLst>
                </a:blip>
                <a:srcRect/>
                <a:stretch>
                  <a:fillRect/>
                </a:stretch>
              </p:blipFill>
              <p:spPr bwMode="auto">
                <a:xfrm>
                  <a:off x="5538" y="3220"/>
                  <a:ext cx="54" cy="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91" name="Freeform 402">
                  <a:extLst>
                    <a:ext uri="{FF2B5EF4-FFF2-40B4-BE49-F238E27FC236}">
                      <a16:creationId xmlns:a16="http://schemas.microsoft.com/office/drawing/2014/main" id="{90214D6A-5A58-7E8E-9805-C56484D04E40}"/>
                    </a:ext>
                  </a:extLst>
                </p:cNvPr>
                <p:cNvSpPr>
                  <a:spLocks/>
                </p:cNvSpPr>
                <p:nvPr/>
              </p:nvSpPr>
              <p:spPr bwMode="auto">
                <a:xfrm>
                  <a:off x="5548" y="3256"/>
                  <a:ext cx="24" cy="10"/>
                </a:xfrm>
                <a:custGeom>
                  <a:avLst/>
                  <a:gdLst>
                    <a:gd name="T0" fmla="*/ 12 w 12"/>
                    <a:gd name="T1" fmla="*/ 0 h 5"/>
                    <a:gd name="T2" fmla="*/ 0 w 12"/>
                    <a:gd name="T3" fmla="*/ 4 h 5"/>
                    <a:gd name="T4" fmla="*/ 1 w 12"/>
                    <a:gd name="T5" fmla="*/ 5 h 5"/>
                    <a:gd name="T6" fmla="*/ 11 w 12"/>
                    <a:gd name="T7" fmla="*/ 1 h 5"/>
                    <a:gd name="T8" fmla="*/ 12 w 12"/>
                    <a:gd name="T9" fmla="*/ 0 h 5"/>
                  </a:gdLst>
                  <a:ahLst/>
                  <a:cxnLst>
                    <a:cxn ang="0">
                      <a:pos x="T0" y="T1"/>
                    </a:cxn>
                    <a:cxn ang="0">
                      <a:pos x="T2" y="T3"/>
                    </a:cxn>
                    <a:cxn ang="0">
                      <a:pos x="T4" y="T5"/>
                    </a:cxn>
                    <a:cxn ang="0">
                      <a:pos x="T6" y="T7"/>
                    </a:cxn>
                    <a:cxn ang="0">
                      <a:pos x="T8" y="T9"/>
                    </a:cxn>
                  </a:cxnLst>
                  <a:rect l="0" t="0" r="r" b="b"/>
                  <a:pathLst>
                    <a:path w="12" h="5">
                      <a:moveTo>
                        <a:pt x="12" y="0"/>
                      </a:moveTo>
                      <a:cubicBezTo>
                        <a:pt x="0" y="4"/>
                        <a:pt x="0" y="4"/>
                        <a:pt x="0" y="4"/>
                      </a:cubicBezTo>
                      <a:cubicBezTo>
                        <a:pt x="0" y="5"/>
                        <a:pt x="0" y="5"/>
                        <a:pt x="1" y="5"/>
                      </a:cubicBezTo>
                      <a:cubicBezTo>
                        <a:pt x="11" y="1"/>
                        <a:pt x="11" y="1"/>
                        <a:pt x="11" y="1"/>
                      </a:cubicBezTo>
                      <a:cubicBezTo>
                        <a:pt x="11" y="1"/>
                        <a:pt x="12" y="0"/>
                        <a:pt x="12" y="0"/>
                      </a:cubicBezTo>
                      <a:close/>
                    </a:path>
                  </a:pathLst>
                </a:custGeom>
                <a:solidFill>
                  <a:srgbClr val="0303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192" name="Freeform 403">
                  <a:extLst>
                    <a:ext uri="{FF2B5EF4-FFF2-40B4-BE49-F238E27FC236}">
                      <a16:creationId xmlns:a16="http://schemas.microsoft.com/office/drawing/2014/main" id="{BF77A0BD-0CA7-ADDD-B1AC-A46A8190D3FE}"/>
                    </a:ext>
                  </a:extLst>
                </p:cNvPr>
                <p:cNvSpPr>
                  <a:spLocks/>
                </p:cNvSpPr>
                <p:nvPr/>
              </p:nvSpPr>
              <p:spPr bwMode="auto">
                <a:xfrm>
                  <a:off x="591" y="3973"/>
                  <a:ext cx="413" cy="412"/>
                </a:xfrm>
                <a:custGeom>
                  <a:avLst/>
                  <a:gdLst>
                    <a:gd name="T0" fmla="*/ 413 w 413"/>
                    <a:gd name="T1" fmla="*/ 410 h 412"/>
                    <a:gd name="T2" fmla="*/ 2 w 413"/>
                    <a:gd name="T3" fmla="*/ 0 h 412"/>
                    <a:gd name="T4" fmla="*/ 0 w 413"/>
                    <a:gd name="T5" fmla="*/ 2 h 412"/>
                    <a:gd name="T6" fmla="*/ 411 w 413"/>
                    <a:gd name="T7" fmla="*/ 412 h 412"/>
                    <a:gd name="T8" fmla="*/ 413 w 413"/>
                    <a:gd name="T9" fmla="*/ 410 h 412"/>
                  </a:gdLst>
                  <a:ahLst/>
                  <a:cxnLst>
                    <a:cxn ang="0">
                      <a:pos x="T0" y="T1"/>
                    </a:cxn>
                    <a:cxn ang="0">
                      <a:pos x="T2" y="T3"/>
                    </a:cxn>
                    <a:cxn ang="0">
                      <a:pos x="T4" y="T5"/>
                    </a:cxn>
                    <a:cxn ang="0">
                      <a:pos x="T6" y="T7"/>
                    </a:cxn>
                    <a:cxn ang="0">
                      <a:pos x="T8" y="T9"/>
                    </a:cxn>
                  </a:cxnLst>
                  <a:rect l="0" t="0" r="r" b="b"/>
                  <a:pathLst>
                    <a:path w="413" h="412">
                      <a:moveTo>
                        <a:pt x="413" y="410"/>
                      </a:moveTo>
                      <a:lnTo>
                        <a:pt x="2" y="0"/>
                      </a:lnTo>
                      <a:lnTo>
                        <a:pt x="0" y="2"/>
                      </a:lnTo>
                      <a:lnTo>
                        <a:pt x="411" y="412"/>
                      </a:lnTo>
                      <a:lnTo>
                        <a:pt x="413" y="41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193" name="Freeform 404">
                  <a:extLst>
                    <a:ext uri="{FF2B5EF4-FFF2-40B4-BE49-F238E27FC236}">
                      <a16:creationId xmlns:a16="http://schemas.microsoft.com/office/drawing/2014/main" id="{0F15555A-5342-EFD6-7F2F-CE127B925E52}"/>
                    </a:ext>
                  </a:extLst>
                </p:cNvPr>
                <p:cNvSpPr>
                  <a:spLocks/>
                </p:cNvSpPr>
                <p:nvPr/>
              </p:nvSpPr>
              <p:spPr bwMode="auto">
                <a:xfrm>
                  <a:off x="591" y="3973"/>
                  <a:ext cx="413" cy="412"/>
                </a:xfrm>
                <a:custGeom>
                  <a:avLst/>
                  <a:gdLst>
                    <a:gd name="T0" fmla="*/ 413 w 413"/>
                    <a:gd name="T1" fmla="*/ 410 h 412"/>
                    <a:gd name="T2" fmla="*/ 2 w 413"/>
                    <a:gd name="T3" fmla="*/ 0 h 412"/>
                    <a:gd name="T4" fmla="*/ 0 w 413"/>
                    <a:gd name="T5" fmla="*/ 2 h 412"/>
                    <a:gd name="T6" fmla="*/ 411 w 413"/>
                    <a:gd name="T7" fmla="*/ 412 h 412"/>
                  </a:gdLst>
                  <a:ahLst/>
                  <a:cxnLst>
                    <a:cxn ang="0">
                      <a:pos x="T0" y="T1"/>
                    </a:cxn>
                    <a:cxn ang="0">
                      <a:pos x="T2" y="T3"/>
                    </a:cxn>
                    <a:cxn ang="0">
                      <a:pos x="T4" y="T5"/>
                    </a:cxn>
                    <a:cxn ang="0">
                      <a:pos x="T6" y="T7"/>
                    </a:cxn>
                  </a:cxnLst>
                  <a:rect l="0" t="0" r="r" b="b"/>
                  <a:pathLst>
                    <a:path w="413" h="412">
                      <a:moveTo>
                        <a:pt x="413" y="410"/>
                      </a:moveTo>
                      <a:lnTo>
                        <a:pt x="2" y="0"/>
                      </a:lnTo>
                      <a:lnTo>
                        <a:pt x="0" y="2"/>
                      </a:lnTo>
                      <a:lnTo>
                        <a:pt x="411" y="4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194" name="Freeform 405">
                  <a:extLst>
                    <a:ext uri="{FF2B5EF4-FFF2-40B4-BE49-F238E27FC236}">
                      <a16:creationId xmlns:a16="http://schemas.microsoft.com/office/drawing/2014/main" id="{6E7062A0-D533-8721-1339-BD60B77484C0}"/>
                    </a:ext>
                  </a:extLst>
                </p:cNvPr>
                <p:cNvSpPr>
                  <a:spLocks/>
                </p:cNvSpPr>
                <p:nvPr/>
              </p:nvSpPr>
              <p:spPr bwMode="auto">
                <a:xfrm>
                  <a:off x="583" y="4045"/>
                  <a:ext cx="349" cy="349"/>
                </a:xfrm>
                <a:custGeom>
                  <a:avLst/>
                  <a:gdLst>
                    <a:gd name="T0" fmla="*/ 349 w 349"/>
                    <a:gd name="T1" fmla="*/ 346 h 349"/>
                    <a:gd name="T2" fmla="*/ 2 w 349"/>
                    <a:gd name="T3" fmla="*/ 0 h 349"/>
                    <a:gd name="T4" fmla="*/ 0 w 349"/>
                    <a:gd name="T5" fmla="*/ 2 h 349"/>
                    <a:gd name="T6" fmla="*/ 347 w 349"/>
                    <a:gd name="T7" fmla="*/ 349 h 349"/>
                    <a:gd name="T8" fmla="*/ 349 w 349"/>
                    <a:gd name="T9" fmla="*/ 346 h 349"/>
                  </a:gdLst>
                  <a:ahLst/>
                  <a:cxnLst>
                    <a:cxn ang="0">
                      <a:pos x="T0" y="T1"/>
                    </a:cxn>
                    <a:cxn ang="0">
                      <a:pos x="T2" y="T3"/>
                    </a:cxn>
                    <a:cxn ang="0">
                      <a:pos x="T4" y="T5"/>
                    </a:cxn>
                    <a:cxn ang="0">
                      <a:pos x="T6" y="T7"/>
                    </a:cxn>
                    <a:cxn ang="0">
                      <a:pos x="T8" y="T9"/>
                    </a:cxn>
                  </a:cxnLst>
                  <a:rect l="0" t="0" r="r" b="b"/>
                  <a:pathLst>
                    <a:path w="349" h="349">
                      <a:moveTo>
                        <a:pt x="349" y="346"/>
                      </a:moveTo>
                      <a:lnTo>
                        <a:pt x="2" y="0"/>
                      </a:lnTo>
                      <a:lnTo>
                        <a:pt x="0" y="2"/>
                      </a:lnTo>
                      <a:lnTo>
                        <a:pt x="347" y="349"/>
                      </a:lnTo>
                      <a:lnTo>
                        <a:pt x="349" y="346"/>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grpSp>
          <p:sp>
            <p:nvSpPr>
              <p:cNvPr id="10" name="Freeform 407">
                <a:extLst>
                  <a:ext uri="{FF2B5EF4-FFF2-40B4-BE49-F238E27FC236}">
                    <a16:creationId xmlns:a16="http://schemas.microsoft.com/office/drawing/2014/main" id="{7697A3A9-6596-DBBE-3FEC-C11E04BE6483}"/>
                  </a:ext>
                </a:extLst>
              </p:cNvPr>
              <p:cNvSpPr>
                <a:spLocks/>
              </p:cNvSpPr>
              <p:nvPr/>
            </p:nvSpPr>
            <p:spPr bwMode="auto">
              <a:xfrm>
                <a:off x="577097" y="6390167"/>
                <a:ext cx="393993" cy="393993"/>
              </a:xfrm>
              <a:custGeom>
                <a:avLst/>
                <a:gdLst>
                  <a:gd name="T0" fmla="*/ 349 w 349"/>
                  <a:gd name="T1" fmla="*/ 346 h 349"/>
                  <a:gd name="T2" fmla="*/ 2 w 349"/>
                  <a:gd name="T3" fmla="*/ 0 h 349"/>
                  <a:gd name="T4" fmla="*/ 0 w 349"/>
                  <a:gd name="T5" fmla="*/ 2 h 349"/>
                  <a:gd name="T6" fmla="*/ 347 w 349"/>
                  <a:gd name="T7" fmla="*/ 349 h 349"/>
                </a:gdLst>
                <a:ahLst/>
                <a:cxnLst>
                  <a:cxn ang="0">
                    <a:pos x="T0" y="T1"/>
                  </a:cxn>
                  <a:cxn ang="0">
                    <a:pos x="T2" y="T3"/>
                  </a:cxn>
                  <a:cxn ang="0">
                    <a:pos x="T4" y="T5"/>
                  </a:cxn>
                  <a:cxn ang="0">
                    <a:pos x="T6" y="T7"/>
                  </a:cxn>
                </a:cxnLst>
                <a:rect l="0" t="0" r="r" b="b"/>
                <a:pathLst>
                  <a:path w="349" h="349">
                    <a:moveTo>
                      <a:pt x="349" y="346"/>
                    </a:moveTo>
                    <a:lnTo>
                      <a:pt x="2" y="0"/>
                    </a:lnTo>
                    <a:lnTo>
                      <a:pt x="0" y="2"/>
                    </a:lnTo>
                    <a:lnTo>
                      <a:pt x="347" y="34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1" name="Freeform 408">
                <a:extLst>
                  <a:ext uri="{FF2B5EF4-FFF2-40B4-BE49-F238E27FC236}">
                    <a16:creationId xmlns:a16="http://schemas.microsoft.com/office/drawing/2014/main" id="{91096934-48F1-6810-268B-810C0F42B836}"/>
                  </a:ext>
                </a:extLst>
              </p:cNvPr>
              <p:cNvSpPr>
                <a:spLocks/>
              </p:cNvSpPr>
              <p:nvPr/>
            </p:nvSpPr>
            <p:spPr bwMode="auto">
              <a:xfrm>
                <a:off x="574839" y="6480480"/>
                <a:ext cx="305937" cy="305937"/>
              </a:xfrm>
              <a:custGeom>
                <a:avLst/>
                <a:gdLst>
                  <a:gd name="T0" fmla="*/ 271 w 271"/>
                  <a:gd name="T1" fmla="*/ 266 h 271"/>
                  <a:gd name="T2" fmla="*/ 4 w 271"/>
                  <a:gd name="T3" fmla="*/ 0 h 271"/>
                  <a:gd name="T4" fmla="*/ 0 w 271"/>
                  <a:gd name="T5" fmla="*/ 2 h 271"/>
                  <a:gd name="T6" fmla="*/ 269 w 271"/>
                  <a:gd name="T7" fmla="*/ 271 h 271"/>
                  <a:gd name="T8" fmla="*/ 271 w 271"/>
                  <a:gd name="T9" fmla="*/ 266 h 271"/>
                </a:gdLst>
                <a:ahLst/>
                <a:cxnLst>
                  <a:cxn ang="0">
                    <a:pos x="T0" y="T1"/>
                  </a:cxn>
                  <a:cxn ang="0">
                    <a:pos x="T2" y="T3"/>
                  </a:cxn>
                  <a:cxn ang="0">
                    <a:pos x="T4" y="T5"/>
                  </a:cxn>
                  <a:cxn ang="0">
                    <a:pos x="T6" y="T7"/>
                  </a:cxn>
                  <a:cxn ang="0">
                    <a:pos x="T8" y="T9"/>
                  </a:cxn>
                </a:cxnLst>
                <a:rect l="0" t="0" r="r" b="b"/>
                <a:pathLst>
                  <a:path w="271" h="271">
                    <a:moveTo>
                      <a:pt x="271" y="266"/>
                    </a:moveTo>
                    <a:lnTo>
                      <a:pt x="4" y="0"/>
                    </a:lnTo>
                    <a:lnTo>
                      <a:pt x="0" y="2"/>
                    </a:lnTo>
                    <a:lnTo>
                      <a:pt x="269" y="271"/>
                    </a:lnTo>
                    <a:lnTo>
                      <a:pt x="271" y="266"/>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2" name="Freeform 409">
                <a:extLst>
                  <a:ext uri="{FF2B5EF4-FFF2-40B4-BE49-F238E27FC236}">
                    <a16:creationId xmlns:a16="http://schemas.microsoft.com/office/drawing/2014/main" id="{E87351F6-CDC0-1342-9257-179EB13F9A22}"/>
                  </a:ext>
                </a:extLst>
              </p:cNvPr>
              <p:cNvSpPr>
                <a:spLocks/>
              </p:cNvSpPr>
              <p:nvPr/>
            </p:nvSpPr>
            <p:spPr bwMode="auto">
              <a:xfrm>
                <a:off x="574839" y="6480480"/>
                <a:ext cx="305937" cy="305937"/>
              </a:xfrm>
              <a:custGeom>
                <a:avLst/>
                <a:gdLst>
                  <a:gd name="T0" fmla="*/ 271 w 271"/>
                  <a:gd name="T1" fmla="*/ 266 h 271"/>
                  <a:gd name="T2" fmla="*/ 4 w 271"/>
                  <a:gd name="T3" fmla="*/ 0 h 271"/>
                  <a:gd name="T4" fmla="*/ 0 w 271"/>
                  <a:gd name="T5" fmla="*/ 2 h 271"/>
                  <a:gd name="T6" fmla="*/ 269 w 271"/>
                  <a:gd name="T7" fmla="*/ 271 h 271"/>
                </a:gdLst>
                <a:ahLst/>
                <a:cxnLst>
                  <a:cxn ang="0">
                    <a:pos x="T0" y="T1"/>
                  </a:cxn>
                  <a:cxn ang="0">
                    <a:pos x="T2" y="T3"/>
                  </a:cxn>
                  <a:cxn ang="0">
                    <a:pos x="T4" y="T5"/>
                  </a:cxn>
                  <a:cxn ang="0">
                    <a:pos x="T6" y="T7"/>
                  </a:cxn>
                </a:cxnLst>
                <a:rect l="0" t="0" r="r" b="b"/>
                <a:pathLst>
                  <a:path w="271" h="271">
                    <a:moveTo>
                      <a:pt x="271" y="266"/>
                    </a:moveTo>
                    <a:lnTo>
                      <a:pt x="4" y="0"/>
                    </a:lnTo>
                    <a:lnTo>
                      <a:pt x="0" y="2"/>
                    </a:lnTo>
                    <a:lnTo>
                      <a:pt x="269" y="27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3" name="Oval 410">
                <a:extLst>
                  <a:ext uri="{FF2B5EF4-FFF2-40B4-BE49-F238E27FC236}">
                    <a16:creationId xmlns:a16="http://schemas.microsoft.com/office/drawing/2014/main" id="{F55924D7-86BA-025D-D7B4-0AE9E0E28E3B}"/>
                  </a:ext>
                </a:extLst>
              </p:cNvPr>
              <p:cNvSpPr>
                <a:spLocks/>
              </p:cNvSpPr>
              <p:nvPr/>
            </p:nvSpPr>
            <p:spPr bwMode="auto">
              <a:xfrm>
                <a:off x="721599" y="6539184"/>
                <a:ext cx="101603" cy="101603"/>
              </a:xfrm>
              <a:prstGeom prst="ellipse">
                <a:avLst/>
              </a:pr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4" name="Freeform 411">
                <a:extLst>
                  <a:ext uri="{FF2B5EF4-FFF2-40B4-BE49-F238E27FC236}">
                    <a16:creationId xmlns:a16="http://schemas.microsoft.com/office/drawing/2014/main" id="{36B3D38A-EC27-265E-C19B-999C496FEC7A}"/>
                  </a:ext>
                </a:extLst>
              </p:cNvPr>
              <p:cNvSpPr>
                <a:spLocks/>
              </p:cNvSpPr>
              <p:nvPr/>
            </p:nvSpPr>
            <p:spPr bwMode="auto">
              <a:xfrm>
                <a:off x="719341" y="6536926"/>
                <a:ext cx="106118" cy="106118"/>
              </a:xfrm>
              <a:custGeom>
                <a:avLst/>
                <a:gdLst>
                  <a:gd name="T0" fmla="*/ 46 w 47"/>
                  <a:gd name="T1" fmla="*/ 23 h 47"/>
                  <a:gd name="T2" fmla="*/ 45 w 47"/>
                  <a:gd name="T3" fmla="*/ 23 h 47"/>
                  <a:gd name="T4" fmla="*/ 39 w 47"/>
                  <a:gd name="T5" fmla="*/ 39 h 47"/>
                  <a:gd name="T6" fmla="*/ 24 w 47"/>
                  <a:gd name="T7" fmla="*/ 45 h 47"/>
                  <a:gd name="T8" fmla="*/ 9 w 47"/>
                  <a:gd name="T9" fmla="*/ 39 h 47"/>
                  <a:gd name="T10" fmla="*/ 2 w 47"/>
                  <a:gd name="T11" fmla="*/ 23 h 47"/>
                  <a:gd name="T12" fmla="*/ 9 w 47"/>
                  <a:gd name="T13" fmla="*/ 8 h 47"/>
                  <a:gd name="T14" fmla="*/ 24 w 47"/>
                  <a:gd name="T15" fmla="*/ 2 h 47"/>
                  <a:gd name="T16" fmla="*/ 39 w 47"/>
                  <a:gd name="T17" fmla="*/ 8 h 47"/>
                  <a:gd name="T18" fmla="*/ 45 w 47"/>
                  <a:gd name="T19" fmla="*/ 23 h 47"/>
                  <a:gd name="T20" fmla="*/ 46 w 47"/>
                  <a:gd name="T21" fmla="*/ 23 h 47"/>
                  <a:gd name="T22" fmla="*/ 47 w 47"/>
                  <a:gd name="T23" fmla="*/ 23 h 47"/>
                  <a:gd name="T24" fmla="*/ 24 w 47"/>
                  <a:gd name="T25" fmla="*/ 0 h 47"/>
                  <a:gd name="T26" fmla="*/ 0 w 47"/>
                  <a:gd name="T27" fmla="*/ 23 h 47"/>
                  <a:gd name="T28" fmla="*/ 24 w 47"/>
                  <a:gd name="T29" fmla="*/ 47 h 47"/>
                  <a:gd name="T30" fmla="*/ 47 w 47"/>
                  <a:gd name="T31" fmla="*/ 23 h 47"/>
                  <a:gd name="T32" fmla="*/ 46 w 47"/>
                  <a:gd name="T33"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7" h="47">
                    <a:moveTo>
                      <a:pt x="46" y="23"/>
                    </a:moveTo>
                    <a:cubicBezTo>
                      <a:pt x="45" y="23"/>
                      <a:pt x="45" y="23"/>
                      <a:pt x="45" y="23"/>
                    </a:cubicBezTo>
                    <a:cubicBezTo>
                      <a:pt x="45" y="29"/>
                      <a:pt x="43" y="35"/>
                      <a:pt x="39" y="39"/>
                    </a:cubicBezTo>
                    <a:cubicBezTo>
                      <a:pt x="35" y="42"/>
                      <a:pt x="30" y="45"/>
                      <a:pt x="24" y="45"/>
                    </a:cubicBezTo>
                    <a:cubicBezTo>
                      <a:pt x="18" y="45"/>
                      <a:pt x="13" y="42"/>
                      <a:pt x="9" y="39"/>
                    </a:cubicBezTo>
                    <a:cubicBezTo>
                      <a:pt x="5" y="35"/>
                      <a:pt x="2" y="29"/>
                      <a:pt x="2" y="23"/>
                    </a:cubicBezTo>
                    <a:cubicBezTo>
                      <a:pt x="2" y="18"/>
                      <a:pt x="5" y="12"/>
                      <a:pt x="9" y="8"/>
                    </a:cubicBezTo>
                    <a:cubicBezTo>
                      <a:pt x="13" y="4"/>
                      <a:pt x="18" y="2"/>
                      <a:pt x="24" y="2"/>
                    </a:cubicBezTo>
                    <a:cubicBezTo>
                      <a:pt x="30" y="2"/>
                      <a:pt x="35" y="4"/>
                      <a:pt x="39" y="8"/>
                    </a:cubicBezTo>
                    <a:cubicBezTo>
                      <a:pt x="43" y="12"/>
                      <a:pt x="45" y="18"/>
                      <a:pt x="45" y="23"/>
                    </a:cubicBezTo>
                    <a:cubicBezTo>
                      <a:pt x="46" y="23"/>
                      <a:pt x="46" y="23"/>
                      <a:pt x="46" y="23"/>
                    </a:cubicBezTo>
                    <a:cubicBezTo>
                      <a:pt x="47" y="23"/>
                      <a:pt x="47" y="23"/>
                      <a:pt x="47" y="23"/>
                    </a:cubicBezTo>
                    <a:cubicBezTo>
                      <a:pt x="47" y="11"/>
                      <a:pt x="37" y="0"/>
                      <a:pt x="24" y="0"/>
                    </a:cubicBezTo>
                    <a:cubicBezTo>
                      <a:pt x="11" y="0"/>
                      <a:pt x="0" y="11"/>
                      <a:pt x="0" y="23"/>
                    </a:cubicBezTo>
                    <a:cubicBezTo>
                      <a:pt x="0" y="36"/>
                      <a:pt x="11" y="47"/>
                      <a:pt x="24" y="47"/>
                    </a:cubicBezTo>
                    <a:cubicBezTo>
                      <a:pt x="37" y="47"/>
                      <a:pt x="47" y="36"/>
                      <a:pt x="47" y="23"/>
                    </a:cubicBezTo>
                    <a:lnTo>
                      <a:pt x="46" y="23"/>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5" name="Freeform 412">
                <a:extLst>
                  <a:ext uri="{FF2B5EF4-FFF2-40B4-BE49-F238E27FC236}">
                    <a16:creationId xmlns:a16="http://schemas.microsoft.com/office/drawing/2014/main" id="{A08C2F6B-6142-15FC-710C-26ED48EAF442}"/>
                  </a:ext>
                </a:extLst>
              </p:cNvPr>
              <p:cNvSpPr>
                <a:spLocks/>
              </p:cNvSpPr>
              <p:nvPr/>
            </p:nvSpPr>
            <p:spPr bwMode="auto">
              <a:xfrm>
                <a:off x="755466" y="6557246"/>
                <a:ext cx="36125" cy="65477"/>
              </a:xfrm>
              <a:custGeom>
                <a:avLst/>
                <a:gdLst>
                  <a:gd name="T0" fmla="*/ 16 w 32"/>
                  <a:gd name="T1" fmla="*/ 22 h 58"/>
                  <a:gd name="T2" fmla="*/ 32 w 32"/>
                  <a:gd name="T3" fmla="*/ 26 h 58"/>
                  <a:gd name="T4" fmla="*/ 16 w 32"/>
                  <a:gd name="T5" fmla="*/ 58 h 58"/>
                  <a:gd name="T6" fmla="*/ 16 w 32"/>
                  <a:gd name="T7" fmla="*/ 36 h 58"/>
                  <a:gd name="T8" fmla="*/ 16 w 32"/>
                  <a:gd name="T9" fmla="*/ 34 h 58"/>
                  <a:gd name="T10" fmla="*/ 0 w 32"/>
                  <a:gd name="T11" fmla="*/ 30 h 58"/>
                  <a:gd name="T12" fmla="*/ 16 w 32"/>
                  <a:gd name="T13" fmla="*/ 0 h 58"/>
                  <a:gd name="T14" fmla="*/ 16 w 32"/>
                  <a:gd name="T15" fmla="*/ 22 h 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58">
                    <a:moveTo>
                      <a:pt x="16" y="22"/>
                    </a:moveTo>
                    <a:lnTo>
                      <a:pt x="32" y="26"/>
                    </a:lnTo>
                    <a:lnTo>
                      <a:pt x="16" y="58"/>
                    </a:lnTo>
                    <a:lnTo>
                      <a:pt x="16" y="36"/>
                    </a:lnTo>
                    <a:lnTo>
                      <a:pt x="16" y="34"/>
                    </a:lnTo>
                    <a:lnTo>
                      <a:pt x="0" y="30"/>
                    </a:lnTo>
                    <a:lnTo>
                      <a:pt x="16" y="0"/>
                    </a:lnTo>
                    <a:lnTo>
                      <a:pt x="16" y="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6" name="Freeform 413">
                <a:extLst>
                  <a:ext uri="{FF2B5EF4-FFF2-40B4-BE49-F238E27FC236}">
                    <a16:creationId xmlns:a16="http://schemas.microsoft.com/office/drawing/2014/main" id="{C027CE26-5CAF-9FE1-96B0-3EFF0787D4C9}"/>
                  </a:ext>
                </a:extLst>
              </p:cNvPr>
              <p:cNvSpPr>
                <a:spLocks/>
              </p:cNvSpPr>
              <p:nvPr/>
            </p:nvSpPr>
            <p:spPr bwMode="auto">
              <a:xfrm>
                <a:off x="750951" y="6548215"/>
                <a:ext cx="42899" cy="83540"/>
              </a:xfrm>
              <a:custGeom>
                <a:avLst/>
                <a:gdLst>
                  <a:gd name="T0" fmla="*/ 20 w 38"/>
                  <a:gd name="T1" fmla="*/ 30 h 74"/>
                  <a:gd name="T2" fmla="*/ 18 w 38"/>
                  <a:gd name="T3" fmla="*/ 32 h 74"/>
                  <a:gd name="T4" fmla="*/ 32 w 38"/>
                  <a:gd name="T5" fmla="*/ 36 h 74"/>
                  <a:gd name="T6" fmla="*/ 22 w 38"/>
                  <a:gd name="T7" fmla="*/ 56 h 74"/>
                  <a:gd name="T8" fmla="*/ 22 w 38"/>
                  <a:gd name="T9" fmla="*/ 44 h 74"/>
                  <a:gd name="T10" fmla="*/ 22 w 38"/>
                  <a:gd name="T11" fmla="*/ 42 h 74"/>
                  <a:gd name="T12" fmla="*/ 22 w 38"/>
                  <a:gd name="T13" fmla="*/ 42 h 74"/>
                  <a:gd name="T14" fmla="*/ 6 w 38"/>
                  <a:gd name="T15" fmla="*/ 38 h 74"/>
                  <a:gd name="T16" fmla="*/ 18 w 38"/>
                  <a:gd name="T17" fmla="*/ 16 h 74"/>
                  <a:gd name="T18" fmla="*/ 18 w 38"/>
                  <a:gd name="T19" fmla="*/ 32 h 74"/>
                  <a:gd name="T20" fmla="*/ 18 w 38"/>
                  <a:gd name="T21" fmla="*/ 32 h 74"/>
                  <a:gd name="T22" fmla="*/ 20 w 38"/>
                  <a:gd name="T23" fmla="*/ 30 h 74"/>
                  <a:gd name="T24" fmla="*/ 22 w 38"/>
                  <a:gd name="T25" fmla="*/ 30 h 74"/>
                  <a:gd name="T26" fmla="*/ 22 w 38"/>
                  <a:gd name="T27" fmla="*/ 0 h 74"/>
                  <a:gd name="T28" fmla="*/ 0 w 38"/>
                  <a:gd name="T29" fmla="*/ 40 h 74"/>
                  <a:gd name="T30" fmla="*/ 20 w 38"/>
                  <a:gd name="T31" fmla="*/ 44 h 74"/>
                  <a:gd name="T32" fmla="*/ 20 w 38"/>
                  <a:gd name="T33" fmla="*/ 42 h 74"/>
                  <a:gd name="T34" fmla="*/ 18 w 38"/>
                  <a:gd name="T35" fmla="*/ 42 h 74"/>
                  <a:gd name="T36" fmla="*/ 18 w 38"/>
                  <a:gd name="T37" fmla="*/ 44 h 74"/>
                  <a:gd name="T38" fmla="*/ 18 w 38"/>
                  <a:gd name="T39" fmla="*/ 74 h 74"/>
                  <a:gd name="T40" fmla="*/ 38 w 38"/>
                  <a:gd name="T41" fmla="*/ 34 h 74"/>
                  <a:gd name="T42" fmla="*/ 20 w 38"/>
                  <a:gd name="T43" fmla="*/ 28 h 74"/>
                  <a:gd name="T44" fmla="*/ 20 w 38"/>
                  <a:gd name="T45" fmla="*/ 30 h 74"/>
                  <a:gd name="T46" fmla="*/ 22 w 38"/>
                  <a:gd name="T47" fmla="*/ 30 h 74"/>
                  <a:gd name="T48" fmla="*/ 20 w 38"/>
                  <a:gd name="T49" fmla="*/ 3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8" h="74">
                    <a:moveTo>
                      <a:pt x="20" y="30"/>
                    </a:moveTo>
                    <a:lnTo>
                      <a:pt x="18" y="32"/>
                    </a:lnTo>
                    <a:lnTo>
                      <a:pt x="32" y="36"/>
                    </a:lnTo>
                    <a:lnTo>
                      <a:pt x="22" y="56"/>
                    </a:lnTo>
                    <a:lnTo>
                      <a:pt x="22" y="44"/>
                    </a:lnTo>
                    <a:lnTo>
                      <a:pt x="22" y="42"/>
                    </a:lnTo>
                    <a:lnTo>
                      <a:pt x="22" y="42"/>
                    </a:lnTo>
                    <a:lnTo>
                      <a:pt x="6" y="38"/>
                    </a:lnTo>
                    <a:lnTo>
                      <a:pt x="18" y="16"/>
                    </a:lnTo>
                    <a:lnTo>
                      <a:pt x="18" y="32"/>
                    </a:lnTo>
                    <a:lnTo>
                      <a:pt x="18" y="32"/>
                    </a:lnTo>
                    <a:lnTo>
                      <a:pt x="20" y="30"/>
                    </a:lnTo>
                    <a:lnTo>
                      <a:pt x="22" y="30"/>
                    </a:lnTo>
                    <a:lnTo>
                      <a:pt x="22" y="0"/>
                    </a:lnTo>
                    <a:lnTo>
                      <a:pt x="0" y="40"/>
                    </a:lnTo>
                    <a:lnTo>
                      <a:pt x="20" y="44"/>
                    </a:lnTo>
                    <a:lnTo>
                      <a:pt x="20" y="42"/>
                    </a:lnTo>
                    <a:lnTo>
                      <a:pt x="18" y="42"/>
                    </a:lnTo>
                    <a:lnTo>
                      <a:pt x="18" y="44"/>
                    </a:lnTo>
                    <a:lnTo>
                      <a:pt x="18" y="74"/>
                    </a:lnTo>
                    <a:lnTo>
                      <a:pt x="38" y="34"/>
                    </a:lnTo>
                    <a:lnTo>
                      <a:pt x="20" y="28"/>
                    </a:lnTo>
                    <a:lnTo>
                      <a:pt x="20" y="30"/>
                    </a:lnTo>
                    <a:lnTo>
                      <a:pt x="22" y="30"/>
                    </a:lnTo>
                    <a:lnTo>
                      <a:pt x="20"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17" name="Freeform 414">
                <a:extLst>
                  <a:ext uri="{FF2B5EF4-FFF2-40B4-BE49-F238E27FC236}">
                    <a16:creationId xmlns:a16="http://schemas.microsoft.com/office/drawing/2014/main" id="{5121D196-4011-70C7-8267-091D75D74122}"/>
                  </a:ext>
                </a:extLst>
              </p:cNvPr>
              <p:cNvSpPr>
                <a:spLocks/>
              </p:cNvSpPr>
              <p:nvPr/>
            </p:nvSpPr>
            <p:spPr bwMode="auto">
              <a:xfrm>
                <a:off x="660637" y="3737210"/>
                <a:ext cx="1071343" cy="1074730"/>
              </a:xfrm>
              <a:custGeom>
                <a:avLst/>
                <a:gdLst>
                  <a:gd name="T0" fmla="*/ 4 w 474"/>
                  <a:gd name="T1" fmla="*/ 239 h 475"/>
                  <a:gd name="T2" fmla="*/ 5 w 474"/>
                  <a:gd name="T3" fmla="*/ 263 h 475"/>
                  <a:gd name="T4" fmla="*/ 9 w 474"/>
                  <a:gd name="T5" fmla="*/ 288 h 475"/>
                  <a:gd name="T6" fmla="*/ 16 w 474"/>
                  <a:gd name="T7" fmla="*/ 311 h 475"/>
                  <a:gd name="T8" fmla="*/ 25 w 474"/>
                  <a:gd name="T9" fmla="*/ 334 h 475"/>
                  <a:gd name="T10" fmla="*/ 36 w 474"/>
                  <a:gd name="T11" fmla="*/ 356 h 475"/>
                  <a:gd name="T12" fmla="*/ 50 w 474"/>
                  <a:gd name="T13" fmla="*/ 377 h 475"/>
                  <a:gd name="T14" fmla="*/ 65 w 474"/>
                  <a:gd name="T15" fmla="*/ 395 h 475"/>
                  <a:gd name="T16" fmla="*/ 83 w 474"/>
                  <a:gd name="T17" fmla="*/ 413 h 475"/>
                  <a:gd name="T18" fmla="*/ 102 w 474"/>
                  <a:gd name="T19" fmla="*/ 428 h 475"/>
                  <a:gd name="T20" fmla="*/ 123 w 474"/>
                  <a:gd name="T21" fmla="*/ 441 h 475"/>
                  <a:gd name="T22" fmla="*/ 145 w 474"/>
                  <a:gd name="T23" fmla="*/ 452 h 475"/>
                  <a:gd name="T24" fmla="*/ 168 w 474"/>
                  <a:gd name="T25" fmla="*/ 461 h 475"/>
                  <a:gd name="T26" fmla="*/ 192 w 474"/>
                  <a:gd name="T27" fmla="*/ 467 h 475"/>
                  <a:gd name="T28" fmla="*/ 217 w 474"/>
                  <a:gd name="T29" fmla="*/ 470 h 475"/>
                  <a:gd name="T30" fmla="*/ 241 w 474"/>
                  <a:gd name="T31" fmla="*/ 471 h 475"/>
                  <a:gd name="T32" fmla="*/ 266 w 474"/>
                  <a:gd name="T33" fmla="*/ 469 h 475"/>
                  <a:gd name="T34" fmla="*/ 290 w 474"/>
                  <a:gd name="T35" fmla="*/ 464 h 475"/>
                  <a:gd name="T36" fmla="*/ 314 w 474"/>
                  <a:gd name="T37" fmla="*/ 458 h 475"/>
                  <a:gd name="T38" fmla="*/ 337 w 474"/>
                  <a:gd name="T39" fmla="*/ 449 h 475"/>
                  <a:gd name="T40" fmla="*/ 359 w 474"/>
                  <a:gd name="T41" fmla="*/ 438 h 475"/>
                  <a:gd name="T42" fmla="*/ 379 w 474"/>
                  <a:gd name="T43" fmla="*/ 424 h 475"/>
                  <a:gd name="T44" fmla="*/ 398 w 474"/>
                  <a:gd name="T45" fmla="*/ 409 h 475"/>
                  <a:gd name="T46" fmla="*/ 415 w 474"/>
                  <a:gd name="T47" fmla="*/ 391 h 475"/>
                  <a:gd name="T48" fmla="*/ 430 w 474"/>
                  <a:gd name="T49" fmla="*/ 371 h 475"/>
                  <a:gd name="T50" fmla="*/ 442 w 474"/>
                  <a:gd name="T51" fmla="*/ 350 h 475"/>
                  <a:gd name="T52" fmla="*/ 453 w 474"/>
                  <a:gd name="T53" fmla="*/ 328 h 475"/>
                  <a:gd name="T54" fmla="*/ 461 w 474"/>
                  <a:gd name="T55" fmla="*/ 304 h 475"/>
                  <a:gd name="T56" fmla="*/ 466 w 474"/>
                  <a:gd name="T57" fmla="*/ 280 h 475"/>
                  <a:gd name="T58" fmla="*/ 469 w 474"/>
                  <a:gd name="T59" fmla="*/ 256 h 475"/>
                  <a:gd name="T60" fmla="*/ 470 w 474"/>
                  <a:gd name="T61" fmla="*/ 231 h 475"/>
                  <a:gd name="T62" fmla="*/ 468 w 474"/>
                  <a:gd name="T63" fmla="*/ 207 h 475"/>
                  <a:gd name="T64" fmla="*/ 463 w 474"/>
                  <a:gd name="T65" fmla="*/ 182 h 475"/>
                  <a:gd name="T66" fmla="*/ 457 w 474"/>
                  <a:gd name="T67" fmla="*/ 159 h 475"/>
                  <a:gd name="T68" fmla="*/ 448 w 474"/>
                  <a:gd name="T69" fmla="*/ 136 h 475"/>
                  <a:gd name="T70" fmla="*/ 436 w 474"/>
                  <a:gd name="T71" fmla="*/ 114 h 475"/>
                  <a:gd name="T72" fmla="*/ 422 w 474"/>
                  <a:gd name="T73" fmla="*/ 94 h 475"/>
                  <a:gd name="T74" fmla="*/ 406 w 474"/>
                  <a:gd name="T75" fmla="*/ 75 h 475"/>
                  <a:gd name="T76" fmla="*/ 388 w 474"/>
                  <a:gd name="T77" fmla="*/ 58 h 475"/>
                  <a:gd name="T78" fmla="*/ 368 w 474"/>
                  <a:gd name="T79" fmla="*/ 44 h 475"/>
                  <a:gd name="T80" fmla="*/ 347 w 474"/>
                  <a:gd name="T81" fmla="*/ 31 h 475"/>
                  <a:gd name="T82" fmla="*/ 325 w 474"/>
                  <a:gd name="T83" fmla="*/ 21 h 475"/>
                  <a:gd name="T84" fmla="*/ 301 w 474"/>
                  <a:gd name="T85" fmla="*/ 14 h 475"/>
                  <a:gd name="T86" fmla="*/ 277 w 474"/>
                  <a:gd name="T87" fmla="*/ 8 h 475"/>
                  <a:gd name="T88" fmla="*/ 253 w 474"/>
                  <a:gd name="T89" fmla="*/ 5 h 475"/>
                  <a:gd name="T90" fmla="*/ 228 w 474"/>
                  <a:gd name="T91" fmla="*/ 5 h 475"/>
                  <a:gd name="T92" fmla="*/ 203 w 474"/>
                  <a:gd name="T93" fmla="*/ 7 h 475"/>
                  <a:gd name="T94" fmla="*/ 179 w 474"/>
                  <a:gd name="T95" fmla="*/ 12 h 475"/>
                  <a:gd name="T96" fmla="*/ 156 w 474"/>
                  <a:gd name="T97" fmla="*/ 19 h 475"/>
                  <a:gd name="T98" fmla="*/ 133 w 474"/>
                  <a:gd name="T99" fmla="*/ 29 h 475"/>
                  <a:gd name="T100" fmla="*/ 112 w 474"/>
                  <a:gd name="T101" fmla="*/ 41 h 475"/>
                  <a:gd name="T102" fmla="*/ 92 w 474"/>
                  <a:gd name="T103" fmla="*/ 55 h 475"/>
                  <a:gd name="T104" fmla="*/ 74 w 474"/>
                  <a:gd name="T105" fmla="*/ 72 h 475"/>
                  <a:gd name="T106" fmla="*/ 57 w 474"/>
                  <a:gd name="T107" fmla="*/ 90 h 475"/>
                  <a:gd name="T108" fmla="*/ 42 w 474"/>
                  <a:gd name="T109" fmla="*/ 110 h 475"/>
                  <a:gd name="T110" fmla="*/ 30 w 474"/>
                  <a:gd name="T111" fmla="*/ 131 h 475"/>
                  <a:gd name="T112" fmla="*/ 20 w 474"/>
                  <a:gd name="T113" fmla="*/ 153 h 475"/>
                  <a:gd name="T114" fmla="*/ 12 w 474"/>
                  <a:gd name="T115" fmla="*/ 177 h 475"/>
                  <a:gd name="T116" fmla="*/ 7 w 474"/>
                  <a:gd name="T117" fmla="*/ 201 h 475"/>
                  <a:gd name="T118" fmla="*/ 4 w 474"/>
                  <a:gd name="T119" fmla="*/ 225 h 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4" h="475">
                    <a:moveTo>
                      <a:pt x="4" y="238"/>
                    </a:moveTo>
                    <a:cubicBezTo>
                      <a:pt x="4" y="237"/>
                      <a:pt x="4" y="237"/>
                      <a:pt x="4" y="237"/>
                    </a:cubicBezTo>
                    <a:cubicBezTo>
                      <a:pt x="4" y="236"/>
                      <a:pt x="3" y="235"/>
                      <a:pt x="2" y="235"/>
                    </a:cubicBezTo>
                    <a:cubicBezTo>
                      <a:pt x="1" y="235"/>
                      <a:pt x="0" y="236"/>
                      <a:pt x="0" y="237"/>
                    </a:cubicBezTo>
                    <a:cubicBezTo>
                      <a:pt x="0" y="238"/>
                      <a:pt x="0" y="238"/>
                      <a:pt x="0" y="238"/>
                    </a:cubicBezTo>
                    <a:cubicBezTo>
                      <a:pt x="0" y="239"/>
                      <a:pt x="1" y="240"/>
                      <a:pt x="2" y="240"/>
                    </a:cubicBezTo>
                    <a:cubicBezTo>
                      <a:pt x="3" y="240"/>
                      <a:pt x="4" y="239"/>
                      <a:pt x="4" y="238"/>
                    </a:cubicBezTo>
                    <a:close/>
                    <a:moveTo>
                      <a:pt x="4" y="239"/>
                    </a:moveTo>
                    <a:cubicBezTo>
                      <a:pt x="4" y="238"/>
                      <a:pt x="4" y="238"/>
                      <a:pt x="4" y="238"/>
                    </a:cubicBezTo>
                    <a:cubicBezTo>
                      <a:pt x="4" y="237"/>
                      <a:pt x="3" y="236"/>
                      <a:pt x="2" y="236"/>
                    </a:cubicBezTo>
                    <a:cubicBezTo>
                      <a:pt x="1" y="236"/>
                      <a:pt x="0" y="237"/>
                      <a:pt x="0" y="238"/>
                    </a:cubicBezTo>
                    <a:cubicBezTo>
                      <a:pt x="0" y="239"/>
                      <a:pt x="0" y="239"/>
                      <a:pt x="0" y="239"/>
                    </a:cubicBezTo>
                    <a:cubicBezTo>
                      <a:pt x="0" y="240"/>
                      <a:pt x="1" y="241"/>
                      <a:pt x="2" y="241"/>
                    </a:cubicBezTo>
                    <a:cubicBezTo>
                      <a:pt x="3" y="241"/>
                      <a:pt x="4" y="240"/>
                      <a:pt x="4" y="239"/>
                    </a:cubicBezTo>
                    <a:close/>
                    <a:moveTo>
                      <a:pt x="4" y="251"/>
                    </a:moveTo>
                    <a:cubicBezTo>
                      <a:pt x="4" y="251"/>
                      <a:pt x="4" y="251"/>
                      <a:pt x="4" y="251"/>
                    </a:cubicBezTo>
                    <a:cubicBezTo>
                      <a:pt x="4" y="249"/>
                      <a:pt x="3" y="249"/>
                      <a:pt x="2" y="249"/>
                    </a:cubicBezTo>
                    <a:cubicBezTo>
                      <a:pt x="1" y="249"/>
                      <a:pt x="0" y="250"/>
                      <a:pt x="0" y="251"/>
                    </a:cubicBezTo>
                    <a:cubicBezTo>
                      <a:pt x="0" y="251"/>
                      <a:pt x="0" y="251"/>
                      <a:pt x="0" y="251"/>
                    </a:cubicBezTo>
                    <a:cubicBezTo>
                      <a:pt x="0" y="252"/>
                      <a:pt x="1" y="253"/>
                      <a:pt x="3" y="253"/>
                    </a:cubicBezTo>
                    <a:cubicBezTo>
                      <a:pt x="4" y="253"/>
                      <a:pt x="4" y="252"/>
                      <a:pt x="4" y="251"/>
                    </a:cubicBezTo>
                    <a:close/>
                    <a:moveTo>
                      <a:pt x="5" y="263"/>
                    </a:moveTo>
                    <a:cubicBezTo>
                      <a:pt x="5" y="263"/>
                      <a:pt x="5" y="263"/>
                      <a:pt x="5" y="263"/>
                    </a:cubicBezTo>
                    <a:cubicBezTo>
                      <a:pt x="5" y="262"/>
                      <a:pt x="4" y="261"/>
                      <a:pt x="3" y="261"/>
                    </a:cubicBezTo>
                    <a:cubicBezTo>
                      <a:pt x="2" y="261"/>
                      <a:pt x="1" y="262"/>
                      <a:pt x="1" y="263"/>
                    </a:cubicBezTo>
                    <a:cubicBezTo>
                      <a:pt x="1" y="264"/>
                      <a:pt x="1" y="264"/>
                      <a:pt x="1" y="264"/>
                    </a:cubicBezTo>
                    <a:cubicBezTo>
                      <a:pt x="2" y="265"/>
                      <a:pt x="3" y="266"/>
                      <a:pt x="4" y="265"/>
                    </a:cubicBezTo>
                    <a:cubicBezTo>
                      <a:pt x="5" y="265"/>
                      <a:pt x="6" y="264"/>
                      <a:pt x="5" y="263"/>
                    </a:cubicBezTo>
                    <a:close/>
                    <a:moveTo>
                      <a:pt x="7" y="275"/>
                    </a:moveTo>
                    <a:cubicBezTo>
                      <a:pt x="7" y="275"/>
                      <a:pt x="7" y="275"/>
                      <a:pt x="7" y="275"/>
                    </a:cubicBezTo>
                    <a:cubicBezTo>
                      <a:pt x="7" y="274"/>
                      <a:pt x="6" y="273"/>
                      <a:pt x="5" y="273"/>
                    </a:cubicBezTo>
                    <a:cubicBezTo>
                      <a:pt x="4" y="274"/>
                      <a:pt x="3" y="275"/>
                      <a:pt x="3" y="276"/>
                    </a:cubicBezTo>
                    <a:cubicBezTo>
                      <a:pt x="3" y="276"/>
                      <a:pt x="3" y="276"/>
                      <a:pt x="3" y="276"/>
                    </a:cubicBezTo>
                    <a:cubicBezTo>
                      <a:pt x="3" y="277"/>
                      <a:pt x="4" y="278"/>
                      <a:pt x="5" y="278"/>
                    </a:cubicBezTo>
                    <a:cubicBezTo>
                      <a:pt x="7" y="278"/>
                      <a:pt x="7" y="277"/>
                      <a:pt x="7" y="275"/>
                    </a:cubicBezTo>
                    <a:close/>
                    <a:moveTo>
                      <a:pt x="9" y="288"/>
                    </a:moveTo>
                    <a:cubicBezTo>
                      <a:pt x="9" y="287"/>
                      <a:pt x="9" y="287"/>
                      <a:pt x="9" y="287"/>
                    </a:cubicBezTo>
                    <a:cubicBezTo>
                      <a:pt x="9" y="286"/>
                      <a:pt x="8" y="285"/>
                      <a:pt x="7" y="286"/>
                    </a:cubicBezTo>
                    <a:cubicBezTo>
                      <a:pt x="6" y="286"/>
                      <a:pt x="5" y="287"/>
                      <a:pt x="5" y="288"/>
                    </a:cubicBezTo>
                    <a:cubicBezTo>
                      <a:pt x="5" y="288"/>
                      <a:pt x="5" y="288"/>
                      <a:pt x="5" y="288"/>
                    </a:cubicBezTo>
                    <a:cubicBezTo>
                      <a:pt x="6" y="289"/>
                      <a:pt x="7" y="290"/>
                      <a:pt x="8" y="290"/>
                    </a:cubicBezTo>
                    <a:cubicBezTo>
                      <a:pt x="9" y="290"/>
                      <a:pt x="10" y="289"/>
                      <a:pt x="9" y="288"/>
                    </a:cubicBezTo>
                    <a:close/>
                    <a:moveTo>
                      <a:pt x="12" y="299"/>
                    </a:moveTo>
                    <a:cubicBezTo>
                      <a:pt x="12" y="299"/>
                      <a:pt x="12" y="299"/>
                      <a:pt x="12" y="299"/>
                    </a:cubicBezTo>
                    <a:cubicBezTo>
                      <a:pt x="12" y="298"/>
                      <a:pt x="11" y="297"/>
                      <a:pt x="10" y="298"/>
                    </a:cubicBezTo>
                    <a:cubicBezTo>
                      <a:pt x="9" y="298"/>
                      <a:pt x="8" y="299"/>
                      <a:pt x="8" y="300"/>
                    </a:cubicBezTo>
                    <a:cubicBezTo>
                      <a:pt x="8" y="301"/>
                      <a:pt x="8" y="301"/>
                      <a:pt x="8" y="301"/>
                    </a:cubicBezTo>
                    <a:cubicBezTo>
                      <a:pt x="9" y="302"/>
                      <a:pt x="10" y="302"/>
                      <a:pt x="11" y="302"/>
                    </a:cubicBezTo>
                    <a:cubicBezTo>
                      <a:pt x="12" y="302"/>
                      <a:pt x="13" y="301"/>
                      <a:pt x="12" y="299"/>
                    </a:cubicBezTo>
                    <a:close/>
                    <a:moveTo>
                      <a:pt x="16" y="311"/>
                    </a:moveTo>
                    <a:cubicBezTo>
                      <a:pt x="16" y="311"/>
                      <a:pt x="16" y="311"/>
                      <a:pt x="16" y="311"/>
                    </a:cubicBezTo>
                    <a:cubicBezTo>
                      <a:pt x="15" y="310"/>
                      <a:pt x="14" y="309"/>
                      <a:pt x="13" y="310"/>
                    </a:cubicBezTo>
                    <a:cubicBezTo>
                      <a:pt x="12" y="310"/>
                      <a:pt x="12" y="311"/>
                      <a:pt x="12" y="312"/>
                    </a:cubicBezTo>
                    <a:cubicBezTo>
                      <a:pt x="12" y="313"/>
                      <a:pt x="12" y="313"/>
                      <a:pt x="12" y="313"/>
                    </a:cubicBezTo>
                    <a:cubicBezTo>
                      <a:pt x="12" y="314"/>
                      <a:pt x="14" y="314"/>
                      <a:pt x="15" y="314"/>
                    </a:cubicBezTo>
                    <a:cubicBezTo>
                      <a:pt x="16" y="313"/>
                      <a:pt x="16" y="312"/>
                      <a:pt x="16" y="311"/>
                    </a:cubicBezTo>
                    <a:close/>
                    <a:moveTo>
                      <a:pt x="20" y="323"/>
                    </a:moveTo>
                    <a:cubicBezTo>
                      <a:pt x="20" y="322"/>
                      <a:pt x="20" y="322"/>
                      <a:pt x="20" y="322"/>
                    </a:cubicBezTo>
                    <a:cubicBezTo>
                      <a:pt x="20" y="321"/>
                      <a:pt x="18" y="321"/>
                      <a:pt x="17" y="321"/>
                    </a:cubicBezTo>
                    <a:cubicBezTo>
                      <a:pt x="16" y="322"/>
                      <a:pt x="16" y="323"/>
                      <a:pt x="16" y="324"/>
                    </a:cubicBezTo>
                    <a:cubicBezTo>
                      <a:pt x="16" y="324"/>
                      <a:pt x="16" y="324"/>
                      <a:pt x="16" y="324"/>
                    </a:cubicBezTo>
                    <a:cubicBezTo>
                      <a:pt x="17" y="325"/>
                      <a:pt x="18" y="326"/>
                      <a:pt x="19" y="325"/>
                    </a:cubicBezTo>
                    <a:cubicBezTo>
                      <a:pt x="20" y="325"/>
                      <a:pt x="20" y="324"/>
                      <a:pt x="20" y="323"/>
                    </a:cubicBezTo>
                    <a:close/>
                    <a:moveTo>
                      <a:pt x="25" y="334"/>
                    </a:moveTo>
                    <a:cubicBezTo>
                      <a:pt x="25" y="334"/>
                      <a:pt x="25" y="334"/>
                      <a:pt x="25" y="334"/>
                    </a:cubicBezTo>
                    <a:cubicBezTo>
                      <a:pt x="24" y="333"/>
                      <a:pt x="23" y="332"/>
                      <a:pt x="22" y="333"/>
                    </a:cubicBezTo>
                    <a:cubicBezTo>
                      <a:pt x="21" y="333"/>
                      <a:pt x="21" y="334"/>
                      <a:pt x="21" y="335"/>
                    </a:cubicBezTo>
                    <a:cubicBezTo>
                      <a:pt x="21" y="336"/>
                      <a:pt x="21" y="336"/>
                      <a:pt x="21" y="336"/>
                    </a:cubicBezTo>
                    <a:cubicBezTo>
                      <a:pt x="22" y="337"/>
                      <a:pt x="23" y="337"/>
                      <a:pt x="24" y="337"/>
                    </a:cubicBezTo>
                    <a:cubicBezTo>
                      <a:pt x="25" y="336"/>
                      <a:pt x="25" y="335"/>
                      <a:pt x="25" y="334"/>
                    </a:cubicBezTo>
                    <a:close/>
                    <a:moveTo>
                      <a:pt x="30" y="345"/>
                    </a:moveTo>
                    <a:cubicBezTo>
                      <a:pt x="30" y="345"/>
                      <a:pt x="30" y="345"/>
                      <a:pt x="30" y="345"/>
                    </a:cubicBezTo>
                    <a:cubicBezTo>
                      <a:pt x="30" y="344"/>
                      <a:pt x="28" y="344"/>
                      <a:pt x="27" y="344"/>
                    </a:cubicBezTo>
                    <a:cubicBezTo>
                      <a:pt x="26" y="345"/>
                      <a:pt x="26" y="346"/>
                      <a:pt x="26" y="347"/>
                    </a:cubicBezTo>
                    <a:cubicBezTo>
                      <a:pt x="27" y="347"/>
                      <a:pt x="27" y="347"/>
                      <a:pt x="27" y="347"/>
                    </a:cubicBezTo>
                    <a:cubicBezTo>
                      <a:pt x="27" y="348"/>
                      <a:pt x="28" y="348"/>
                      <a:pt x="29" y="348"/>
                    </a:cubicBezTo>
                    <a:cubicBezTo>
                      <a:pt x="30" y="347"/>
                      <a:pt x="31" y="346"/>
                      <a:pt x="30" y="345"/>
                    </a:cubicBezTo>
                    <a:close/>
                    <a:moveTo>
                      <a:pt x="36" y="356"/>
                    </a:moveTo>
                    <a:cubicBezTo>
                      <a:pt x="36" y="356"/>
                      <a:pt x="36" y="356"/>
                      <a:pt x="36" y="356"/>
                    </a:cubicBezTo>
                    <a:cubicBezTo>
                      <a:pt x="35" y="355"/>
                      <a:pt x="34" y="354"/>
                      <a:pt x="33" y="355"/>
                    </a:cubicBezTo>
                    <a:cubicBezTo>
                      <a:pt x="32" y="355"/>
                      <a:pt x="32" y="357"/>
                      <a:pt x="33" y="358"/>
                    </a:cubicBezTo>
                    <a:cubicBezTo>
                      <a:pt x="33" y="358"/>
                      <a:pt x="33" y="358"/>
                      <a:pt x="33" y="358"/>
                    </a:cubicBezTo>
                    <a:cubicBezTo>
                      <a:pt x="33" y="359"/>
                      <a:pt x="35" y="359"/>
                      <a:pt x="35" y="359"/>
                    </a:cubicBezTo>
                    <a:cubicBezTo>
                      <a:pt x="36" y="358"/>
                      <a:pt x="37" y="357"/>
                      <a:pt x="36" y="356"/>
                    </a:cubicBezTo>
                    <a:close/>
                    <a:moveTo>
                      <a:pt x="43" y="366"/>
                    </a:moveTo>
                    <a:cubicBezTo>
                      <a:pt x="42" y="366"/>
                      <a:pt x="42" y="366"/>
                      <a:pt x="42" y="366"/>
                    </a:cubicBezTo>
                    <a:cubicBezTo>
                      <a:pt x="42" y="365"/>
                      <a:pt x="41" y="365"/>
                      <a:pt x="40" y="366"/>
                    </a:cubicBezTo>
                    <a:cubicBezTo>
                      <a:pt x="39" y="366"/>
                      <a:pt x="39" y="367"/>
                      <a:pt x="39" y="368"/>
                    </a:cubicBezTo>
                    <a:cubicBezTo>
                      <a:pt x="39" y="369"/>
                      <a:pt x="39" y="369"/>
                      <a:pt x="39" y="369"/>
                    </a:cubicBezTo>
                    <a:cubicBezTo>
                      <a:pt x="40" y="370"/>
                      <a:pt x="41" y="370"/>
                      <a:pt x="42" y="369"/>
                    </a:cubicBezTo>
                    <a:cubicBezTo>
                      <a:pt x="43" y="369"/>
                      <a:pt x="43" y="367"/>
                      <a:pt x="43" y="366"/>
                    </a:cubicBezTo>
                    <a:close/>
                    <a:moveTo>
                      <a:pt x="50" y="377"/>
                    </a:moveTo>
                    <a:cubicBezTo>
                      <a:pt x="50" y="376"/>
                      <a:pt x="50" y="376"/>
                      <a:pt x="50" y="376"/>
                    </a:cubicBezTo>
                    <a:cubicBezTo>
                      <a:pt x="49" y="375"/>
                      <a:pt x="48" y="375"/>
                      <a:pt x="47" y="376"/>
                    </a:cubicBezTo>
                    <a:cubicBezTo>
                      <a:pt x="46" y="376"/>
                      <a:pt x="46" y="378"/>
                      <a:pt x="46" y="379"/>
                    </a:cubicBezTo>
                    <a:cubicBezTo>
                      <a:pt x="47" y="379"/>
                      <a:pt x="47" y="379"/>
                      <a:pt x="47" y="379"/>
                    </a:cubicBezTo>
                    <a:cubicBezTo>
                      <a:pt x="47" y="380"/>
                      <a:pt x="48" y="380"/>
                      <a:pt x="49" y="379"/>
                    </a:cubicBezTo>
                    <a:cubicBezTo>
                      <a:pt x="50" y="379"/>
                      <a:pt x="50" y="377"/>
                      <a:pt x="50" y="377"/>
                    </a:cubicBezTo>
                    <a:close/>
                    <a:moveTo>
                      <a:pt x="57" y="386"/>
                    </a:moveTo>
                    <a:cubicBezTo>
                      <a:pt x="57" y="386"/>
                      <a:pt x="57" y="386"/>
                      <a:pt x="57" y="386"/>
                    </a:cubicBezTo>
                    <a:cubicBezTo>
                      <a:pt x="56" y="385"/>
                      <a:pt x="55" y="385"/>
                      <a:pt x="54" y="386"/>
                    </a:cubicBezTo>
                    <a:cubicBezTo>
                      <a:pt x="53" y="386"/>
                      <a:pt x="53" y="388"/>
                      <a:pt x="54" y="388"/>
                    </a:cubicBezTo>
                    <a:cubicBezTo>
                      <a:pt x="54" y="389"/>
                      <a:pt x="54" y="389"/>
                      <a:pt x="54" y="389"/>
                    </a:cubicBezTo>
                    <a:cubicBezTo>
                      <a:pt x="55" y="390"/>
                      <a:pt x="56" y="390"/>
                      <a:pt x="57" y="389"/>
                    </a:cubicBezTo>
                    <a:cubicBezTo>
                      <a:pt x="58" y="388"/>
                      <a:pt x="58" y="387"/>
                      <a:pt x="57" y="386"/>
                    </a:cubicBezTo>
                    <a:close/>
                    <a:moveTo>
                      <a:pt x="65" y="395"/>
                    </a:moveTo>
                    <a:cubicBezTo>
                      <a:pt x="65" y="395"/>
                      <a:pt x="65" y="395"/>
                      <a:pt x="65" y="395"/>
                    </a:cubicBezTo>
                    <a:cubicBezTo>
                      <a:pt x="64" y="394"/>
                      <a:pt x="63" y="394"/>
                      <a:pt x="62" y="395"/>
                    </a:cubicBezTo>
                    <a:cubicBezTo>
                      <a:pt x="62" y="396"/>
                      <a:pt x="61" y="397"/>
                      <a:pt x="62" y="398"/>
                    </a:cubicBezTo>
                    <a:cubicBezTo>
                      <a:pt x="62" y="398"/>
                      <a:pt x="62" y="398"/>
                      <a:pt x="62" y="398"/>
                    </a:cubicBezTo>
                    <a:cubicBezTo>
                      <a:pt x="63" y="399"/>
                      <a:pt x="64" y="399"/>
                      <a:pt x="65" y="398"/>
                    </a:cubicBezTo>
                    <a:cubicBezTo>
                      <a:pt x="66" y="398"/>
                      <a:pt x="66" y="396"/>
                      <a:pt x="65" y="395"/>
                    </a:cubicBezTo>
                    <a:close/>
                    <a:moveTo>
                      <a:pt x="74" y="404"/>
                    </a:moveTo>
                    <a:cubicBezTo>
                      <a:pt x="74" y="404"/>
                      <a:pt x="74" y="404"/>
                      <a:pt x="74" y="404"/>
                    </a:cubicBezTo>
                    <a:cubicBezTo>
                      <a:pt x="73" y="403"/>
                      <a:pt x="72" y="403"/>
                      <a:pt x="71" y="404"/>
                    </a:cubicBezTo>
                    <a:cubicBezTo>
                      <a:pt x="70" y="405"/>
                      <a:pt x="70" y="406"/>
                      <a:pt x="71" y="407"/>
                    </a:cubicBezTo>
                    <a:cubicBezTo>
                      <a:pt x="71" y="407"/>
                      <a:pt x="71" y="407"/>
                      <a:pt x="71" y="407"/>
                    </a:cubicBezTo>
                    <a:cubicBezTo>
                      <a:pt x="72" y="408"/>
                      <a:pt x="73" y="408"/>
                      <a:pt x="74" y="407"/>
                    </a:cubicBezTo>
                    <a:cubicBezTo>
                      <a:pt x="75" y="406"/>
                      <a:pt x="75" y="405"/>
                      <a:pt x="74" y="404"/>
                    </a:cubicBezTo>
                    <a:close/>
                    <a:moveTo>
                      <a:pt x="83" y="413"/>
                    </a:moveTo>
                    <a:cubicBezTo>
                      <a:pt x="83" y="412"/>
                      <a:pt x="83" y="412"/>
                      <a:pt x="83" y="412"/>
                    </a:cubicBezTo>
                    <a:cubicBezTo>
                      <a:pt x="82" y="412"/>
                      <a:pt x="81" y="412"/>
                      <a:pt x="80" y="413"/>
                    </a:cubicBezTo>
                    <a:cubicBezTo>
                      <a:pt x="79" y="413"/>
                      <a:pt x="79" y="415"/>
                      <a:pt x="80" y="415"/>
                    </a:cubicBezTo>
                    <a:cubicBezTo>
                      <a:pt x="80" y="416"/>
                      <a:pt x="80" y="416"/>
                      <a:pt x="80" y="416"/>
                    </a:cubicBezTo>
                    <a:cubicBezTo>
                      <a:pt x="81" y="416"/>
                      <a:pt x="82" y="416"/>
                      <a:pt x="83" y="416"/>
                    </a:cubicBezTo>
                    <a:cubicBezTo>
                      <a:pt x="84" y="415"/>
                      <a:pt x="84" y="413"/>
                      <a:pt x="83" y="413"/>
                    </a:cubicBezTo>
                    <a:close/>
                    <a:moveTo>
                      <a:pt x="92" y="421"/>
                    </a:moveTo>
                    <a:cubicBezTo>
                      <a:pt x="92" y="420"/>
                      <a:pt x="92" y="420"/>
                      <a:pt x="92" y="420"/>
                    </a:cubicBezTo>
                    <a:cubicBezTo>
                      <a:pt x="91" y="420"/>
                      <a:pt x="90" y="420"/>
                      <a:pt x="89" y="421"/>
                    </a:cubicBezTo>
                    <a:cubicBezTo>
                      <a:pt x="89" y="422"/>
                      <a:pt x="89" y="423"/>
                      <a:pt x="90" y="424"/>
                    </a:cubicBezTo>
                    <a:cubicBezTo>
                      <a:pt x="90" y="424"/>
                      <a:pt x="90" y="424"/>
                      <a:pt x="90" y="424"/>
                    </a:cubicBezTo>
                    <a:cubicBezTo>
                      <a:pt x="91" y="424"/>
                      <a:pt x="92" y="424"/>
                      <a:pt x="93" y="423"/>
                    </a:cubicBezTo>
                    <a:cubicBezTo>
                      <a:pt x="93" y="423"/>
                      <a:pt x="93" y="421"/>
                      <a:pt x="92" y="421"/>
                    </a:cubicBezTo>
                    <a:close/>
                    <a:moveTo>
                      <a:pt x="102" y="428"/>
                    </a:moveTo>
                    <a:cubicBezTo>
                      <a:pt x="102" y="428"/>
                      <a:pt x="102" y="428"/>
                      <a:pt x="102" y="428"/>
                    </a:cubicBezTo>
                    <a:cubicBezTo>
                      <a:pt x="101" y="427"/>
                      <a:pt x="100" y="427"/>
                      <a:pt x="99" y="428"/>
                    </a:cubicBezTo>
                    <a:cubicBezTo>
                      <a:pt x="99" y="429"/>
                      <a:pt x="99" y="430"/>
                      <a:pt x="100" y="431"/>
                    </a:cubicBezTo>
                    <a:cubicBezTo>
                      <a:pt x="100" y="431"/>
                      <a:pt x="100" y="431"/>
                      <a:pt x="100" y="431"/>
                    </a:cubicBezTo>
                    <a:cubicBezTo>
                      <a:pt x="101" y="432"/>
                      <a:pt x="102" y="432"/>
                      <a:pt x="103" y="431"/>
                    </a:cubicBezTo>
                    <a:cubicBezTo>
                      <a:pt x="103" y="430"/>
                      <a:pt x="103" y="429"/>
                      <a:pt x="102" y="428"/>
                    </a:cubicBezTo>
                    <a:close/>
                    <a:moveTo>
                      <a:pt x="113" y="435"/>
                    </a:moveTo>
                    <a:cubicBezTo>
                      <a:pt x="112" y="435"/>
                      <a:pt x="112" y="435"/>
                      <a:pt x="112" y="435"/>
                    </a:cubicBezTo>
                    <a:cubicBezTo>
                      <a:pt x="111" y="434"/>
                      <a:pt x="110" y="434"/>
                      <a:pt x="109" y="435"/>
                    </a:cubicBezTo>
                    <a:cubicBezTo>
                      <a:pt x="109" y="436"/>
                      <a:pt x="109" y="438"/>
                      <a:pt x="110" y="438"/>
                    </a:cubicBezTo>
                    <a:cubicBezTo>
                      <a:pt x="110" y="438"/>
                      <a:pt x="110" y="438"/>
                      <a:pt x="110" y="438"/>
                    </a:cubicBezTo>
                    <a:cubicBezTo>
                      <a:pt x="111" y="439"/>
                      <a:pt x="113" y="439"/>
                      <a:pt x="113" y="438"/>
                    </a:cubicBezTo>
                    <a:cubicBezTo>
                      <a:pt x="114" y="437"/>
                      <a:pt x="113" y="436"/>
                      <a:pt x="113" y="435"/>
                    </a:cubicBezTo>
                    <a:close/>
                    <a:moveTo>
                      <a:pt x="123" y="441"/>
                    </a:moveTo>
                    <a:cubicBezTo>
                      <a:pt x="123" y="441"/>
                      <a:pt x="123" y="441"/>
                      <a:pt x="123" y="441"/>
                    </a:cubicBezTo>
                    <a:cubicBezTo>
                      <a:pt x="122" y="441"/>
                      <a:pt x="121" y="441"/>
                      <a:pt x="120" y="442"/>
                    </a:cubicBezTo>
                    <a:cubicBezTo>
                      <a:pt x="120" y="443"/>
                      <a:pt x="120" y="444"/>
                      <a:pt x="121" y="445"/>
                    </a:cubicBezTo>
                    <a:cubicBezTo>
                      <a:pt x="121" y="445"/>
                      <a:pt x="121" y="445"/>
                      <a:pt x="121" y="445"/>
                    </a:cubicBezTo>
                    <a:cubicBezTo>
                      <a:pt x="122" y="445"/>
                      <a:pt x="123" y="445"/>
                      <a:pt x="124" y="444"/>
                    </a:cubicBezTo>
                    <a:cubicBezTo>
                      <a:pt x="124" y="443"/>
                      <a:pt x="124" y="442"/>
                      <a:pt x="123" y="441"/>
                    </a:cubicBezTo>
                    <a:close/>
                    <a:moveTo>
                      <a:pt x="134" y="447"/>
                    </a:moveTo>
                    <a:cubicBezTo>
                      <a:pt x="134" y="447"/>
                      <a:pt x="134" y="447"/>
                      <a:pt x="134" y="447"/>
                    </a:cubicBezTo>
                    <a:cubicBezTo>
                      <a:pt x="133" y="446"/>
                      <a:pt x="131" y="447"/>
                      <a:pt x="131" y="448"/>
                    </a:cubicBezTo>
                    <a:cubicBezTo>
                      <a:pt x="130" y="449"/>
                      <a:pt x="131" y="450"/>
                      <a:pt x="132" y="450"/>
                    </a:cubicBezTo>
                    <a:cubicBezTo>
                      <a:pt x="132" y="451"/>
                      <a:pt x="132" y="451"/>
                      <a:pt x="132" y="451"/>
                    </a:cubicBezTo>
                    <a:cubicBezTo>
                      <a:pt x="133" y="451"/>
                      <a:pt x="134" y="451"/>
                      <a:pt x="135" y="450"/>
                    </a:cubicBezTo>
                    <a:cubicBezTo>
                      <a:pt x="135" y="449"/>
                      <a:pt x="135" y="448"/>
                      <a:pt x="134" y="447"/>
                    </a:cubicBezTo>
                    <a:close/>
                    <a:moveTo>
                      <a:pt x="145" y="452"/>
                    </a:moveTo>
                    <a:cubicBezTo>
                      <a:pt x="145" y="452"/>
                      <a:pt x="145" y="452"/>
                      <a:pt x="145" y="452"/>
                    </a:cubicBezTo>
                    <a:cubicBezTo>
                      <a:pt x="144" y="452"/>
                      <a:pt x="143" y="452"/>
                      <a:pt x="142" y="453"/>
                    </a:cubicBezTo>
                    <a:cubicBezTo>
                      <a:pt x="142" y="454"/>
                      <a:pt x="142" y="455"/>
                      <a:pt x="143" y="456"/>
                    </a:cubicBezTo>
                    <a:cubicBezTo>
                      <a:pt x="144" y="456"/>
                      <a:pt x="144" y="456"/>
                      <a:pt x="144" y="456"/>
                    </a:cubicBezTo>
                    <a:cubicBezTo>
                      <a:pt x="145" y="456"/>
                      <a:pt x="146" y="456"/>
                      <a:pt x="146" y="455"/>
                    </a:cubicBezTo>
                    <a:cubicBezTo>
                      <a:pt x="147" y="454"/>
                      <a:pt x="146" y="453"/>
                      <a:pt x="145" y="452"/>
                    </a:cubicBezTo>
                    <a:close/>
                    <a:moveTo>
                      <a:pt x="157" y="457"/>
                    </a:moveTo>
                    <a:cubicBezTo>
                      <a:pt x="156" y="457"/>
                      <a:pt x="156" y="457"/>
                      <a:pt x="156" y="457"/>
                    </a:cubicBezTo>
                    <a:cubicBezTo>
                      <a:pt x="155" y="456"/>
                      <a:pt x="154" y="457"/>
                      <a:pt x="154" y="458"/>
                    </a:cubicBezTo>
                    <a:cubicBezTo>
                      <a:pt x="153" y="459"/>
                      <a:pt x="154" y="460"/>
                      <a:pt x="155" y="460"/>
                    </a:cubicBezTo>
                    <a:cubicBezTo>
                      <a:pt x="155" y="461"/>
                      <a:pt x="155" y="461"/>
                      <a:pt x="155" y="461"/>
                    </a:cubicBezTo>
                    <a:cubicBezTo>
                      <a:pt x="156" y="461"/>
                      <a:pt x="157" y="460"/>
                      <a:pt x="158" y="459"/>
                    </a:cubicBezTo>
                    <a:cubicBezTo>
                      <a:pt x="158" y="458"/>
                      <a:pt x="158" y="457"/>
                      <a:pt x="157" y="457"/>
                    </a:cubicBezTo>
                    <a:close/>
                    <a:moveTo>
                      <a:pt x="168" y="461"/>
                    </a:moveTo>
                    <a:cubicBezTo>
                      <a:pt x="168" y="461"/>
                      <a:pt x="168" y="461"/>
                      <a:pt x="168" y="461"/>
                    </a:cubicBezTo>
                    <a:cubicBezTo>
                      <a:pt x="167" y="460"/>
                      <a:pt x="166" y="461"/>
                      <a:pt x="165" y="462"/>
                    </a:cubicBezTo>
                    <a:cubicBezTo>
                      <a:pt x="165" y="463"/>
                      <a:pt x="166" y="464"/>
                      <a:pt x="167" y="464"/>
                    </a:cubicBezTo>
                    <a:cubicBezTo>
                      <a:pt x="167" y="465"/>
                      <a:pt x="167" y="465"/>
                      <a:pt x="167" y="465"/>
                    </a:cubicBezTo>
                    <a:cubicBezTo>
                      <a:pt x="168" y="465"/>
                      <a:pt x="169" y="464"/>
                      <a:pt x="170" y="463"/>
                    </a:cubicBezTo>
                    <a:cubicBezTo>
                      <a:pt x="170" y="462"/>
                      <a:pt x="169" y="461"/>
                      <a:pt x="168" y="461"/>
                    </a:cubicBezTo>
                    <a:close/>
                    <a:moveTo>
                      <a:pt x="180" y="464"/>
                    </a:moveTo>
                    <a:cubicBezTo>
                      <a:pt x="180" y="464"/>
                      <a:pt x="180" y="464"/>
                      <a:pt x="180" y="464"/>
                    </a:cubicBezTo>
                    <a:cubicBezTo>
                      <a:pt x="179" y="464"/>
                      <a:pt x="178" y="464"/>
                      <a:pt x="177" y="465"/>
                    </a:cubicBezTo>
                    <a:cubicBezTo>
                      <a:pt x="177" y="467"/>
                      <a:pt x="178" y="468"/>
                      <a:pt x="179" y="468"/>
                    </a:cubicBezTo>
                    <a:cubicBezTo>
                      <a:pt x="179" y="468"/>
                      <a:pt x="179" y="468"/>
                      <a:pt x="179" y="468"/>
                    </a:cubicBezTo>
                    <a:cubicBezTo>
                      <a:pt x="180" y="468"/>
                      <a:pt x="181" y="468"/>
                      <a:pt x="182" y="467"/>
                    </a:cubicBezTo>
                    <a:cubicBezTo>
                      <a:pt x="182" y="465"/>
                      <a:pt x="181" y="464"/>
                      <a:pt x="180" y="464"/>
                    </a:cubicBezTo>
                    <a:close/>
                    <a:moveTo>
                      <a:pt x="192" y="467"/>
                    </a:moveTo>
                    <a:cubicBezTo>
                      <a:pt x="192" y="467"/>
                      <a:pt x="192" y="467"/>
                      <a:pt x="192" y="467"/>
                    </a:cubicBezTo>
                    <a:cubicBezTo>
                      <a:pt x="191" y="466"/>
                      <a:pt x="190" y="467"/>
                      <a:pt x="190" y="468"/>
                    </a:cubicBezTo>
                    <a:cubicBezTo>
                      <a:pt x="189" y="469"/>
                      <a:pt x="190" y="470"/>
                      <a:pt x="191" y="471"/>
                    </a:cubicBezTo>
                    <a:cubicBezTo>
                      <a:pt x="191" y="471"/>
                      <a:pt x="191" y="471"/>
                      <a:pt x="191" y="471"/>
                    </a:cubicBezTo>
                    <a:cubicBezTo>
                      <a:pt x="193" y="471"/>
                      <a:pt x="194" y="470"/>
                      <a:pt x="194" y="469"/>
                    </a:cubicBezTo>
                    <a:cubicBezTo>
                      <a:pt x="194" y="468"/>
                      <a:pt x="193" y="467"/>
                      <a:pt x="192" y="467"/>
                    </a:cubicBezTo>
                    <a:close/>
                    <a:moveTo>
                      <a:pt x="204" y="469"/>
                    </a:moveTo>
                    <a:cubicBezTo>
                      <a:pt x="204" y="469"/>
                      <a:pt x="204" y="469"/>
                      <a:pt x="204" y="469"/>
                    </a:cubicBezTo>
                    <a:cubicBezTo>
                      <a:pt x="203" y="469"/>
                      <a:pt x="202" y="469"/>
                      <a:pt x="202" y="470"/>
                    </a:cubicBezTo>
                    <a:cubicBezTo>
                      <a:pt x="202" y="472"/>
                      <a:pt x="202" y="473"/>
                      <a:pt x="203" y="473"/>
                    </a:cubicBezTo>
                    <a:cubicBezTo>
                      <a:pt x="204" y="473"/>
                      <a:pt x="204" y="473"/>
                      <a:pt x="204" y="473"/>
                    </a:cubicBezTo>
                    <a:cubicBezTo>
                      <a:pt x="205" y="473"/>
                      <a:pt x="206" y="472"/>
                      <a:pt x="206" y="471"/>
                    </a:cubicBezTo>
                    <a:cubicBezTo>
                      <a:pt x="206" y="470"/>
                      <a:pt x="205" y="469"/>
                      <a:pt x="204" y="469"/>
                    </a:cubicBezTo>
                    <a:close/>
                    <a:moveTo>
                      <a:pt x="217" y="470"/>
                    </a:moveTo>
                    <a:cubicBezTo>
                      <a:pt x="216" y="470"/>
                      <a:pt x="216" y="470"/>
                      <a:pt x="216" y="470"/>
                    </a:cubicBezTo>
                    <a:cubicBezTo>
                      <a:pt x="215" y="470"/>
                      <a:pt x="214" y="471"/>
                      <a:pt x="214" y="472"/>
                    </a:cubicBezTo>
                    <a:cubicBezTo>
                      <a:pt x="214" y="473"/>
                      <a:pt x="215" y="474"/>
                      <a:pt x="216" y="474"/>
                    </a:cubicBezTo>
                    <a:cubicBezTo>
                      <a:pt x="216" y="474"/>
                      <a:pt x="216" y="474"/>
                      <a:pt x="216" y="474"/>
                    </a:cubicBezTo>
                    <a:cubicBezTo>
                      <a:pt x="217" y="474"/>
                      <a:pt x="218" y="474"/>
                      <a:pt x="218" y="472"/>
                    </a:cubicBezTo>
                    <a:cubicBezTo>
                      <a:pt x="219" y="471"/>
                      <a:pt x="218" y="470"/>
                      <a:pt x="217" y="470"/>
                    </a:cubicBezTo>
                    <a:close/>
                    <a:moveTo>
                      <a:pt x="229" y="471"/>
                    </a:moveTo>
                    <a:cubicBezTo>
                      <a:pt x="229" y="471"/>
                      <a:pt x="229" y="471"/>
                      <a:pt x="229" y="471"/>
                    </a:cubicBezTo>
                    <a:cubicBezTo>
                      <a:pt x="227" y="471"/>
                      <a:pt x="226" y="472"/>
                      <a:pt x="226" y="473"/>
                    </a:cubicBezTo>
                    <a:cubicBezTo>
                      <a:pt x="226" y="474"/>
                      <a:pt x="227" y="475"/>
                      <a:pt x="228" y="475"/>
                    </a:cubicBezTo>
                    <a:cubicBezTo>
                      <a:pt x="229" y="475"/>
                      <a:pt x="229" y="475"/>
                      <a:pt x="229" y="475"/>
                    </a:cubicBezTo>
                    <a:cubicBezTo>
                      <a:pt x="230" y="475"/>
                      <a:pt x="231" y="474"/>
                      <a:pt x="231" y="473"/>
                    </a:cubicBezTo>
                    <a:cubicBezTo>
                      <a:pt x="231" y="472"/>
                      <a:pt x="230" y="471"/>
                      <a:pt x="229" y="471"/>
                    </a:cubicBezTo>
                    <a:close/>
                    <a:moveTo>
                      <a:pt x="241" y="471"/>
                    </a:moveTo>
                    <a:cubicBezTo>
                      <a:pt x="241" y="471"/>
                      <a:pt x="241" y="471"/>
                      <a:pt x="241" y="471"/>
                    </a:cubicBezTo>
                    <a:cubicBezTo>
                      <a:pt x="240" y="471"/>
                      <a:pt x="239" y="472"/>
                      <a:pt x="239" y="473"/>
                    </a:cubicBezTo>
                    <a:cubicBezTo>
                      <a:pt x="239" y="474"/>
                      <a:pt x="240" y="475"/>
                      <a:pt x="241" y="475"/>
                    </a:cubicBezTo>
                    <a:cubicBezTo>
                      <a:pt x="241" y="475"/>
                      <a:pt x="241" y="475"/>
                      <a:pt x="241" y="475"/>
                    </a:cubicBezTo>
                    <a:cubicBezTo>
                      <a:pt x="242" y="475"/>
                      <a:pt x="243" y="474"/>
                      <a:pt x="243" y="473"/>
                    </a:cubicBezTo>
                    <a:cubicBezTo>
                      <a:pt x="243" y="472"/>
                      <a:pt x="242" y="471"/>
                      <a:pt x="241" y="471"/>
                    </a:cubicBezTo>
                    <a:close/>
                    <a:moveTo>
                      <a:pt x="253" y="470"/>
                    </a:moveTo>
                    <a:cubicBezTo>
                      <a:pt x="253" y="470"/>
                      <a:pt x="253" y="470"/>
                      <a:pt x="253" y="470"/>
                    </a:cubicBezTo>
                    <a:cubicBezTo>
                      <a:pt x="252" y="470"/>
                      <a:pt x="251" y="471"/>
                      <a:pt x="251" y="472"/>
                    </a:cubicBezTo>
                    <a:cubicBezTo>
                      <a:pt x="251" y="473"/>
                      <a:pt x="252" y="474"/>
                      <a:pt x="253" y="474"/>
                    </a:cubicBezTo>
                    <a:cubicBezTo>
                      <a:pt x="254" y="474"/>
                      <a:pt x="254" y="474"/>
                      <a:pt x="254" y="474"/>
                    </a:cubicBezTo>
                    <a:cubicBezTo>
                      <a:pt x="255" y="474"/>
                      <a:pt x="256" y="473"/>
                      <a:pt x="256" y="472"/>
                    </a:cubicBezTo>
                    <a:cubicBezTo>
                      <a:pt x="256" y="471"/>
                      <a:pt x="255" y="470"/>
                      <a:pt x="253" y="470"/>
                    </a:cubicBezTo>
                    <a:close/>
                    <a:moveTo>
                      <a:pt x="266" y="469"/>
                    </a:moveTo>
                    <a:cubicBezTo>
                      <a:pt x="265" y="469"/>
                      <a:pt x="265" y="469"/>
                      <a:pt x="265" y="469"/>
                    </a:cubicBezTo>
                    <a:cubicBezTo>
                      <a:pt x="264" y="469"/>
                      <a:pt x="263" y="470"/>
                      <a:pt x="264" y="471"/>
                    </a:cubicBezTo>
                    <a:cubicBezTo>
                      <a:pt x="264" y="472"/>
                      <a:pt x="265" y="473"/>
                      <a:pt x="266" y="473"/>
                    </a:cubicBezTo>
                    <a:cubicBezTo>
                      <a:pt x="266" y="473"/>
                      <a:pt x="266" y="473"/>
                      <a:pt x="266" y="473"/>
                    </a:cubicBezTo>
                    <a:cubicBezTo>
                      <a:pt x="267" y="473"/>
                      <a:pt x="268" y="472"/>
                      <a:pt x="268" y="470"/>
                    </a:cubicBezTo>
                    <a:cubicBezTo>
                      <a:pt x="268" y="469"/>
                      <a:pt x="267" y="469"/>
                      <a:pt x="266" y="469"/>
                    </a:cubicBezTo>
                    <a:close/>
                    <a:moveTo>
                      <a:pt x="278" y="467"/>
                    </a:moveTo>
                    <a:cubicBezTo>
                      <a:pt x="278" y="467"/>
                      <a:pt x="278" y="467"/>
                      <a:pt x="278" y="467"/>
                    </a:cubicBezTo>
                    <a:cubicBezTo>
                      <a:pt x="276" y="467"/>
                      <a:pt x="276" y="468"/>
                      <a:pt x="276" y="469"/>
                    </a:cubicBezTo>
                    <a:cubicBezTo>
                      <a:pt x="276" y="470"/>
                      <a:pt x="277" y="471"/>
                      <a:pt x="278" y="471"/>
                    </a:cubicBezTo>
                    <a:cubicBezTo>
                      <a:pt x="279" y="471"/>
                      <a:pt x="279" y="471"/>
                      <a:pt x="279" y="471"/>
                    </a:cubicBezTo>
                    <a:cubicBezTo>
                      <a:pt x="280" y="471"/>
                      <a:pt x="280" y="470"/>
                      <a:pt x="280" y="468"/>
                    </a:cubicBezTo>
                    <a:cubicBezTo>
                      <a:pt x="280" y="467"/>
                      <a:pt x="279" y="467"/>
                      <a:pt x="278" y="467"/>
                    </a:cubicBezTo>
                    <a:close/>
                    <a:moveTo>
                      <a:pt x="290" y="464"/>
                    </a:moveTo>
                    <a:cubicBezTo>
                      <a:pt x="290" y="465"/>
                      <a:pt x="290" y="465"/>
                      <a:pt x="290" y="465"/>
                    </a:cubicBezTo>
                    <a:cubicBezTo>
                      <a:pt x="289" y="465"/>
                      <a:pt x="288" y="466"/>
                      <a:pt x="288" y="467"/>
                    </a:cubicBezTo>
                    <a:cubicBezTo>
                      <a:pt x="288" y="468"/>
                      <a:pt x="289" y="469"/>
                      <a:pt x="290" y="468"/>
                    </a:cubicBezTo>
                    <a:cubicBezTo>
                      <a:pt x="291" y="468"/>
                      <a:pt x="291" y="468"/>
                      <a:pt x="291" y="468"/>
                    </a:cubicBezTo>
                    <a:cubicBezTo>
                      <a:pt x="292" y="468"/>
                      <a:pt x="293" y="467"/>
                      <a:pt x="292" y="466"/>
                    </a:cubicBezTo>
                    <a:cubicBezTo>
                      <a:pt x="292" y="465"/>
                      <a:pt x="291" y="464"/>
                      <a:pt x="290" y="464"/>
                    </a:cubicBezTo>
                    <a:close/>
                    <a:moveTo>
                      <a:pt x="302" y="461"/>
                    </a:moveTo>
                    <a:cubicBezTo>
                      <a:pt x="302" y="462"/>
                      <a:pt x="302" y="462"/>
                      <a:pt x="302" y="462"/>
                    </a:cubicBezTo>
                    <a:cubicBezTo>
                      <a:pt x="301" y="462"/>
                      <a:pt x="300" y="463"/>
                      <a:pt x="300" y="464"/>
                    </a:cubicBezTo>
                    <a:cubicBezTo>
                      <a:pt x="300" y="465"/>
                      <a:pt x="302" y="466"/>
                      <a:pt x="303" y="465"/>
                    </a:cubicBezTo>
                    <a:cubicBezTo>
                      <a:pt x="303" y="465"/>
                      <a:pt x="303" y="465"/>
                      <a:pt x="303" y="465"/>
                    </a:cubicBezTo>
                    <a:cubicBezTo>
                      <a:pt x="304" y="465"/>
                      <a:pt x="305" y="464"/>
                      <a:pt x="304" y="463"/>
                    </a:cubicBezTo>
                    <a:cubicBezTo>
                      <a:pt x="304" y="462"/>
                      <a:pt x="303" y="461"/>
                      <a:pt x="302" y="461"/>
                    </a:cubicBezTo>
                    <a:close/>
                    <a:moveTo>
                      <a:pt x="314" y="458"/>
                    </a:moveTo>
                    <a:cubicBezTo>
                      <a:pt x="313" y="458"/>
                      <a:pt x="313" y="458"/>
                      <a:pt x="313" y="458"/>
                    </a:cubicBezTo>
                    <a:cubicBezTo>
                      <a:pt x="312" y="458"/>
                      <a:pt x="312" y="460"/>
                      <a:pt x="312" y="461"/>
                    </a:cubicBezTo>
                    <a:cubicBezTo>
                      <a:pt x="312" y="462"/>
                      <a:pt x="314" y="462"/>
                      <a:pt x="315" y="462"/>
                    </a:cubicBezTo>
                    <a:cubicBezTo>
                      <a:pt x="315" y="462"/>
                      <a:pt x="315" y="462"/>
                      <a:pt x="315" y="462"/>
                    </a:cubicBezTo>
                    <a:cubicBezTo>
                      <a:pt x="316" y="461"/>
                      <a:pt x="317" y="460"/>
                      <a:pt x="316" y="459"/>
                    </a:cubicBezTo>
                    <a:cubicBezTo>
                      <a:pt x="316" y="458"/>
                      <a:pt x="315" y="458"/>
                      <a:pt x="314" y="458"/>
                    </a:cubicBezTo>
                    <a:close/>
                    <a:moveTo>
                      <a:pt x="325" y="454"/>
                    </a:moveTo>
                    <a:cubicBezTo>
                      <a:pt x="325" y="454"/>
                      <a:pt x="325" y="454"/>
                      <a:pt x="325" y="454"/>
                    </a:cubicBezTo>
                    <a:cubicBezTo>
                      <a:pt x="324" y="454"/>
                      <a:pt x="323" y="456"/>
                      <a:pt x="324" y="457"/>
                    </a:cubicBezTo>
                    <a:cubicBezTo>
                      <a:pt x="324" y="458"/>
                      <a:pt x="325" y="458"/>
                      <a:pt x="326" y="458"/>
                    </a:cubicBezTo>
                    <a:cubicBezTo>
                      <a:pt x="327" y="458"/>
                      <a:pt x="327" y="458"/>
                      <a:pt x="327" y="458"/>
                    </a:cubicBezTo>
                    <a:cubicBezTo>
                      <a:pt x="328" y="457"/>
                      <a:pt x="328" y="456"/>
                      <a:pt x="328" y="455"/>
                    </a:cubicBezTo>
                    <a:cubicBezTo>
                      <a:pt x="328" y="454"/>
                      <a:pt x="326" y="453"/>
                      <a:pt x="325" y="454"/>
                    </a:cubicBezTo>
                    <a:close/>
                    <a:moveTo>
                      <a:pt x="337" y="449"/>
                    </a:moveTo>
                    <a:cubicBezTo>
                      <a:pt x="336" y="449"/>
                      <a:pt x="336" y="449"/>
                      <a:pt x="336" y="449"/>
                    </a:cubicBezTo>
                    <a:cubicBezTo>
                      <a:pt x="335" y="450"/>
                      <a:pt x="335" y="451"/>
                      <a:pt x="335" y="452"/>
                    </a:cubicBezTo>
                    <a:cubicBezTo>
                      <a:pt x="336" y="453"/>
                      <a:pt x="337" y="453"/>
                      <a:pt x="338" y="453"/>
                    </a:cubicBezTo>
                    <a:cubicBezTo>
                      <a:pt x="338" y="453"/>
                      <a:pt x="338" y="453"/>
                      <a:pt x="338" y="453"/>
                    </a:cubicBezTo>
                    <a:cubicBezTo>
                      <a:pt x="339" y="452"/>
                      <a:pt x="340" y="451"/>
                      <a:pt x="339" y="450"/>
                    </a:cubicBezTo>
                    <a:cubicBezTo>
                      <a:pt x="339" y="449"/>
                      <a:pt x="338" y="449"/>
                      <a:pt x="337" y="449"/>
                    </a:cubicBezTo>
                    <a:close/>
                    <a:moveTo>
                      <a:pt x="348" y="444"/>
                    </a:moveTo>
                    <a:cubicBezTo>
                      <a:pt x="348" y="444"/>
                      <a:pt x="348" y="444"/>
                      <a:pt x="348" y="444"/>
                    </a:cubicBezTo>
                    <a:cubicBezTo>
                      <a:pt x="347" y="444"/>
                      <a:pt x="346" y="446"/>
                      <a:pt x="347" y="447"/>
                    </a:cubicBezTo>
                    <a:cubicBezTo>
                      <a:pt x="347" y="448"/>
                      <a:pt x="348" y="448"/>
                      <a:pt x="349" y="448"/>
                    </a:cubicBezTo>
                    <a:cubicBezTo>
                      <a:pt x="350" y="447"/>
                      <a:pt x="350" y="447"/>
                      <a:pt x="350" y="447"/>
                    </a:cubicBezTo>
                    <a:cubicBezTo>
                      <a:pt x="351" y="447"/>
                      <a:pt x="351" y="446"/>
                      <a:pt x="351" y="445"/>
                    </a:cubicBezTo>
                    <a:cubicBezTo>
                      <a:pt x="350" y="444"/>
                      <a:pt x="349" y="443"/>
                      <a:pt x="348" y="444"/>
                    </a:cubicBezTo>
                    <a:close/>
                    <a:moveTo>
                      <a:pt x="359" y="438"/>
                    </a:moveTo>
                    <a:cubicBezTo>
                      <a:pt x="358" y="438"/>
                      <a:pt x="358" y="438"/>
                      <a:pt x="358" y="438"/>
                    </a:cubicBezTo>
                    <a:cubicBezTo>
                      <a:pt x="357" y="439"/>
                      <a:pt x="357" y="440"/>
                      <a:pt x="358" y="441"/>
                    </a:cubicBezTo>
                    <a:cubicBezTo>
                      <a:pt x="358" y="442"/>
                      <a:pt x="359" y="442"/>
                      <a:pt x="360" y="442"/>
                    </a:cubicBezTo>
                    <a:cubicBezTo>
                      <a:pt x="361" y="441"/>
                      <a:pt x="361" y="441"/>
                      <a:pt x="361" y="441"/>
                    </a:cubicBezTo>
                    <a:cubicBezTo>
                      <a:pt x="362" y="441"/>
                      <a:pt x="362" y="440"/>
                      <a:pt x="361" y="439"/>
                    </a:cubicBezTo>
                    <a:cubicBezTo>
                      <a:pt x="361" y="438"/>
                      <a:pt x="360" y="437"/>
                      <a:pt x="359" y="438"/>
                    </a:cubicBezTo>
                    <a:close/>
                    <a:moveTo>
                      <a:pt x="369" y="431"/>
                    </a:moveTo>
                    <a:cubicBezTo>
                      <a:pt x="369" y="432"/>
                      <a:pt x="369" y="432"/>
                      <a:pt x="369" y="432"/>
                    </a:cubicBezTo>
                    <a:cubicBezTo>
                      <a:pt x="368" y="432"/>
                      <a:pt x="368" y="434"/>
                      <a:pt x="368" y="434"/>
                    </a:cubicBezTo>
                    <a:cubicBezTo>
                      <a:pt x="369" y="435"/>
                      <a:pt x="370" y="436"/>
                      <a:pt x="371" y="435"/>
                    </a:cubicBezTo>
                    <a:cubicBezTo>
                      <a:pt x="371" y="435"/>
                      <a:pt x="371" y="435"/>
                      <a:pt x="371" y="435"/>
                    </a:cubicBezTo>
                    <a:cubicBezTo>
                      <a:pt x="372" y="434"/>
                      <a:pt x="373" y="433"/>
                      <a:pt x="372" y="432"/>
                    </a:cubicBezTo>
                    <a:cubicBezTo>
                      <a:pt x="371" y="431"/>
                      <a:pt x="370" y="431"/>
                      <a:pt x="369" y="431"/>
                    </a:cubicBezTo>
                    <a:close/>
                    <a:moveTo>
                      <a:pt x="379" y="424"/>
                    </a:moveTo>
                    <a:cubicBezTo>
                      <a:pt x="379" y="425"/>
                      <a:pt x="379" y="425"/>
                      <a:pt x="379" y="425"/>
                    </a:cubicBezTo>
                    <a:cubicBezTo>
                      <a:pt x="378" y="425"/>
                      <a:pt x="378" y="427"/>
                      <a:pt x="378" y="427"/>
                    </a:cubicBezTo>
                    <a:cubicBezTo>
                      <a:pt x="379" y="428"/>
                      <a:pt x="380" y="428"/>
                      <a:pt x="381" y="428"/>
                    </a:cubicBezTo>
                    <a:cubicBezTo>
                      <a:pt x="382" y="428"/>
                      <a:pt x="382" y="428"/>
                      <a:pt x="382" y="428"/>
                    </a:cubicBezTo>
                    <a:cubicBezTo>
                      <a:pt x="382" y="427"/>
                      <a:pt x="383" y="426"/>
                      <a:pt x="382" y="425"/>
                    </a:cubicBezTo>
                    <a:cubicBezTo>
                      <a:pt x="381" y="424"/>
                      <a:pt x="380" y="424"/>
                      <a:pt x="379" y="424"/>
                    </a:cubicBezTo>
                    <a:close/>
                    <a:moveTo>
                      <a:pt x="389" y="417"/>
                    </a:moveTo>
                    <a:cubicBezTo>
                      <a:pt x="389" y="417"/>
                      <a:pt x="389" y="417"/>
                      <a:pt x="389" y="417"/>
                    </a:cubicBezTo>
                    <a:cubicBezTo>
                      <a:pt x="388" y="418"/>
                      <a:pt x="388" y="419"/>
                      <a:pt x="388" y="420"/>
                    </a:cubicBezTo>
                    <a:cubicBezTo>
                      <a:pt x="389" y="421"/>
                      <a:pt x="390" y="421"/>
                      <a:pt x="391" y="420"/>
                    </a:cubicBezTo>
                    <a:cubicBezTo>
                      <a:pt x="391" y="420"/>
                      <a:pt x="391" y="420"/>
                      <a:pt x="391" y="420"/>
                    </a:cubicBezTo>
                    <a:cubicBezTo>
                      <a:pt x="392" y="419"/>
                      <a:pt x="392" y="418"/>
                      <a:pt x="392" y="417"/>
                    </a:cubicBezTo>
                    <a:cubicBezTo>
                      <a:pt x="391" y="416"/>
                      <a:pt x="390" y="416"/>
                      <a:pt x="389" y="417"/>
                    </a:cubicBezTo>
                    <a:close/>
                    <a:moveTo>
                      <a:pt x="398" y="409"/>
                    </a:moveTo>
                    <a:cubicBezTo>
                      <a:pt x="398" y="409"/>
                      <a:pt x="398" y="409"/>
                      <a:pt x="398" y="409"/>
                    </a:cubicBezTo>
                    <a:cubicBezTo>
                      <a:pt x="397" y="410"/>
                      <a:pt x="397" y="411"/>
                      <a:pt x="398" y="412"/>
                    </a:cubicBezTo>
                    <a:cubicBezTo>
                      <a:pt x="398" y="413"/>
                      <a:pt x="400" y="413"/>
                      <a:pt x="401" y="412"/>
                    </a:cubicBezTo>
                    <a:cubicBezTo>
                      <a:pt x="401" y="412"/>
                      <a:pt x="401" y="412"/>
                      <a:pt x="401" y="412"/>
                    </a:cubicBezTo>
                    <a:cubicBezTo>
                      <a:pt x="402" y="411"/>
                      <a:pt x="402" y="410"/>
                      <a:pt x="401" y="409"/>
                    </a:cubicBezTo>
                    <a:cubicBezTo>
                      <a:pt x="400" y="408"/>
                      <a:pt x="399" y="408"/>
                      <a:pt x="398" y="409"/>
                    </a:cubicBezTo>
                    <a:close/>
                    <a:moveTo>
                      <a:pt x="407" y="400"/>
                    </a:moveTo>
                    <a:cubicBezTo>
                      <a:pt x="407" y="400"/>
                      <a:pt x="407" y="400"/>
                      <a:pt x="407" y="400"/>
                    </a:cubicBezTo>
                    <a:cubicBezTo>
                      <a:pt x="406" y="401"/>
                      <a:pt x="406" y="402"/>
                      <a:pt x="407" y="403"/>
                    </a:cubicBezTo>
                    <a:cubicBezTo>
                      <a:pt x="407" y="404"/>
                      <a:pt x="409" y="404"/>
                      <a:pt x="409" y="403"/>
                    </a:cubicBezTo>
                    <a:cubicBezTo>
                      <a:pt x="410" y="403"/>
                      <a:pt x="410" y="403"/>
                      <a:pt x="410" y="403"/>
                    </a:cubicBezTo>
                    <a:cubicBezTo>
                      <a:pt x="411" y="402"/>
                      <a:pt x="410" y="401"/>
                      <a:pt x="410" y="400"/>
                    </a:cubicBezTo>
                    <a:cubicBezTo>
                      <a:pt x="409" y="399"/>
                      <a:pt x="408" y="399"/>
                      <a:pt x="407" y="400"/>
                    </a:cubicBezTo>
                    <a:close/>
                    <a:moveTo>
                      <a:pt x="415" y="391"/>
                    </a:moveTo>
                    <a:cubicBezTo>
                      <a:pt x="415" y="391"/>
                      <a:pt x="415" y="391"/>
                      <a:pt x="415" y="391"/>
                    </a:cubicBezTo>
                    <a:cubicBezTo>
                      <a:pt x="414" y="392"/>
                      <a:pt x="414" y="393"/>
                      <a:pt x="415" y="394"/>
                    </a:cubicBezTo>
                    <a:cubicBezTo>
                      <a:pt x="416" y="395"/>
                      <a:pt x="417" y="395"/>
                      <a:pt x="418" y="394"/>
                    </a:cubicBezTo>
                    <a:cubicBezTo>
                      <a:pt x="418" y="393"/>
                      <a:pt x="418" y="393"/>
                      <a:pt x="418" y="393"/>
                    </a:cubicBezTo>
                    <a:cubicBezTo>
                      <a:pt x="419" y="393"/>
                      <a:pt x="419" y="391"/>
                      <a:pt x="418" y="391"/>
                    </a:cubicBezTo>
                    <a:cubicBezTo>
                      <a:pt x="417" y="390"/>
                      <a:pt x="416" y="390"/>
                      <a:pt x="415" y="391"/>
                    </a:cubicBezTo>
                    <a:close/>
                    <a:moveTo>
                      <a:pt x="423" y="381"/>
                    </a:moveTo>
                    <a:cubicBezTo>
                      <a:pt x="423" y="382"/>
                      <a:pt x="423" y="382"/>
                      <a:pt x="423" y="382"/>
                    </a:cubicBezTo>
                    <a:cubicBezTo>
                      <a:pt x="422" y="382"/>
                      <a:pt x="422" y="384"/>
                      <a:pt x="423" y="384"/>
                    </a:cubicBezTo>
                    <a:cubicBezTo>
                      <a:pt x="424" y="385"/>
                      <a:pt x="425" y="385"/>
                      <a:pt x="426" y="384"/>
                    </a:cubicBezTo>
                    <a:cubicBezTo>
                      <a:pt x="426" y="384"/>
                      <a:pt x="426" y="384"/>
                      <a:pt x="426" y="384"/>
                    </a:cubicBezTo>
                    <a:cubicBezTo>
                      <a:pt x="427" y="383"/>
                      <a:pt x="426" y="381"/>
                      <a:pt x="426" y="381"/>
                    </a:cubicBezTo>
                    <a:cubicBezTo>
                      <a:pt x="425" y="380"/>
                      <a:pt x="423" y="380"/>
                      <a:pt x="423" y="381"/>
                    </a:cubicBezTo>
                    <a:close/>
                    <a:moveTo>
                      <a:pt x="430" y="371"/>
                    </a:moveTo>
                    <a:cubicBezTo>
                      <a:pt x="430" y="372"/>
                      <a:pt x="430" y="372"/>
                      <a:pt x="430" y="372"/>
                    </a:cubicBezTo>
                    <a:cubicBezTo>
                      <a:pt x="429" y="372"/>
                      <a:pt x="429" y="374"/>
                      <a:pt x="430" y="374"/>
                    </a:cubicBezTo>
                    <a:cubicBezTo>
                      <a:pt x="431" y="375"/>
                      <a:pt x="432" y="375"/>
                      <a:pt x="433" y="374"/>
                    </a:cubicBezTo>
                    <a:cubicBezTo>
                      <a:pt x="433" y="373"/>
                      <a:pt x="433" y="373"/>
                      <a:pt x="433" y="373"/>
                    </a:cubicBezTo>
                    <a:cubicBezTo>
                      <a:pt x="434" y="373"/>
                      <a:pt x="434" y="371"/>
                      <a:pt x="433" y="371"/>
                    </a:cubicBezTo>
                    <a:cubicBezTo>
                      <a:pt x="432" y="370"/>
                      <a:pt x="431" y="370"/>
                      <a:pt x="430" y="371"/>
                    </a:cubicBezTo>
                    <a:close/>
                    <a:moveTo>
                      <a:pt x="436" y="361"/>
                    </a:moveTo>
                    <a:cubicBezTo>
                      <a:pt x="436" y="361"/>
                      <a:pt x="436" y="361"/>
                      <a:pt x="436" y="361"/>
                    </a:cubicBezTo>
                    <a:cubicBezTo>
                      <a:pt x="436" y="362"/>
                      <a:pt x="436" y="363"/>
                      <a:pt x="437" y="364"/>
                    </a:cubicBezTo>
                    <a:cubicBezTo>
                      <a:pt x="438" y="364"/>
                      <a:pt x="439" y="364"/>
                      <a:pt x="440" y="363"/>
                    </a:cubicBezTo>
                    <a:cubicBezTo>
                      <a:pt x="440" y="363"/>
                      <a:pt x="440" y="363"/>
                      <a:pt x="440" y="363"/>
                    </a:cubicBezTo>
                    <a:cubicBezTo>
                      <a:pt x="440" y="362"/>
                      <a:pt x="440" y="361"/>
                      <a:pt x="439" y="360"/>
                    </a:cubicBezTo>
                    <a:cubicBezTo>
                      <a:pt x="438" y="360"/>
                      <a:pt x="437" y="360"/>
                      <a:pt x="436" y="361"/>
                    </a:cubicBezTo>
                    <a:close/>
                    <a:moveTo>
                      <a:pt x="442" y="350"/>
                    </a:moveTo>
                    <a:cubicBezTo>
                      <a:pt x="442" y="350"/>
                      <a:pt x="442" y="350"/>
                      <a:pt x="442" y="350"/>
                    </a:cubicBezTo>
                    <a:cubicBezTo>
                      <a:pt x="442" y="351"/>
                      <a:pt x="442" y="353"/>
                      <a:pt x="443" y="353"/>
                    </a:cubicBezTo>
                    <a:cubicBezTo>
                      <a:pt x="444" y="354"/>
                      <a:pt x="445" y="353"/>
                      <a:pt x="446" y="352"/>
                    </a:cubicBezTo>
                    <a:cubicBezTo>
                      <a:pt x="446" y="352"/>
                      <a:pt x="446" y="352"/>
                      <a:pt x="446" y="352"/>
                    </a:cubicBezTo>
                    <a:cubicBezTo>
                      <a:pt x="447" y="351"/>
                      <a:pt x="446" y="350"/>
                      <a:pt x="445" y="349"/>
                    </a:cubicBezTo>
                    <a:cubicBezTo>
                      <a:pt x="444" y="349"/>
                      <a:pt x="443" y="349"/>
                      <a:pt x="442" y="350"/>
                    </a:cubicBezTo>
                    <a:close/>
                    <a:moveTo>
                      <a:pt x="448" y="339"/>
                    </a:moveTo>
                    <a:cubicBezTo>
                      <a:pt x="448" y="339"/>
                      <a:pt x="448" y="339"/>
                      <a:pt x="448" y="339"/>
                    </a:cubicBezTo>
                    <a:cubicBezTo>
                      <a:pt x="447" y="340"/>
                      <a:pt x="448" y="342"/>
                      <a:pt x="449" y="342"/>
                    </a:cubicBezTo>
                    <a:cubicBezTo>
                      <a:pt x="450" y="342"/>
                      <a:pt x="451" y="342"/>
                      <a:pt x="451" y="341"/>
                    </a:cubicBezTo>
                    <a:cubicBezTo>
                      <a:pt x="452" y="341"/>
                      <a:pt x="452" y="341"/>
                      <a:pt x="452" y="341"/>
                    </a:cubicBezTo>
                    <a:cubicBezTo>
                      <a:pt x="452" y="340"/>
                      <a:pt x="452" y="338"/>
                      <a:pt x="451" y="338"/>
                    </a:cubicBezTo>
                    <a:cubicBezTo>
                      <a:pt x="450" y="338"/>
                      <a:pt x="448" y="338"/>
                      <a:pt x="448" y="339"/>
                    </a:cubicBezTo>
                    <a:close/>
                    <a:moveTo>
                      <a:pt x="453" y="328"/>
                    </a:moveTo>
                    <a:cubicBezTo>
                      <a:pt x="453" y="328"/>
                      <a:pt x="453" y="328"/>
                      <a:pt x="453" y="328"/>
                    </a:cubicBezTo>
                    <a:cubicBezTo>
                      <a:pt x="452" y="329"/>
                      <a:pt x="453" y="330"/>
                      <a:pt x="454" y="331"/>
                    </a:cubicBezTo>
                    <a:cubicBezTo>
                      <a:pt x="455" y="331"/>
                      <a:pt x="456" y="331"/>
                      <a:pt x="456" y="330"/>
                    </a:cubicBezTo>
                    <a:cubicBezTo>
                      <a:pt x="456" y="329"/>
                      <a:pt x="456" y="329"/>
                      <a:pt x="456" y="329"/>
                    </a:cubicBezTo>
                    <a:cubicBezTo>
                      <a:pt x="457" y="328"/>
                      <a:pt x="456" y="327"/>
                      <a:pt x="455" y="327"/>
                    </a:cubicBezTo>
                    <a:cubicBezTo>
                      <a:pt x="454" y="326"/>
                      <a:pt x="453" y="327"/>
                      <a:pt x="453" y="328"/>
                    </a:cubicBezTo>
                    <a:close/>
                    <a:moveTo>
                      <a:pt x="457" y="316"/>
                    </a:moveTo>
                    <a:cubicBezTo>
                      <a:pt x="457" y="317"/>
                      <a:pt x="457" y="317"/>
                      <a:pt x="457" y="317"/>
                    </a:cubicBezTo>
                    <a:cubicBezTo>
                      <a:pt x="456" y="318"/>
                      <a:pt x="457" y="319"/>
                      <a:pt x="458" y="319"/>
                    </a:cubicBezTo>
                    <a:cubicBezTo>
                      <a:pt x="459" y="319"/>
                      <a:pt x="460" y="319"/>
                      <a:pt x="461" y="318"/>
                    </a:cubicBezTo>
                    <a:cubicBezTo>
                      <a:pt x="461" y="317"/>
                      <a:pt x="461" y="317"/>
                      <a:pt x="461" y="317"/>
                    </a:cubicBezTo>
                    <a:cubicBezTo>
                      <a:pt x="461" y="316"/>
                      <a:pt x="461" y="315"/>
                      <a:pt x="459" y="315"/>
                    </a:cubicBezTo>
                    <a:cubicBezTo>
                      <a:pt x="458" y="315"/>
                      <a:pt x="457" y="315"/>
                      <a:pt x="457" y="316"/>
                    </a:cubicBezTo>
                    <a:close/>
                    <a:moveTo>
                      <a:pt x="461" y="304"/>
                    </a:moveTo>
                    <a:cubicBezTo>
                      <a:pt x="460" y="305"/>
                      <a:pt x="460" y="305"/>
                      <a:pt x="460" y="305"/>
                    </a:cubicBezTo>
                    <a:cubicBezTo>
                      <a:pt x="460" y="306"/>
                      <a:pt x="461" y="307"/>
                      <a:pt x="462" y="307"/>
                    </a:cubicBezTo>
                    <a:cubicBezTo>
                      <a:pt x="463" y="308"/>
                      <a:pt x="464" y="307"/>
                      <a:pt x="464" y="306"/>
                    </a:cubicBezTo>
                    <a:cubicBezTo>
                      <a:pt x="464" y="305"/>
                      <a:pt x="464" y="305"/>
                      <a:pt x="464" y="305"/>
                    </a:cubicBezTo>
                    <a:cubicBezTo>
                      <a:pt x="465" y="304"/>
                      <a:pt x="464" y="303"/>
                      <a:pt x="463" y="303"/>
                    </a:cubicBezTo>
                    <a:cubicBezTo>
                      <a:pt x="462" y="303"/>
                      <a:pt x="461" y="303"/>
                      <a:pt x="461" y="304"/>
                    </a:cubicBezTo>
                    <a:close/>
                    <a:moveTo>
                      <a:pt x="464" y="292"/>
                    </a:moveTo>
                    <a:cubicBezTo>
                      <a:pt x="463" y="293"/>
                      <a:pt x="463" y="293"/>
                      <a:pt x="463" y="293"/>
                    </a:cubicBezTo>
                    <a:cubicBezTo>
                      <a:pt x="463" y="294"/>
                      <a:pt x="464" y="295"/>
                      <a:pt x="465" y="295"/>
                    </a:cubicBezTo>
                    <a:cubicBezTo>
                      <a:pt x="466" y="295"/>
                      <a:pt x="467" y="295"/>
                      <a:pt x="467" y="294"/>
                    </a:cubicBezTo>
                    <a:cubicBezTo>
                      <a:pt x="467" y="293"/>
                      <a:pt x="467" y="293"/>
                      <a:pt x="467" y="293"/>
                    </a:cubicBezTo>
                    <a:cubicBezTo>
                      <a:pt x="468" y="292"/>
                      <a:pt x="467" y="291"/>
                      <a:pt x="466" y="291"/>
                    </a:cubicBezTo>
                    <a:cubicBezTo>
                      <a:pt x="465" y="291"/>
                      <a:pt x="464" y="291"/>
                      <a:pt x="464" y="292"/>
                    </a:cubicBezTo>
                    <a:close/>
                    <a:moveTo>
                      <a:pt x="466" y="280"/>
                    </a:moveTo>
                    <a:cubicBezTo>
                      <a:pt x="466" y="281"/>
                      <a:pt x="466" y="281"/>
                      <a:pt x="466" y="281"/>
                    </a:cubicBezTo>
                    <a:cubicBezTo>
                      <a:pt x="466" y="282"/>
                      <a:pt x="466" y="283"/>
                      <a:pt x="468" y="283"/>
                    </a:cubicBezTo>
                    <a:cubicBezTo>
                      <a:pt x="469" y="283"/>
                      <a:pt x="470" y="282"/>
                      <a:pt x="470" y="281"/>
                    </a:cubicBezTo>
                    <a:cubicBezTo>
                      <a:pt x="470" y="281"/>
                      <a:pt x="470" y="281"/>
                      <a:pt x="470" y="281"/>
                    </a:cubicBezTo>
                    <a:cubicBezTo>
                      <a:pt x="470" y="280"/>
                      <a:pt x="469" y="279"/>
                      <a:pt x="468" y="279"/>
                    </a:cubicBezTo>
                    <a:cubicBezTo>
                      <a:pt x="467" y="279"/>
                      <a:pt x="466" y="279"/>
                      <a:pt x="466" y="280"/>
                    </a:cubicBezTo>
                    <a:close/>
                    <a:moveTo>
                      <a:pt x="468" y="268"/>
                    </a:moveTo>
                    <a:cubicBezTo>
                      <a:pt x="468" y="269"/>
                      <a:pt x="468" y="269"/>
                      <a:pt x="468" y="269"/>
                    </a:cubicBezTo>
                    <a:cubicBezTo>
                      <a:pt x="468" y="270"/>
                      <a:pt x="468" y="271"/>
                      <a:pt x="469" y="271"/>
                    </a:cubicBezTo>
                    <a:cubicBezTo>
                      <a:pt x="471" y="271"/>
                      <a:pt x="472" y="270"/>
                      <a:pt x="472" y="269"/>
                    </a:cubicBezTo>
                    <a:cubicBezTo>
                      <a:pt x="472" y="269"/>
                      <a:pt x="472" y="269"/>
                      <a:pt x="472" y="269"/>
                    </a:cubicBezTo>
                    <a:cubicBezTo>
                      <a:pt x="472" y="268"/>
                      <a:pt x="471" y="267"/>
                      <a:pt x="470" y="266"/>
                    </a:cubicBezTo>
                    <a:cubicBezTo>
                      <a:pt x="469" y="266"/>
                      <a:pt x="468" y="267"/>
                      <a:pt x="468" y="268"/>
                    </a:cubicBezTo>
                    <a:close/>
                    <a:moveTo>
                      <a:pt x="469" y="256"/>
                    </a:moveTo>
                    <a:cubicBezTo>
                      <a:pt x="469" y="256"/>
                      <a:pt x="469" y="256"/>
                      <a:pt x="469" y="256"/>
                    </a:cubicBezTo>
                    <a:cubicBezTo>
                      <a:pt x="469" y="257"/>
                      <a:pt x="470" y="258"/>
                      <a:pt x="471" y="258"/>
                    </a:cubicBezTo>
                    <a:cubicBezTo>
                      <a:pt x="472" y="258"/>
                      <a:pt x="473" y="258"/>
                      <a:pt x="473" y="257"/>
                    </a:cubicBezTo>
                    <a:cubicBezTo>
                      <a:pt x="473" y="256"/>
                      <a:pt x="473" y="256"/>
                      <a:pt x="473" y="256"/>
                    </a:cubicBezTo>
                    <a:cubicBezTo>
                      <a:pt x="473" y="255"/>
                      <a:pt x="472" y="254"/>
                      <a:pt x="471" y="254"/>
                    </a:cubicBezTo>
                    <a:cubicBezTo>
                      <a:pt x="470" y="254"/>
                      <a:pt x="469" y="255"/>
                      <a:pt x="469" y="256"/>
                    </a:cubicBezTo>
                    <a:close/>
                    <a:moveTo>
                      <a:pt x="470" y="244"/>
                    </a:moveTo>
                    <a:cubicBezTo>
                      <a:pt x="470" y="244"/>
                      <a:pt x="470" y="244"/>
                      <a:pt x="470" y="244"/>
                    </a:cubicBezTo>
                    <a:cubicBezTo>
                      <a:pt x="470" y="245"/>
                      <a:pt x="470" y="246"/>
                      <a:pt x="472" y="246"/>
                    </a:cubicBezTo>
                    <a:cubicBezTo>
                      <a:pt x="473" y="246"/>
                      <a:pt x="474" y="245"/>
                      <a:pt x="474" y="244"/>
                    </a:cubicBezTo>
                    <a:cubicBezTo>
                      <a:pt x="474" y="244"/>
                      <a:pt x="474" y="244"/>
                      <a:pt x="474" y="244"/>
                    </a:cubicBezTo>
                    <a:cubicBezTo>
                      <a:pt x="474" y="243"/>
                      <a:pt x="473" y="242"/>
                      <a:pt x="472" y="242"/>
                    </a:cubicBezTo>
                    <a:cubicBezTo>
                      <a:pt x="471" y="242"/>
                      <a:pt x="470" y="242"/>
                      <a:pt x="470" y="244"/>
                    </a:cubicBezTo>
                    <a:close/>
                    <a:moveTo>
                      <a:pt x="470" y="231"/>
                    </a:moveTo>
                    <a:cubicBezTo>
                      <a:pt x="470" y="232"/>
                      <a:pt x="470" y="232"/>
                      <a:pt x="470" y="232"/>
                    </a:cubicBezTo>
                    <a:cubicBezTo>
                      <a:pt x="470" y="233"/>
                      <a:pt x="471" y="234"/>
                      <a:pt x="472" y="234"/>
                    </a:cubicBezTo>
                    <a:cubicBezTo>
                      <a:pt x="473" y="234"/>
                      <a:pt x="474" y="233"/>
                      <a:pt x="474" y="232"/>
                    </a:cubicBezTo>
                    <a:cubicBezTo>
                      <a:pt x="474" y="231"/>
                      <a:pt x="474" y="231"/>
                      <a:pt x="474" y="231"/>
                    </a:cubicBezTo>
                    <a:cubicBezTo>
                      <a:pt x="474" y="230"/>
                      <a:pt x="473" y="229"/>
                      <a:pt x="471" y="229"/>
                    </a:cubicBezTo>
                    <a:cubicBezTo>
                      <a:pt x="470" y="229"/>
                      <a:pt x="470" y="230"/>
                      <a:pt x="470" y="231"/>
                    </a:cubicBezTo>
                    <a:close/>
                    <a:moveTo>
                      <a:pt x="469" y="219"/>
                    </a:moveTo>
                    <a:cubicBezTo>
                      <a:pt x="469" y="219"/>
                      <a:pt x="469" y="219"/>
                      <a:pt x="469" y="219"/>
                    </a:cubicBezTo>
                    <a:cubicBezTo>
                      <a:pt x="469" y="220"/>
                      <a:pt x="470" y="221"/>
                      <a:pt x="471" y="221"/>
                    </a:cubicBezTo>
                    <a:cubicBezTo>
                      <a:pt x="472" y="221"/>
                      <a:pt x="473" y="220"/>
                      <a:pt x="473" y="219"/>
                    </a:cubicBezTo>
                    <a:cubicBezTo>
                      <a:pt x="473" y="219"/>
                      <a:pt x="473" y="219"/>
                      <a:pt x="473" y="219"/>
                    </a:cubicBezTo>
                    <a:cubicBezTo>
                      <a:pt x="473" y="217"/>
                      <a:pt x="472" y="217"/>
                      <a:pt x="471" y="217"/>
                    </a:cubicBezTo>
                    <a:cubicBezTo>
                      <a:pt x="470" y="217"/>
                      <a:pt x="469" y="218"/>
                      <a:pt x="469" y="219"/>
                    </a:cubicBezTo>
                    <a:close/>
                    <a:moveTo>
                      <a:pt x="468" y="207"/>
                    </a:moveTo>
                    <a:cubicBezTo>
                      <a:pt x="468" y="207"/>
                      <a:pt x="468" y="207"/>
                      <a:pt x="468" y="207"/>
                    </a:cubicBezTo>
                    <a:cubicBezTo>
                      <a:pt x="468" y="208"/>
                      <a:pt x="469" y="209"/>
                      <a:pt x="470" y="209"/>
                    </a:cubicBezTo>
                    <a:cubicBezTo>
                      <a:pt x="471" y="209"/>
                      <a:pt x="472" y="208"/>
                      <a:pt x="472" y="207"/>
                    </a:cubicBezTo>
                    <a:cubicBezTo>
                      <a:pt x="472" y="206"/>
                      <a:pt x="472" y="206"/>
                      <a:pt x="472" y="206"/>
                    </a:cubicBezTo>
                    <a:cubicBezTo>
                      <a:pt x="472" y="205"/>
                      <a:pt x="471" y="204"/>
                      <a:pt x="469" y="204"/>
                    </a:cubicBezTo>
                    <a:cubicBezTo>
                      <a:pt x="468" y="205"/>
                      <a:pt x="468" y="206"/>
                      <a:pt x="468" y="207"/>
                    </a:cubicBezTo>
                    <a:close/>
                    <a:moveTo>
                      <a:pt x="466" y="194"/>
                    </a:moveTo>
                    <a:cubicBezTo>
                      <a:pt x="466" y="195"/>
                      <a:pt x="466" y="195"/>
                      <a:pt x="466" y="195"/>
                    </a:cubicBezTo>
                    <a:cubicBezTo>
                      <a:pt x="466" y="196"/>
                      <a:pt x="467" y="197"/>
                      <a:pt x="468" y="196"/>
                    </a:cubicBezTo>
                    <a:cubicBezTo>
                      <a:pt x="469" y="196"/>
                      <a:pt x="470" y="195"/>
                      <a:pt x="470" y="194"/>
                    </a:cubicBezTo>
                    <a:cubicBezTo>
                      <a:pt x="470" y="194"/>
                      <a:pt x="470" y="194"/>
                      <a:pt x="470" y="194"/>
                    </a:cubicBezTo>
                    <a:cubicBezTo>
                      <a:pt x="470" y="193"/>
                      <a:pt x="469" y="192"/>
                      <a:pt x="467" y="192"/>
                    </a:cubicBezTo>
                    <a:cubicBezTo>
                      <a:pt x="466" y="192"/>
                      <a:pt x="466" y="193"/>
                      <a:pt x="466" y="194"/>
                    </a:cubicBezTo>
                    <a:close/>
                    <a:moveTo>
                      <a:pt x="463" y="182"/>
                    </a:moveTo>
                    <a:cubicBezTo>
                      <a:pt x="463" y="183"/>
                      <a:pt x="463" y="183"/>
                      <a:pt x="463" y="183"/>
                    </a:cubicBezTo>
                    <a:cubicBezTo>
                      <a:pt x="464" y="184"/>
                      <a:pt x="465" y="185"/>
                      <a:pt x="466" y="184"/>
                    </a:cubicBezTo>
                    <a:cubicBezTo>
                      <a:pt x="467" y="184"/>
                      <a:pt x="468" y="183"/>
                      <a:pt x="467" y="182"/>
                    </a:cubicBezTo>
                    <a:cubicBezTo>
                      <a:pt x="467" y="181"/>
                      <a:pt x="467" y="181"/>
                      <a:pt x="467" y="181"/>
                    </a:cubicBezTo>
                    <a:cubicBezTo>
                      <a:pt x="467" y="180"/>
                      <a:pt x="466" y="180"/>
                      <a:pt x="465" y="180"/>
                    </a:cubicBezTo>
                    <a:cubicBezTo>
                      <a:pt x="464" y="180"/>
                      <a:pt x="463" y="181"/>
                      <a:pt x="463" y="182"/>
                    </a:cubicBezTo>
                    <a:close/>
                    <a:moveTo>
                      <a:pt x="460" y="170"/>
                    </a:moveTo>
                    <a:cubicBezTo>
                      <a:pt x="460" y="171"/>
                      <a:pt x="460" y="171"/>
                      <a:pt x="460" y="171"/>
                    </a:cubicBezTo>
                    <a:cubicBezTo>
                      <a:pt x="461" y="172"/>
                      <a:pt x="462" y="172"/>
                      <a:pt x="463" y="172"/>
                    </a:cubicBezTo>
                    <a:cubicBezTo>
                      <a:pt x="464" y="172"/>
                      <a:pt x="465" y="171"/>
                      <a:pt x="464" y="170"/>
                    </a:cubicBezTo>
                    <a:cubicBezTo>
                      <a:pt x="464" y="169"/>
                      <a:pt x="464" y="169"/>
                      <a:pt x="464" y="169"/>
                    </a:cubicBezTo>
                    <a:cubicBezTo>
                      <a:pt x="464" y="168"/>
                      <a:pt x="463" y="168"/>
                      <a:pt x="462" y="168"/>
                    </a:cubicBezTo>
                    <a:cubicBezTo>
                      <a:pt x="461" y="168"/>
                      <a:pt x="460" y="169"/>
                      <a:pt x="460" y="170"/>
                    </a:cubicBezTo>
                    <a:close/>
                    <a:moveTo>
                      <a:pt x="457" y="159"/>
                    </a:moveTo>
                    <a:cubicBezTo>
                      <a:pt x="457" y="159"/>
                      <a:pt x="457" y="159"/>
                      <a:pt x="457" y="159"/>
                    </a:cubicBezTo>
                    <a:cubicBezTo>
                      <a:pt x="457" y="160"/>
                      <a:pt x="458" y="161"/>
                      <a:pt x="459" y="160"/>
                    </a:cubicBezTo>
                    <a:cubicBezTo>
                      <a:pt x="460" y="160"/>
                      <a:pt x="461" y="159"/>
                      <a:pt x="461" y="158"/>
                    </a:cubicBezTo>
                    <a:cubicBezTo>
                      <a:pt x="460" y="157"/>
                      <a:pt x="460" y="157"/>
                      <a:pt x="460" y="157"/>
                    </a:cubicBezTo>
                    <a:cubicBezTo>
                      <a:pt x="460" y="156"/>
                      <a:pt x="459" y="156"/>
                      <a:pt x="458" y="156"/>
                    </a:cubicBezTo>
                    <a:cubicBezTo>
                      <a:pt x="457" y="156"/>
                      <a:pt x="456" y="158"/>
                      <a:pt x="457" y="159"/>
                    </a:cubicBezTo>
                    <a:close/>
                    <a:moveTo>
                      <a:pt x="452" y="147"/>
                    </a:moveTo>
                    <a:cubicBezTo>
                      <a:pt x="453" y="147"/>
                      <a:pt x="453" y="147"/>
                      <a:pt x="453" y="147"/>
                    </a:cubicBezTo>
                    <a:cubicBezTo>
                      <a:pt x="453" y="148"/>
                      <a:pt x="454" y="149"/>
                      <a:pt x="455" y="149"/>
                    </a:cubicBezTo>
                    <a:cubicBezTo>
                      <a:pt x="456" y="148"/>
                      <a:pt x="457" y="147"/>
                      <a:pt x="456" y="146"/>
                    </a:cubicBezTo>
                    <a:cubicBezTo>
                      <a:pt x="456" y="146"/>
                      <a:pt x="456" y="146"/>
                      <a:pt x="456" y="146"/>
                    </a:cubicBezTo>
                    <a:cubicBezTo>
                      <a:pt x="456" y="145"/>
                      <a:pt x="455" y="144"/>
                      <a:pt x="454" y="145"/>
                    </a:cubicBezTo>
                    <a:cubicBezTo>
                      <a:pt x="453" y="145"/>
                      <a:pt x="452" y="146"/>
                      <a:pt x="452" y="147"/>
                    </a:cubicBezTo>
                    <a:close/>
                    <a:moveTo>
                      <a:pt x="448" y="136"/>
                    </a:moveTo>
                    <a:cubicBezTo>
                      <a:pt x="448" y="136"/>
                      <a:pt x="448" y="136"/>
                      <a:pt x="448" y="136"/>
                    </a:cubicBezTo>
                    <a:cubicBezTo>
                      <a:pt x="448" y="137"/>
                      <a:pt x="449" y="138"/>
                      <a:pt x="450" y="137"/>
                    </a:cubicBezTo>
                    <a:cubicBezTo>
                      <a:pt x="451" y="137"/>
                      <a:pt x="452" y="135"/>
                      <a:pt x="451" y="134"/>
                    </a:cubicBezTo>
                    <a:cubicBezTo>
                      <a:pt x="451" y="134"/>
                      <a:pt x="451" y="134"/>
                      <a:pt x="451" y="134"/>
                    </a:cubicBezTo>
                    <a:cubicBezTo>
                      <a:pt x="451" y="133"/>
                      <a:pt x="450" y="133"/>
                      <a:pt x="449" y="133"/>
                    </a:cubicBezTo>
                    <a:cubicBezTo>
                      <a:pt x="448" y="134"/>
                      <a:pt x="447" y="135"/>
                      <a:pt x="448" y="136"/>
                    </a:cubicBezTo>
                    <a:close/>
                    <a:moveTo>
                      <a:pt x="442" y="125"/>
                    </a:moveTo>
                    <a:cubicBezTo>
                      <a:pt x="442" y="125"/>
                      <a:pt x="442" y="125"/>
                      <a:pt x="442" y="125"/>
                    </a:cubicBezTo>
                    <a:cubicBezTo>
                      <a:pt x="443" y="126"/>
                      <a:pt x="444" y="126"/>
                      <a:pt x="445" y="126"/>
                    </a:cubicBezTo>
                    <a:cubicBezTo>
                      <a:pt x="446" y="125"/>
                      <a:pt x="446" y="124"/>
                      <a:pt x="446" y="123"/>
                    </a:cubicBezTo>
                    <a:cubicBezTo>
                      <a:pt x="446" y="123"/>
                      <a:pt x="446" y="123"/>
                      <a:pt x="446" y="123"/>
                    </a:cubicBezTo>
                    <a:cubicBezTo>
                      <a:pt x="445" y="122"/>
                      <a:pt x="444" y="122"/>
                      <a:pt x="443" y="122"/>
                    </a:cubicBezTo>
                    <a:cubicBezTo>
                      <a:pt x="442" y="123"/>
                      <a:pt x="442" y="124"/>
                      <a:pt x="442" y="125"/>
                    </a:cubicBezTo>
                    <a:close/>
                    <a:moveTo>
                      <a:pt x="436" y="114"/>
                    </a:moveTo>
                    <a:cubicBezTo>
                      <a:pt x="436" y="114"/>
                      <a:pt x="436" y="114"/>
                      <a:pt x="436" y="114"/>
                    </a:cubicBezTo>
                    <a:cubicBezTo>
                      <a:pt x="437" y="115"/>
                      <a:pt x="438" y="116"/>
                      <a:pt x="439" y="115"/>
                    </a:cubicBezTo>
                    <a:cubicBezTo>
                      <a:pt x="440" y="114"/>
                      <a:pt x="440" y="113"/>
                      <a:pt x="440" y="112"/>
                    </a:cubicBezTo>
                    <a:cubicBezTo>
                      <a:pt x="439" y="112"/>
                      <a:pt x="439" y="112"/>
                      <a:pt x="439" y="112"/>
                    </a:cubicBezTo>
                    <a:cubicBezTo>
                      <a:pt x="439" y="111"/>
                      <a:pt x="438" y="111"/>
                      <a:pt x="437" y="111"/>
                    </a:cubicBezTo>
                    <a:cubicBezTo>
                      <a:pt x="436" y="112"/>
                      <a:pt x="435" y="113"/>
                      <a:pt x="436" y="114"/>
                    </a:cubicBezTo>
                    <a:close/>
                    <a:moveTo>
                      <a:pt x="429" y="104"/>
                    </a:moveTo>
                    <a:cubicBezTo>
                      <a:pt x="430" y="104"/>
                      <a:pt x="430" y="104"/>
                      <a:pt x="430" y="104"/>
                    </a:cubicBezTo>
                    <a:cubicBezTo>
                      <a:pt x="430" y="105"/>
                      <a:pt x="432" y="105"/>
                      <a:pt x="432" y="104"/>
                    </a:cubicBezTo>
                    <a:cubicBezTo>
                      <a:pt x="433" y="104"/>
                      <a:pt x="434" y="103"/>
                      <a:pt x="433" y="102"/>
                    </a:cubicBezTo>
                    <a:cubicBezTo>
                      <a:pt x="433" y="101"/>
                      <a:pt x="433" y="101"/>
                      <a:pt x="433" y="101"/>
                    </a:cubicBezTo>
                    <a:cubicBezTo>
                      <a:pt x="432" y="100"/>
                      <a:pt x="431" y="100"/>
                      <a:pt x="430" y="101"/>
                    </a:cubicBezTo>
                    <a:cubicBezTo>
                      <a:pt x="429" y="101"/>
                      <a:pt x="429" y="103"/>
                      <a:pt x="429" y="104"/>
                    </a:cubicBezTo>
                    <a:close/>
                    <a:moveTo>
                      <a:pt x="422" y="94"/>
                    </a:moveTo>
                    <a:cubicBezTo>
                      <a:pt x="422" y="94"/>
                      <a:pt x="422" y="94"/>
                      <a:pt x="422" y="94"/>
                    </a:cubicBezTo>
                    <a:cubicBezTo>
                      <a:pt x="423" y="95"/>
                      <a:pt x="424" y="95"/>
                      <a:pt x="425" y="94"/>
                    </a:cubicBezTo>
                    <a:cubicBezTo>
                      <a:pt x="426" y="94"/>
                      <a:pt x="426" y="92"/>
                      <a:pt x="426" y="91"/>
                    </a:cubicBezTo>
                    <a:cubicBezTo>
                      <a:pt x="425" y="91"/>
                      <a:pt x="425" y="91"/>
                      <a:pt x="425" y="91"/>
                    </a:cubicBezTo>
                    <a:cubicBezTo>
                      <a:pt x="425" y="90"/>
                      <a:pt x="423" y="90"/>
                      <a:pt x="423" y="91"/>
                    </a:cubicBezTo>
                    <a:cubicBezTo>
                      <a:pt x="422" y="91"/>
                      <a:pt x="422" y="93"/>
                      <a:pt x="422" y="94"/>
                    </a:cubicBezTo>
                    <a:close/>
                    <a:moveTo>
                      <a:pt x="414" y="84"/>
                    </a:moveTo>
                    <a:cubicBezTo>
                      <a:pt x="415" y="84"/>
                      <a:pt x="415" y="84"/>
                      <a:pt x="415" y="84"/>
                    </a:cubicBezTo>
                    <a:cubicBezTo>
                      <a:pt x="415" y="85"/>
                      <a:pt x="417" y="85"/>
                      <a:pt x="418" y="85"/>
                    </a:cubicBezTo>
                    <a:cubicBezTo>
                      <a:pt x="418" y="84"/>
                      <a:pt x="418" y="83"/>
                      <a:pt x="418" y="82"/>
                    </a:cubicBezTo>
                    <a:cubicBezTo>
                      <a:pt x="418" y="81"/>
                      <a:pt x="418" y="81"/>
                      <a:pt x="418" y="81"/>
                    </a:cubicBezTo>
                    <a:cubicBezTo>
                      <a:pt x="417" y="81"/>
                      <a:pt x="416" y="80"/>
                      <a:pt x="415" y="81"/>
                    </a:cubicBezTo>
                    <a:cubicBezTo>
                      <a:pt x="414" y="82"/>
                      <a:pt x="414" y="83"/>
                      <a:pt x="414" y="84"/>
                    </a:cubicBezTo>
                    <a:close/>
                    <a:moveTo>
                      <a:pt x="406" y="75"/>
                    </a:moveTo>
                    <a:cubicBezTo>
                      <a:pt x="406" y="75"/>
                      <a:pt x="406" y="75"/>
                      <a:pt x="406" y="75"/>
                    </a:cubicBezTo>
                    <a:cubicBezTo>
                      <a:pt x="407" y="76"/>
                      <a:pt x="409" y="76"/>
                      <a:pt x="409" y="75"/>
                    </a:cubicBezTo>
                    <a:cubicBezTo>
                      <a:pt x="410" y="74"/>
                      <a:pt x="410" y="73"/>
                      <a:pt x="409" y="72"/>
                    </a:cubicBezTo>
                    <a:cubicBezTo>
                      <a:pt x="409" y="72"/>
                      <a:pt x="409" y="72"/>
                      <a:pt x="409" y="72"/>
                    </a:cubicBezTo>
                    <a:cubicBezTo>
                      <a:pt x="408" y="71"/>
                      <a:pt x="407" y="71"/>
                      <a:pt x="406" y="72"/>
                    </a:cubicBezTo>
                    <a:cubicBezTo>
                      <a:pt x="405" y="73"/>
                      <a:pt x="405" y="74"/>
                      <a:pt x="406" y="75"/>
                    </a:cubicBezTo>
                    <a:close/>
                    <a:moveTo>
                      <a:pt x="397" y="66"/>
                    </a:moveTo>
                    <a:cubicBezTo>
                      <a:pt x="398" y="67"/>
                      <a:pt x="398" y="67"/>
                      <a:pt x="398" y="67"/>
                    </a:cubicBezTo>
                    <a:cubicBezTo>
                      <a:pt x="399" y="67"/>
                      <a:pt x="400" y="67"/>
                      <a:pt x="401" y="66"/>
                    </a:cubicBezTo>
                    <a:cubicBezTo>
                      <a:pt x="401" y="66"/>
                      <a:pt x="401" y="64"/>
                      <a:pt x="400" y="64"/>
                    </a:cubicBezTo>
                    <a:cubicBezTo>
                      <a:pt x="400" y="63"/>
                      <a:pt x="400" y="63"/>
                      <a:pt x="400" y="63"/>
                    </a:cubicBezTo>
                    <a:cubicBezTo>
                      <a:pt x="399" y="63"/>
                      <a:pt x="398" y="63"/>
                      <a:pt x="397" y="63"/>
                    </a:cubicBezTo>
                    <a:cubicBezTo>
                      <a:pt x="397" y="64"/>
                      <a:pt x="397" y="65"/>
                      <a:pt x="397" y="66"/>
                    </a:cubicBezTo>
                    <a:close/>
                    <a:moveTo>
                      <a:pt x="388" y="58"/>
                    </a:moveTo>
                    <a:cubicBezTo>
                      <a:pt x="388" y="58"/>
                      <a:pt x="388" y="58"/>
                      <a:pt x="388" y="58"/>
                    </a:cubicBezTo>
                    <a:cubicBezTo>
                      <a:pt x="389" y="59"/>
                      <a:pt x="391" y="59"/>
                      <a:pt x="391" y="58"/>
                    </a:cubicBezTo>
                    <a:cubicBezTo>
                      <a:pt x="392" y="57"/>
                      <a:pt x="392" y="56"/>
                      <a:pt x="391" y="55"/>
                    </a:cubicBezTo>
                    <a:cubicBezTo>
                      <a:pt x="391" y="55"/>
                      <a:pt x="391" y="55"/>
                      <a:pt x="391" y="55"/>
                    </a:cubicBezTo>
                    <a:cubicBezTo>
                      <a:pt x="390" y="54"/>
                      <a:pt x="389" y="54"/>
                      <a:pt x="388" y="55"/>
                    </a:cubicBezTo>
                    <a:cubicBezTo>
                      <a:pt x="387" y="56"/>
                      <a:pt x="387" y="57"/>
                      <a:pt x="388" y="58"/>
                    </a:cubicBezTo>
                    <a:close/>
                    <a:moveTo>
                      <a:pt x="378" y="51"/>
                    </a:moveTo>
                    <a:cubicBezTo>
                      <a:pt x="379" y="51"/>
                      <a:pt x="379" y="51"/>
                      <a:pt x="379" y="51"/>
                    </a:cubicBezTo>
                    <a:cubicBezTo>
                      <a:pt x="380" y="51"/>
                      <a:pt x="381" y="51"/>
                      <a:pt x="382" y="50"/>
                    </a:cubicBezTo>
                    <a:cubicBezTo>
                      <a:pt x="382" y="49"/>
                      <a:pt x="382" y="48"/>
                      <a:pt x="381" y="48"/>
                    </a:cubicBezTo>
                    <a:cubicBezTo>
                      <a:pt x="381" y="47"/>
                      <a:pt x="381" y="47"/>
                      <a:pt x="381" y="47"/>
                    </a:cubicBezTo>
                    <a:cubicBezTo>
                      <a:pt x="380" y="47"/>
                      <a:pt x="379" y="47"/>
                      <a:pt x="378" y="48"/>
                    </a:cubicBezTo>
                    <a:cubicBezTo>
                      <a:pt x="377" y="49"/>
                      <a:pt x="378" y="50"/>
                      <a:pt x="378" y="51"/>
                    </a:cubicBezTo>
                    <a:close/>
                    <a:moveTo>
                      <a:pt x="368" y="44"/>
                    </a:moveTo>
                    <a:cubicBezTo>
                      <a:pt x="369" y="44"/>
                      <a:pt x="369" y="44"/>
                      <a:pt x="369" y="44"/>
                    </a:cubicBezTo>
                    <a:cubicBezTo>
                      <a:pt x="370" y="44"/>
                      <a:pt x="371" y="44"/>
                      <a:pt x="371" y="43"/>
                    </a:cubicBezTo>
                    <a:cubicBezTo>
                      <a:pt x="372" y="42"/>
                      <a:pt x="372" y="41"/>
                      <a:pt x="371" y="40"/>
                    </a:cubicBezTo>
                    <a:cubicBezTo>
                      <a:pt x="371" y="40"/>
                      <a:pt x="371" y="40"/>
                      <a:pt x="371" y="40"/>
                    </a:cubicBezTo>
                    <a:cubicBezTo>
                      <a:pt x="370" y="40"/>
                      <a:pt x="368" y="40"/>
                      <a:pt x="368" y="41"/>
                    </a:cubicBezTo>
                    <a:cubicBezTo>
                      <a:pt x="367" y="42"/>
                      <a:pt x="367" y="43"/>
                      <a:pt x="368" y="44"/>
                    </a:cubicBezTo>
                    <a:close/>
                    <a:moveTo>
                      <a:pt x="358" y="37"/>
                    </a:moveTo>
                    <a:cubicBezTo>
                      <a:pt x="358" y="37"/>
                      <a:pt x="358" y="37"/>
                      <a:pt x="358" y="37"/>
                    </a:cubicBezTo>
                    <a:cubicBezTo>
                      <a:pt x="359" y="38"/>
                      <a:pt x="360" y="38"/>
                      <a:pt x="361" y="37"/>
                    </a:cubicBezTo>
                    <a:cubicBezTo>
                      <a:pt x="362" y="36"/>
                      <a:pt x="361" y="34"/>
                      <a:pt x="360" y="34"/>
                    </a:cubicBezTo>
                    <a:cubicBezTo>
                      <a:pt x="360" y="34"/>
                      <a:pt x="360" y="34"/>
                      <a:pt x="360" y="34"/>
                    </a:cubicBezTo>
                    <a:cubicBezTo>
                      <a:pt x="359" y="33"/>
                      <a:pt x="358" y="33"/>
                      <a:pt x="357" y="34"/>
                    </a:cubicBezTo>
                    <a:cubicBezTo>
                      <a:pt x="357" y="35"/>
                      <a:pt x="357" y="37"/>
                      <a:pt x="358" y="37"/>
                    </a:cubicBezTo>
                    <a:close/>
                    <a:moveTo>
                      <a:pt x="347" y="31"/>
                    </a:moveTo>
                    <a:cubicBezTo>
                      <a:pt x="347" y="31"/>
                      <a:pt x="347" y="31"/>
                      <a:pt x="347" y="31"/>
                    </a:cubicBezTo>
                    <a:cubicBezTo>
                      <a:pt x="348" y="32"/>
                      <a:pt x="350" y="32"/>
                      <a:pt x="350" y="31"/>
                    </a:cubicBezTo>
                    <a:cubicBezTo>
                      <a:pt x="351" y="30"/>
                      <a:pt x="350" y="28"/>
                      <a:pt x="349" y="28"/>
                    </a:cubicBezTo>
                    <a:cubicBezTo>
                      <a:pt x="349" y="28"/>
                      <a:pt x="349" y="28"/>
                      <a:pt x="349" y="28"/>
                    </a:cubicBezTo>
                    <a:cubicBezTo>
                      <a:pt x="348" y="27"/>
                      <a:pt x="347" y="28"/>
                      <a:pt x="346" y="29"/>
                    </a:cubicBezTo>
                    <a:cubicBezTo>
                      <a:pt x="346" y="30"/>
                      <a:pt x="346" y="31"/>
                      <a:pt x="347" y="31"/>
                    </a:cubicBezTo>
                    <a:close/>
                    <a:moveTo>
                      <a:pt x="336" y="26"/>
                    </a:moveTo>
                    <a:cubicBezTo>
                      <a:pt x="336" y="26"/>
                      <a:pt x="336" y="26"/>
                      <a:pt x="336" y="26"/>
                    </a:cubicBezTo>
                    <a:cubicBezTo>
                      <a:pt x="337" y="27"/>
                      <a:pt x="338" y="26"/>
                      <a:pt x="339" y="25"/>
                    </a:cubicBezTo>
                    <a:cubicBezTo>
                      <a:pt x="339" y="24"/>
                      <a:pt x="339" y="23"/>
                      <a:pt x="338" y="23"/>
                    </a:cubicBezTo>
                    <a:cubicBezTo>
                      <a:pt x="338" y="22"/>
                      <a:pt x="338" y="22"/>
                      <a:pt x="338" y="22"/>
                    </a:cubicBezTo>
                    <a:cubicBezTo>
                      <a:pt x="337" y="22"/>
                      <a:pt x="335" y="22"/>
                      <a:pt x="335" y="23"/>
                    </a:cubicBezTo>
                    <a:cubicBezTo>
                      <a:pt x="334" y="24"/>
                      <a:pt x="335" y="26"/>
                      <a:pt x="336" y="26"/>
                    </a:cubicBezTo>
                    <a:close/>
                    <a:moveTo>
                      <a:pt x="325" y="21"/>
                    </a:moveTo>
                    <a:cubicBezTo>
                      <a:pt x="325" y="21"/>
                      <a:pt x="325" y="21"/>
                      <a:pt x="325" y="21"/>
                    </a:cubicBezTo>
                    <a:cubicBezTo>
                      <a:pt x="326" y="22"/>
                      <a:pt x="327" y="21"/>
                      <a:pt x="327" y="20"/>
                    </a:cubicBezTo>
                    <a:cubicBezTo>
                      <a:pt x="328" y="19"/>
                      <a:pt x="327" y="18"/>
                      <a:pt x="326" y="18"/>
                    </a:cubicBezTo>
                    <a:cubicBezTo>
                      <a:pt x="326" y="18"/>
                      <a:pt x="326" y="18"/>
                      <a:pt x="326" y="18"/>
                    </a:cubicBezTo>
                    <a:cubicBezTo>
                      <a:pt x="325" y="17"/>
                      <a:pt x="324" y="18"/>
                      <a:pt x="323" y="19"/>
                    </a:cubicBezTo>
                    <a:cubicBezTo>
                      <a:pt x="323" y="20"/>
                      <a:pt x="323" y="21"/>
                      <a:pt x="325" y="21"/>
                    </a:cubicBezTo>
                    <a:close/>
                    <a:moveTo>
                      <a:pt x="313" y="17"/>
                    </a:moveTo>
                    <a:cubicBezTo>
                      <a:pt x="313" y="17"/>
                      <a:pt x="313" y="17"/>
                      <a:pt x="313" y="17"/>
                    </a:cubicBezTo>
                    <a:cubicBezTo>
                      <a:pt x="314" y="18"/>
                      <a:pt x="315" y="17"/>
                      <a:pt x="316" y="16"/>
                    </a:cubicBezTo>
                    <a:cubicBezTo>
                      <a:pt x="316" y="15"/>
                      <a:pt x="316" y="14"/>
                      <a:pt x="315" y="14"/>
                    </a:cubicBezTo>
                    <a:cubicBezTo>
                      <a:pt x="314" y="13"/>
                      <a:pt x="314" y="13"/>
                      <a:pt x="314" y="13"/>
                    </a:cubicBezTo>
                    <a:cubicBezTo>
                      <a:pt x="313" y="13"/>
                      <a:pt x="312" y="14"/>
                      <a:pt x="312" y="15"/>
                    </a:cubicBezTo>
                    <a:cubicBezTo>
                      <a:pt x="311" y="16"/>
                      <a:pt x="312" y="17"/>
                      <a:pt x="313" y="17"/>
                    </a:cubicBezTo>
                    <a:close/>
                    <a:moveTo>
                      <a:pt x="301" y="14"/>
                    </a:moveTo>
                    <a:cubicBezTo>
                      <a:pt x="301" y="14"/>
                      <a:pt x="301" y="14"/>
                      <a:pt x="301" y="14"/>
                    </a:cubicBezTo>
                    <a:cubicBezTo>
                      <a:pt x="303" y="14"/>
                      <a:pt x="304" y="14"/>
                      <a:pt x="304" y="12"/>
                    </a:cubicBezTo>
                    <a:cubicBezTo>
                      <a:pt x="304" y="11"/>
                      <a:pt x="304" y="10"/>
                      <a:pt x="303" y="10"/>
                    </a:cubicBezTo>
                    <a:cubicBezTo>
                      <a:pt x="302" y="10"/>
                      <a:pt x="302" y="10"/>
                      <a:pt x="302" y="10"/>
                    </a:cubicBezTo>
                    <a:cubicBezTo>
                      <a:pt x="301" y="10"/>
                      <a:pt x="300" y="10"/>
                      <a:pt x="300" y="11"/>
                    </a:cubicBezTo>
                    <a:cubicBezTo>
                      <a:pt x="299" y="12"/>
                      <a:pt x="300" y="13"/>
                      <a:pt x="301" y="14"/>
                    </a:cubicBezTo>
                    <a:close/>
                    <a:moveTo>
                      <a:pt x="289" y="11"/>
                    </a:moveTo>
                    <a:cubicBezTo>
                      <a:pt x="290" y="11"/>
                      <a:pt x="290" y="11"/>
                      <a:pt x="290" y="11"/>
                    </a:cubicBezTo>
                    <a:cubicBezTo>
                      <a:pt x="291" y="11"/>
                      <a:pt x="292" y="10"/>
                      <a:pt x="292" y="9"/>
                    </a:cubicBezTo>
                    <a:cubicBezTo>
                      <a:pt x="292" y="8"/>
                      <a:pt x="291" y="7"/>
                      <a:pt x="290" y="7"/>
                    </a:cubicBezTo>
                    <a:cubicBezTo>
                      <a:pt x="290" y="7"/>
                      <a:pt x="290" y="7"/>
                      <a:pt x="290" y="7"/>
                    </a:cubicBezTo>
                    <a:cubicBezTo>
                      <a:pt x="289" y="7"/>
                      <a:pt x="288" y="7"/>
                      <a:pt x="288" y="8"/>
                    </a:cubicBezTo>
                    <a:cubicBezTo>
                      <a:pt x="287" y="10"/>
                      <a:pt x="288" y="11"/>
                      <a:pt x="289" y="11"/>
                    </a:cubicBezTo>
                    <a:close/>
                    <a:moveTo>
                      <a:pt x="277" y="8"/>
                    </a:moveTo>
                    <a:cubicBezTo>
                      <a:pt x="277" y="9"/>
                      <a:pt x="277" y="9"/>
                      <a:pt x="277" y="9"/>
                    </a:cubicBezTo>
                    <a:cubicBezTo>
                      <a:pt x="278" y="9"/>
                      <a:pt x="280" y="8"/>
                      <a:pt x="280" y="7"/>
                    </a:cubicBezTo>
                    <a:cubicBezTo>
                      <a:pt x="280" y="6"/>
                      <a:pt x="279" y="5"/>
                      <a:pt x="278" y="5"/>
                    </a:cubicBezTo>
                    <a:cubicBezTo>
                      <a:pt x="278" y="5"/>
                      <a:pt x="278" y="5"/>
                      <a:pt x="278" y="5"/>
                    </a:cubicBezTo>
                    <a:cubicBezTo>
                      <a:pt x="277" y="4"/>
                      <a:pt x="276" y="5"/>
                      <a:pt x="275" y="6"/>
                    </a:cubicBezTo>
                    <a:cubicBezTo>
                      <a:pt x="275" y="7"/>
                      <a:pt x="276" y="8"/>
                      <a:pt x="277" y="8"/>
                    </a:cubicBezTo>
                    <a:close/>
                    <a:moveTo>
                      <a:pt x="265" y="7"/>
                    </a:moveTo>
                    <a:cubicBezTo>
                      <a:pt x="265" y="7"/>
                      <a:pt x="265" y="7"/>
                      <a:pt x="265" y="7"/>
                    </a:cubicBezTo>
                    <a:cubicBezTo>
                      <a:pt x="266" y="7"/>
                      <a:pt x="267" y="6"/>
                      <a:pt x="267" y="5"/>
                    </a:cubicBezTo>
                    <a:cubicBezTo>
                      <a:pt x="268" y="4"/>
                      <a:pt x="267" y="3"/>
                      <a:pt x="266" y="3"/>
                    </a:cubicBezTo>
                    <a:cubicBezTo>
                      <a:pt x="265" y="3"/>
                      <a:pt x="265" y="3"/>
                      <a:pt x="265" y="3"/>
                    </a:cubicBezTo>
                    <a:cubicBezTo>
                      <a:pt x="264" y="3"/>
                      <a:pt x="263" y="3"/>
                      <a:pt x="263" y="4"/>
                    </a:cubicBezTo>
                    <a:cubicBezTo>
                      <a:pt x="263" y="5"/>
                      <a:pt x="264" y="6"/>
                      <a:pt x="265" y="7"/>
                    </a:cubicBezTo>
                    <a:close/>
                    <a:moveTo>
                      <a:pt x="253" y="5"/>
                    </a:moveTo>
                    <a:cubicBezTo>
                      <a:pt x="253" y="5"/>
                      <a:pt x="253" y="5"/>
                      <a:pt x="253" y="5"/>
                    </a:cubicBezTo>
                    <a:cubicBezTo>
                      <a:pt x="254" y="5"/>
                      <a:pt x="255" y="5"/>
                      <a:pt x="255" y="4"/>
                    </a:cubicBezTo>
                    <a:cubicBezTo>
                      <a:pt x="255" y="2"/>
                      <a:pt x="254" y="1"/>
                      <a:pt x="253" y="1"/>
                    </a:cubicBezTo>
                    <a:cubicBezTo>
                      <a:pt x="253" y="1"/>
                      <a:pt x="253" y="1"/>
                      <a:pt x="253" y="1"/>
                    </a:cubicBezTo>
                    <a:cubicBezTo>
                      <a:pt x="252" y="1"/>
                      <a:pt x="251" y="2"/>
                      <a:pt x="251" y="3"/>
                    </a:cubicBezTo>
                    <a:cubicBezTo>
                      <a:pt x="251" y="4"/>
                      <a:pt x="251" y="5"/>
                      <a:pt x="253" y="5"/>
                    </a:cubicBezTo>
                    <a:close/>
                    <a:moveTo>
                      <a:pt x="240" y="4"/>
                    </a:moveTo>
                    <a:cubicBezTo>
                      <a:pt x="241" y="4"/>
                      <a:pt x="241" y="4"/>
                      <a:pt x="241" y="4"/>
                    </a:cubicBezTo>
                    <a:cubicBezTo>
                      <a:pt x="242" y="5"/>
                      <a:pt x="243" y="4"/>
                      <a:pt x="243" y="3"/>
                    </a:cubicBezTo>
                    <a:cubicBezTo>
                      <a:pt x="243" y="1"/>
                      <a:pt x="242" y="1"/>
                      <a:pt x="241" y="0"/>
                    </a:cubicBezTo>
                    <a:cubicBezTo>
                      <a:pt x="240" y="0"/>
                      <a:pt x="240" y="0"/>
                      <a:pt x="240" y="0"/>
                    </a:cubicBezTo>
                    <a:cubicBezTo>
                      <a:pt x="239" y="0"/>
                      <a:pt x="238" y="1"/>
                      <a:pt x="238" y="2"/>
                    </a:cubicBezTo>
                    <a:cubicBezTo>
                      <a:pt x="238" y="3"/>
                      <a:pt x="239" y="4"/>
                      <a:pt x="240" y="4"/>
                    </a:cubicBezTo>
                    <a:close/>
                    <a:moveTo>
                      <a:pt x="228" y="5"/>
                    </a:moveTo>
                    <a:cubicBezTo>
                      <a:pt x="228" y="4"/>
                      <a:pt x="228" y="4"/>
                      <a:pt x="228" y="4"/>
                    </a:cubicBezTo>
                    <a:cubicBezTo>
                      <a:pt x="230" y="4"/>
                      <a:pt x="230" y="4"/>
                      <a:pt x="230" y="2"/>
                    </a:cubicBezTo>
                    <a:cubicBezTo>
                      <a:pt x="230" y="1"/>
                      <a:pt x="229" y="0"/>
                      <a:pt x="228" y="0"/>
                    </a:cubicBezTo>
                    <a:cubicBezTo>
                      <a:pt x="228" y="1"/>
                      <a:pt x="228" y="1"/>
                      <a:pt x="228" y="1"/>
                    </a:cubicBezTo>
                    <a:cubicBezTo>
                      <a:pt x="227" y="1"/>
                      <a:pt x="226" y="1"/>
                      <a:pt x="226" y="3"/>
                    </a:cubicBezTo>
                    <a:cubicBezTo>
                      <a:pt x="226" y="4"/>
                      <a:pt x="227" y="5"/>
                      <a:pt x="228" y="5"/>
                    </a:cubicBezTo>
                    <a:close/>
                    <a:moveTo>
                      <a:pt x="216" y="5"/>
                    </a:moveTo>
                    <a:cubicBezTo>
                      <a:pt x="216" y="5"/>
                      <a:pt x="216" y="5"/>
                      <a:pt x="216" y="5"/>
                    </a:cubicBezTo>
                    <a:cubicBezTo>
                      <a:pt x="217" y="5"/>
                      <a:pt x="218" y="4"/>
                      <a:pt x="218" y="3"/>
                    </a:cubicBezTo>
                    <a:cubicBezTo>
                      <a:pt x="218" y="2"/>
                      <a:pt x="217" y="1"/>
                      <a:pt x="216" y="1"/>
                    </a:cubicBezTo>
                    <a:cubicBezTo>
                      <a:pt x="215" y="1"/>
                      <a:pt x="215" y="1"/>
                      <a:pt x="215" y="1"/>
                    </a:cubicBezTo>
                    <a:cubicBezTo>
                      <a:pt x="214" y="1"/>
                      <a:pt x="213" y="2"/>
                      <a:pt x="214" y="4"/>
                    </a:cubicBezTo>
                    <a:cubicBezTo>
                      <a:pt x="214" y="5"/>
                      <a:pt x="215" y="5"/>
                      <a:pt x="216" y="5"/>
                    </a:cubicBezTo>
                    <a:close/>
                    <a:moveTo>
                      <a:pt x="203" y="7"/>
                    </a:moveTo>
                    <a:cubicBezTo>
                      <a:pt x="204" y="7"/>
                      <a:pt x="204" y="7"/>
                      <a:pt x="204" y="7"/>
                    </a:cubicBezTo>
                    <a:cubicBezTo>
                      <a:pt x="205" y="7"/>
                      <a:pt x="206" y="6"/>
                      <a:pt x="206" y="4"/>
                    </a:cubicBezTo>
                    <a:cubicBezTo>
                      <a:pt x="205" y="3"/>
                      <a:pt x="204" y="3"/>
                      <a:pt x="203" y="3"/>
                    </a:cubicBezTo>
                    <a:cubicBezTo>
                      <a:pt x="203" y="3"/>
                      <a:pt x="203" y="3"/>
                      <a:pt x="203" y="3"/>
                    </a:cubicBezTo>
                    <a:cubicBezTo>
                      <a:pt x="202" y="3"/>
                      <a:pt x="201" y="4"/>
                      <a:pt x="201" y="5"/>
                    </a:cubicBezTo>
                    <a:cubicBezTo>
                      <a:pt x="201" y="6"/>
                      <a:pt x="202" y="7"/>
                      <a:pt x="203" y="7"/>
                    </a:cubicBezTo>
                    <a:close/>
                    <a:moveTo>
                      <a:pt x="191" y="9"/>
                    </a:moveTo>
                    <a:cubicBezTo>
                      <a:pt x="192" y="9"/>
                      <a:pt x="192" y="9"/>
                      <a:pt x="192" y="9"/>
                    </a:cubicBezTo>
                    <a:cubicBezTo>
                      <a:pt x="193" y="9"/>
                      <a:pt x="194" y="8"/>
                      <a:pt x="193" y="6"/>
                    </a:cubicBezTo>
                    <a:cubicBezTo>
                      <a:pt x="193" y="5"/>
                      <a:pt x="192" y="5"/>
                      <a:pt x="191" y="5"/>
                    </a:cubicBezTo>
                    <a:cubicBezTo>
                      <a:pt x="191" y="5"/>
                      <a:pt x="191" y="5"/>
                      <a:pt x="191" y="5"/>
                    </a:cubicBezTo>
                    <a:cubicBezTo>
                      <a:pt x="189" y="5"/>
                      <a:pt x="189" y="6"/>
                      <a:pt x="189" y="7"/>
                    </a:cubicBezTo>
                    <a:cubicBezTo>
                      <a:pt x="189" y="8"/>
                      <a:pt x="190" y="9"/>
                      <a:pt x="191" y="9"/>
                    </a:cubicBezTo>
                    <a:close/>
                    <a:moveTo>
                      <a:pt x="179" y="12"/>
                    </a:moveTo>
                    <a:cubicBezTo>
                      <a:pt x="180" y="12"/>
                      <a:pt x="180" y="12"/>
                      <a:pt x="180" y="12"/>
                    </a:cubicBezTo>
                    <a:cubicBezTo>
                      <a:pt x="181" y="11"/>
                      <a:pt x="181" y="10"/>
                      <a:pt x="181" y="9"/>
                    </a:cubicBezTo>
                    <a:cubicBezTo>
                      <a:pt x="181" y="8"/>
                      <a:pt x="180" y="7"/>
                      <a:pt x="179" y="8"/>
                    </a:cubicBezTo>
                    <a:cubicBezTo>
                      <a:pt x="178" y="8"/>
                      <a:pt x="178" y="8"/>
                      <a:pt x="178" y="8"/>
                    </a:cubicBezTo>
                    <a:cubicBezTo>
                      <a:pt x="177" y="8"/>
                      <a:pt x="177" y="9"/>
                      <a:pt x="177" y="10"/>
                    </a:cubicBezTo>
                    <a:cubicBezTo>
                      <a:pt x="177" y="11"/>
                      <a:pt x="178" y="12"/>
                      <a:pt x="179" y="12"/>
                    </a:cubicBezTo>
                    <a:close/>
                    <a:moveTo>
                      <a:pt x="167" y="15"/>
                    </a:moveTo>
                    <a:cubicBezTo>
                      <a:pt x="168" y="15"/>
                      <a:pt x="168" y="15"/>
                      <a:pt x="168" y="15"/>
                    </a:cubicBezTo>
                    <a:cubicBezTo>
                      <a:pt x="169" y="15"/>
                      <a:pt x="170" y="13"/>
                      <a:pt x="169" y="12"/>
                    </a:cubicBezTo>
                    <a:cubicBezTo>
                      <a:pt x="169" y="11"/>
                      <a:pt x="168" y="11"/>
                      <a:pt x="167" y="11"/>
                    </a:cubicBezTo>
                    <a:cubicBezTo>
                      <a:pt x="166" y="11"/>
                      <a:pt x="166" y="11"/>
                      <a:pt x="166" y="11"/>
                    </a:cubicBezTo>
                    <a:cubicBezTo>
                      <a:pt x="165" y="12"/>
                      <a:pt x="165" y="13"/>
                      <a:pt x="165" y="14"/>
                    </a:cubicBezTo>
                    <a:cubicBezTo>
                      <a:pt x="165" y="15"/>
                      <a:pt x="166" y="15"/>
                      <a:pt x="167" y="15"/>
                    </a:cubicBezTo>
                    <a:close/>
                    <a:moveTo>
                      <a:pt x="156" y="19"/>
                    </a:moveTo>
                    <a:cubicBezTo>
                      <a:pt x="156" y="19"/>
                      <a:pt x="156" y="19"/>
                      <a:pt x="156" y="19"/>
                    </a:cubicBezTo>
                    <a:cubicBezTo>
                      <a:pt x="157" y="18"/>
                      <a:pt x="158" y="17"/>
                      <a:pt x="157" y="16"/>
                    </a:cubicBezTo>
                    <a:cubicBezTo>
                      <a:pt x="157" y="15"/>
                      <a:pt x="156" y="15"/>
                      <a:pt x="155" y="15"/>
                    </a:cubicBezTo>
                    <a:cubicBezTo>
                      <a:pt x="154" y="15"/>
                      <a:pt x="154" y="15"/>
                      <a:pt x="154" y="15"/>
                    </a:cubicBezTo>
                    <a:cubicBezTo>
                      <a:pt x="153" y="16"/>
                      <a:pt x="153" y="17"/>
                      <a:pt x="153" y="18"/>
                    </a:cubicBezTo>
                    <a:cubicBezTo>
                      <a:pt x="154" y="19"/>
                      <a:pt x="155" y="19"/>
                      <a:pt x="156" y="19"/>
                    </a:cubicBezTo>
                    <a:close/>
                    <a:moveTo>
                      <a:pt x="144" y="24"/>
                    </a:moveTo>
                    <a:cubicBezTo>
                      <a:pt x="145" y="23"/>
                      <a:pt x="145" y="23"/>
                      <a:pt x="145" y="23"/>
                    </a:cubicBezTo>
                    <a:cubicBezTo>
                      <a:pt x="146" y="23"/>
                      <a:pt x="146" y="22"/>
                      <a:pt x="146" y="21"/>
                    </a:cubicBezTo>
                    <a:cubicBezTo>
                      <a:pt x="145" y="20"/>
                      <a:pt x="144" y="19"/>
                      <a:pt x="143" y="20"/>
                    </a:cubicBezTo>
                    <a:cubicBezTo>
                      <a:pt x="143" y="20"/>
                      <a:pt x="143" y="20"/>
                      <a:pt x="143" y="20"/>
                    </a:cubicBezTo>
                    <a:cubicBezTo>
                      <a:pt x="142" y="20"/>
                      <a:pt x="141" y="22"/>
                      <a:pt x="142" y="23"/>
                    </a:cubicBezTo>
                    <a:cubicBezTo>
                      <a:pt x="142" y="24"/>
                      <a:pt x="143" y="24"/>
                      <a:pt x="144" y="24"/>
                    </a:cubicBezTo>
                    <a:close/>
                    <a:moveTo>
                      <a:pt x="133" y="29"/>
                    </a:moveTo>
                    <a:cubicBezTo>
                      <a:pt x="134" y="29"/>
                      <a:pt x="134" y="29"/>
                      <a:pt x="134" y="29"/>
                    </a:cubicBezTo>
                    <a:cubicBezTo>
                      <a:pt x="135" y="28"/>
                      <a:pt x="135" y="27"/>
                      <a:pt x="135" y="26"/>
                    </a:cubicBezTo>
                    <a:cubicBezTo>
                      <a:pt x="134" y="25"/>
                      <a:pt x="133" y="25"/>
                      <a:pt x="132" y="25"/>
                    </a:cubicBezTo>
                    <a:cubicBezTo>
                      <a:pt x="132" y="25"/>
                      <a:pt x="132" y="25"/>
                      <a:pt x="132" y="25"/>
                    </a:cubicBezTo>
                    <a:cubicBezTo>
                      <a:pt x="131" y="26"/>
                      <a:pt x="130" y="27"/>
                      <a:pt x="131" y="28"/>
                    </a:cubicBezTo>
                    <a:cubicBezTo>
                      <a:pt x="131" y="29"/>
                      <a:pt x="132" y="29"/>
                      <a:pt x="133" y="29"/>
                    </a:cubicBezTo>
                    <a:close/>
                    <a:moveTo>
                      <a:pt x="122" y="35"/>
                    </a:moveTo>
                    <a:cubicBezTo>
                      <a:pt x="123" y="34"/>
                      <a:pt x="123" y="34"/>
                      <a:pt x="123" y="34"/>
                    </a:cubicBezTo>
                    <a:cubicBezTo>
                      <a:pt x="124" y="34"/>
                      <a:pt x="124" y="33"/>
                      <a:pt x="124" y="32"/>
                    </a:cubicBezTo>
                    <a:cubicBezTo>
                      <a:pt x="123" y="31"/>
                      <a:pt x="122" y="30"/>
                      <a:pt x="121" y="31"/>
                    </a:cubicBezTo>
                    <a:cubicBezTo>
                      <a:pt x="120" y="31"/>
                      <a:pt x="120" y="31"/>
                      <a:pt x="120" y="31"/>
                    </a:cubicBezTo>
                    <a:cubicBezTo>
                      <a:pt x="120" y="32"/>
                      <a:pt x="119" y="33"/>
                      <a:pt x="120" y="34"/>
                    </a:cubicBezTo>
                    <a:cubicBezTo>
                      <a:pt x="120" y="35"/>
                      <a:pt x="122" y="35"/>
                      <a:pt x="122" y="35"/>
                    </a:cubicBezTo>
                    <a:close/>
                    <a:moveTo>
                      <a:pt x="112" y="41"/>
                    </a:moveTo>
                    <a:cubicBezTo>
                      <a:pt x="112" y="41"/>
                      <a:pt x="112" y="41"/>
                      <a:pt x="112" y="41"/>
                    </a:cubicBezTo>
                    <a:cubicBezTo>
                      <a:pt x="113" y="40"/>
                      <a:pt x="113" y="39"/>
                      <a:pt x="113" y="38"/>
                    </a:cubicBezTo>
                    <a:cubicBezTo>
                      <a:pt x="112" y="37"/>
                      <a:pt x="111" y="37"/>
                      <a:pt x="110" y="37"/>
                    </a:cubicBezTo>
                    <a:cubicBezTo>
                      <a:pt x="110" y="38"/>
                      <a:pt x="110" y="38"/>
                      <a:pt x="110" y="38"/>
                    </a:cubicBezTo>
                    <a:cubicBezTo>
                      <a:pt x="109" y="38"/>
                      <a:pt x="109" y="39"/>
                      <a:pt x="109" y="40"/>
                    </a:cubicBezTo>
                    <a:cubicBezTo>
                      <a:pt x="110" y="41"/>
                      <a:pt x="111" y="42"/>
                      <a:pt x="112" y="41"/>
                    </a:cubicBezTo>
                    <a:close/>
                    <a:moveTo>
                      <a:pt x="102" y="48"/>
                    </a:moveTo>
                    <a:cubicBezTo>
                      <a:pt x="102" y="48"/>
                      <a:pt x="102" y="48"/>
                      <a:pt x="102" y="48"/>
                    </a:cubicBezTo>
                    <a:cubicBezTo>
                      <a:pt x="103" y="47"/>
                      <a:pt x="103" y="46"/>
                      <a:pt x="103" y="45"/>
                    </a:cubicBezTo>
                    <a:cubicBezTo>
                      <a:pt x="102" y="44"/>
                      <a:pt x="101" y="44"/>
                      <a:pt x="100" y="44"/>
                    </a:cubicBezTo>
                    <a:cubicBezTo>
                      <a:pt x="99" y="45"/>
                      <a:pt x="99" y="45"/>
                      <a:pt x="99" y="45"/>
                    </a:cubicBezTo>
                    <a:cubicBezTo>
                      <a:pt x="99" y="45"/>
                      <a:pt x="98" y="46"/>
                      <a:pt x="99" y="47"/>
                    </a:cubicBezTo>
                    <a:cubicBezTo>
                      <a:pt x="100" y="48"/>
                      <a:pt x="101" y="48"/>
                      <a:pt x="102" y="48"/>
                    </a:cubicBezTo>
                    <a:close/>
                    <a:moveTo>
                      <a:pt x="92" y="55"/>
                    </a:moveTo>
                    <a:cubicBezTo>
                      <a:pt x="92" y="55"/>
                      <a:pt x="92" y="55"/>
                      <a:pt x="92" y="55"/>
                    </a:cubicBezTo>
                    <a:cubicBezTo>
                      <a:pt x="93" y="54"/>
                      <a:pt x="93" y="53"/>
                      <a:pt x="93" y="52"/>
                    </a:cubicBezTo>
                    <a:cubicBezTo>
                      <a:pt x="92" y="51"/>
                      <a:pt x="91" y="51"/>
                      <a:pt x="90" y="52"/>
                    </a:cubicBezTo>
                    <a:cubicBezTo>
                      <a:pt x="89" y="52"/>
                      <a:pt x="89" y="52"/>
                      <a:pt x="89" y="52"/>
                    </a:cubicBezTo>
                    <a:cubicBezTo>
                      <a:pt x="89" y="53"/>
                      <a:pt x="88" y="54"/>
                      <a:pt x="89" y="55"/>
                    </a:cubicBezTo>
                    <a:cubicBezTo>
                      <a:pt x="90" y="56"/>
                      <a:pt x="91" y="56"/>
                      <a:pt x="92" y="55"/>
                    </a:cubicBezTo>
                    <a:close/>
                    <a:moveTo>
                      <a:pt x="83" y="63"/>
                    </a:moveTo>
                    <a:cubicBezTo>
                      <a:pt x="83" y="63"/>
                      <a:pt x="83" y="63"/>
                      <a:pt x="83" y="63"/>
                    </a:cubicBezTo>
                    <a:cubicBezTo>
                      <a:pt x="84" y="62"/>
                      <a:pt x="84" y="61"/>
                      <a:pt x="83" y="60"/>
                    </a:cubicBezTo>
                    <a:cubicBezTo>
                      <a:pt x="82" y="59"/>
                      <a:pt x="81" y="59"/>
                      <a:pt x="80" y="60"/>
                    </a:cubicBezTo>
                    <a:cubicBezTo>
                      <a:pt x="80" y="60"/>
                      <a:pt x="80" y="60"/>
                      <a:pt x="80" y="60"/>
                    </a:cubicBezTo>
                    <a:cubicBezTo>
                      <a:pt x="79" y="61"/>
                      <a:pt x="79" y="62"/>
                      <a:pt x="80" y="63"/>
                    </a:cubicBezTo>
                    <a:cubicBezTo>
                      <a:pt x="80" y="64"/>
                      <a:pt x="82" y="64"/>
                      <a:pt x="83" y="63"/>
                    </a:cubicBezTo>
                    <a:close/>
                    <a:moveTo>
                      <a:pt x="74" y="72"/>
                    </a:moveTo>
                    <a:cubicBezTo>
                      <a:pt x="74" y="71"/>
                      <a:pt x="74" y="71"/>
                      <a:pt x="74" y="71"/>
                    </a:cubicBezTo>
                    <a:cubicBezTo>
                      <a:pt x="75" y="71"/>
                      <a:pt x="75" y="69"/>
                      <a:pt x="74" y="68"/>
                    </a:cubicBezTo>
                    <a:cubicBezTo>
                      <a:pt x="73" y="68"/>
                      <a:pt x="72" y="68"/>
                      <a:pt x="71" y="68"/>
                    </a:cubicBezTo>
                    <a:cubicBezTo>
                      <a:pt x="71" y="69"/>
                      <a:pt x="71" y="69"/>
                      <a:pt x="71" y="69"/>
                    </a:cubicBezTo>
                    <a:cubicBezTo>
                      <a:pt x="70" y="70"/>
                      <a:pt x="70" y="71"/>
                      <a:pt x="71" y="72"/>
                    </a:cubicBezTo>
                    <a:cubicBezTo>
                      <a:pt x="71" y="72"/>
                      <a:pt x="73" y="72"/>
                      <a:pt x="74" y="72"/>
                    </a:cubicBezTo>
                    <a:close/>
                    <a:moveTo>
                      <a:pt x="65" y="80"/>
                    </a:moveTo>
                    <a:cubicBezTo>
                      <a:pt x="65" y="80"/>
                      <a:pt x="65" y="80"/>
                      <a:pt x="65" y="80"/>
                    </a:cubicBezTo>
                    <a:cubicBezTo>
                      <a:pt x="66" y="79"/>
                      <a:pt x="66" y="78"/>
                      <a:pt x="65" y="77"/>
                    </a:cubicBezTo>
                    <a:cubicBezTo>
                      <a:pt x="64" y="77"/>
                      <a:pt x="63" y="77"/>
                      <a:pt x="62" y="77"/>
                    </a:cubicBezTo>
                    <a:cubicBezTo>
                      <a:pt x="62" y="78"/>
                      <a:pt x="62" y="78"/>
                      <a:pt x="62" y="78"/>
                    </a:cubicBezTo>
                    <a:cubicBezTo>
                      <a:pt x="61" y="79"/>
                      <a:pt x="61" y="80"/>
                      <a:pt x="62" y="81"/>
                    </a:cubicBezTo>
                    <a:cubicBezTo>
                      <a:pt x="63" y="81"/>
                      <a:pt x="64" y="81"/>
                      <a:pt x="65" y="80"/>
                    </a:cubicBezTo>
                    <a:close/>
                    <a:moveTo>
                      <a:pt x="57" y="90"/>
                    </a:moveTo>
                    <a:cubicBezTo>
                      <a:pt x="57" y="89"/>
                      <a:pt x="57" y="89"/>
                      <a:pt x="57" y="89"/>
                    </a:cubicBezTo>
                    <a:cubicBezTo>
                      <a:pt x="58" y="89"/>
                      <a:pt x="58" y="87"/>
                      <a:pt x="57" y="87"/>
                    </a:cubicBezTo>
                    <a:cubicBezTo>
                      <a:pt x="56" y="86"/>
                      <a:pt x="55" y="86"/>
                      <a:pt x="54" y="87"/>
                    </a:cubicBezTo>
                    <a:cubicBezTo>
                      <a:pt x="54" y="87"/>
                      <a:pt x="54" y="87"/>
                      <a:pt x="54" y="87"/>
                    </a:cubicBezTo>
                    <a:cubicBezTo>
                      <a:pt x="53" y="88"/>
                      <a:pt x="53" y="89"/>
                      <a:pt x="54" y="90"/>
                    </a:cubicBezTo>
                    <a:cubicBezTo>
                      <a:pt x="55" y="91"/>
                      <a:pt x="56" y="91"/>
                      <a:pt x="57" y="90"/>
                    </a:cubicBezTo>
                    <a:close/>
                    <a:moveTo>
                      <a:pt x="49" y="100"/>
                    </a:moveTo>
                    <a:cubicBezTo>
                      <a:pt x="50" y="99"/>
                      <a:pt x="50" y="99"/>
                      <a:pt x="50" y="99"/>
                    </a:cubicBezTo>
                    <a:cubicBezTo>
                      <a:pt x="50" y="98"/>
                      <a:pt x="50" y="97"/>
                      <a:pt x="49" y="96"/>
                    </a:cubicBezTo>
                    <a:cubicBezTo>
                      <a:pt x="48" y="96"/>
                      <a:pt x="47" y="96"/>
                      <a:pt x="46" y="97"/>
                    </a:cubicBezTo>
                    <a:cubicBezTo>
                      <a:pt x="46" y="97"/>
                      <a:pt x="46" y="97"/>
                      <a:pt x="46" y="97"/>
                    </a:cubicBezTo>
                    <a:cubicBezTo>
                      <a:pt x="45" y="98"/>
                      <a:pt x="46" y="99"/>
                      <a:pt x="47" y="100"/>
                    </a:cubicBezTo>
                    <a:cubicBezTo>
                      <a:pt x="47" y="101"/>
                      <a:pt x="49" y="100"/>
                      <a:pt x="49" y="100"/>
                    </a:cubicBezTo>
                    <a:close/>
                    <a:moveTo>
                      <a:pt x="42" y="110"/>
                    </a:moveTo>
                    <a:cubicBezTo>
                      <a:pt x="43" y="109"/>
                      <a:pt x="43" y="109"/>
                      <a:pt x="43" y="109"/>
                    </a:cubicBezTo>
                    <a:cubicBezTo>
                      <a:pt x="43" y="108"/>
                      <a:pt x="43" y="107"/>
                      <a:pt x="42" y="107"/>
                    </a:cubicBezTo>
                    <a:cubicBezTo>
                      <a:pt x="41" y="106"/>
                      <a:pt x="40" y="106"/>
                      <a:pt x="39" y="107"/>
                    </a:cubicBezTo>
                    <a:cubicBezTo>
                      <a:pt x="39" y="107"/>
                      <a:pt x="39" y="107"/>
                      <a:pt x="39" y="107"/>
                    </a:cubicBezTo>
                    <a:cubicBezTo>
                      <a:pt x="38" y="108"/>
                      <a:pt x="39" y="110"/>
                      <a:pt x="40" y="110"/>
                    </a:cubicBezTo>
                    <a:cubicBezTo>
                      <a:pt x="40" y="111"/>
                      <a:pt x="42" y="111"/>
                      <a:pt x="42" y="110"/>
                    </a:cubicBezTo>
                    <a:close/>
                    <a:moveTo>
                      <a:pt x="36" y="120"/>
                    </a:moveTo>
                    <a:cubicBezTo>
                      <a:pt x="36" y="120"/>
                      <a:pt x="36" y="120"/>
                      <a:pt x="36" y="120"/>
                    </a:cubicBezTo>
                    <a:cubicBezTo>
                      <a:pt x="37" y="119"/>
                      <a:pt x="36" y="118"/>
                      <a:pt x="35" y="117"/>
                    </a:cubicBezTo>
                    <a:cubicBezTo>
                      <a:pt x="34" y="116"/>
                      <a:pt x="33" y="117"/>
                      <a:pt x="33" y="118"/>
                    </a:cubicBezTo>
                    <a:cubicBezTo>
                      <a:pt x="32" y="118"/>
                      <a:pt x="32" y="118"/>
                      <a:pt x="32" y="118"/>
                    </a:cubicBezTo>
                    <a:cubicBezTo>
                      <a:pt x="32" y="119"/>
                      <a:pt x="32" y="120"/>
                      <a:pt x="33" y="121"/>
                    </a:cubicBezTo>
                    <a:cubicBezTo>
                      <a:pt x="34" y="121"/>
                      <a:pt x="35" y="121"/>
                      <a:pt x="36" y="120"/>
                    </a:cubicBezTo>
                    <a:close/>
                    <a:moveTo>
                      <a:pt x="30" y="131"/>
                    </a:moveTo>
                    <a:cubicBezTo>
                      <a:pt x="30" y="131"/>
                      <a:pt x="30" y="131"/>
                      <a:pt x="30" y="131"/>
                    </a:cubicBezTo>
                    <a:cubicBezTo>
                      <a:pt x="31" y="130"/>
                      <a:pt x="30" y="128"/>
                      <a:pt x="29" y="128"/>
                    </a:cubicBezTo>
                    <a:cubicBezTo>
                      <a:pt x="28" y="127"/>
                      <a:pt x="27" y="128"/>
                      <a:pt x="26" y="129"/>
                    </a:cubicBezTo>
                    <a:cubicBezTo>
                      <a:pt x="26" y="129"/>
                      <a:pt x="26" y="129"/>
                      <a:pt x="26" y="129"/>
                    </a:cubicBezTo>
                    <a:cubicBezTo>
                      <a:pt x="26" y="130"/>
                      <a:pt x="26" y="131"/>
                      <a:pt x="27" y="132"/>
                    </a:cubicBezTo>
                    <a:cubicBezTo>
                      <a:pt x="28" y="132"/>
                      <a:pt x="29" y="132"/>
                      <a:pt x="30" y="131"/>
                    </a:cubicBezTo>
                    <a:close/>
                    <a:moveTo>
                      <a:pt x="25" y="142"/>
                    </a:moveTo>
                    <a:cubicBezTo>
                      <a:pt x="25" y="142"/>
                      <a:pt x="25" y="142"/>
                      <a:pt x="25" y="142"/>
                    </a:cubicBezTo>
                    <a:cubicBezTo>
                      <a:pt x="25" y="141"/>
                      <a:pt x="25" y="139"/>
                      <a:pt x="24" y="139"/>
                    </a:cubicBezTo>
                    <a:cubicBezTo>
                      <a:pt x="23" y="139"/>
                      <a:pt x="21" y="139"/>
                      <a:pt x="21" y="140"/>
                    </a:cubicBezTo>
                    <a:cubicBezTo>
                      <a:pt x="21" y="140"/>
                      <a:pt x="21" y="140"/>
                      <a:pt x="21" y="140"/>
                    </a:cubicBezTo>
                    <a:cubicBezTo>
                      <a:pt x="20" y="141"/>
                      <a:pt x="21" y="143"/>
                      <a:pt x="22" y="143"/>
                    </a:cubicBezTo>
                    <a:cubicBezTo>
                      <a:pt x="23" y="143"/>
                      <a:pt x="24" y="143"/>
                      <a:pt x="25" y="142"/>
                    </a:cubicBezTo>
                    <a:close/>
                    <a:moveTo>
                      <a:pt x="20" y="153"/>
                    </a:moveTo>
                    <a:cubicBezTo>
                      <a:pt x="20" y="153"/>
                      <a:pt x="20" y="153"/>
                      <a:pt x="20" y="153"/>
                    </a:cubicBezTo>
                    <a:cubicBezTo>
                      <a:pt x="20" y="152"/>
                      <a:pt x="20" y="151"/>
                      <a:pt x="19" y="150"/>
                    </a:cubicBezTo>
                    <a:cubicBezTo>
                      <a:pt x="18" y="150"/>
                      <a:pt x="17" y="151"/>
                      <a:pt x="16" y="152"/>
                    </a:cubicBezTo>
                    <a:cubicBezTo>
                      <a:pt x="16" y="152"/>
                      <a:pt x="16" y="152"/>
                      <a:pt x="16" y="152"/>
                    </a:cubicBezTo>
                    <a:cubicBezTo>
                      <a:pt x="16" y="153"/>
                      <a:pt x="16" y="154"/>
                      <a:pt x="17" y="155"/>
                    </a:cubicBezTo>
                    <a:cubicBezTo>
                      <a:pt x="18" y="155"/>
                      <a:pt x="19" y="154"/>
                      <a:pt x="20" y="153"/>
                    </a:cubicBezTo>
                    <a:close/>
                    <a:moveTo>
                      <a:pt x="16" y="165"/>
                    </a:moveTo>
                    <a:cubicBezTo>
                      <a:pt x="16" y="165"/>
                      <a:pt x="16" y="165"/>
                      <a:pt x="16" y="165"/>
                    </a:cubicBezTo>
                    <a:cubicBezTo>
                      <a:pt x="16" y="164"/>
                      <a:pt x="15" y="162"/>
                      <a:pt x="14" y="162"/>
                    </a:cubicBezTo>
                    <a:cubicBezTo>
                      <a:pt x="13" y="162"/>
                      <a:pt x="12" y="162"/>
                      <a:pt x="12" y="163"/>
                    </a:cubicBezTo>
                    <a:cubicBezTo>
                      <a:pt x="12" y="164"/>
                      <a:pt x="12" y="164"/>
                      <a:pt x="12" y="164"/>
                    </a:cubicBezTo>
                    <a:cubicBezTo>
                      <a:pt x="11" y="165"/>
                      <a:pt x="12" y="166"/>
                      <a:pt x="13" y="166"/>
                    </a:cubicBezTo>
                    <a:cubicBezTo>
                      <a:pt x="14" y="167"/>
                      <a:pt x="15" y="166"/>
                      <a:pt x="16" y="165"/>
                    </a:cubicBezTo>
                    <a:close/>
                    <a:moveTo>
                      <a:pt x="12" y="177"/>
                    </a:moveTo>
                    <a:cubicBezTo>
                      <a:pt x="12" y="176"/>
                      <a:pt x="12" y="176"/>
                      <a:pt x="12" y="176"/>
                    </a:cubicBezTo>
                    <a:cubicBezTo>
                      <a:pt x="12" y="175"/>
                      <a:pt x="12" y="174"/>
                      <a:pt x="11" y="174"/>
                    </a:cubicBezTo>
                    <a:cubicBezTo>
                      <a:pt x="10" y="174"/>
                      <a:pt x="9" y="174"/>
                      <a:pt x="8" y="175"/>
                    </a:cubicBezTo>
                    <a:cubicBezTo>
                      <a:pt x="8" y="176"/>
                      <a:pt x="8" y="176"/>
                      <a:pt x="8" y="176"/>
                    </a:cubicBezTo>
                    <a:cubicBezTo>
                      <a:pt x="8" y="177"/>
                      <a:pt x="9" y="178"/>
                      <a:pt x="10" y="178"/>
                    </a:cubicBezTo>
                    <a:cubicBezTo>
                      <a:pt x="11" y="179"/>
                      <a:pt x="12" y="178"/>
                      <a:pt x="12" y="177"/>
                    </a:cubicBezTo>
                    <a:close/>
                    <a:moveTo>
                      <a:pt x="9" y="189"/>
                    </a:moveTo>
                    <a:cubicBezTo>
                      <a:pt x="9" y="188"/>
                      <a:pt x="9" y="188"/>
                      <a:pt x="9" y="188"/>
                    </a:cubicBezTo>
                    <a:cubicBezTo>
                      <a:pt x="10" y="187"/>
                      <a:pt x="9" y="186"/>
                      <a:pt x="8" y="186"/>
                    </a:cubicBezTo>
                    <a:cubicBezTo>
                      <a:pt x="7" y="186"/>
                      <a:pt x="6" y="187"/>
                      <a:pt x="5" y="188"/>
                    </a:cubicBezTo>
                    <a:cubicBezTo>
                      <a:pt x="5" y="188"/>
                      <a:pt x="5" y="188"/>
                      <a:pt x="5" y="188"/>
                    </a:cubicBezTo>
                    <a:cubicBezTo>
                      <a:pt x="5" y="189"/>
                      <a:pt x="6" y="190"/>
                      <a:pt x="7" y="190"/>
                    </a:cubicBezTo>
                    <a:cubicBezTo>
                      <a:pt x="8" y="191"/>
                      <a:pt x="9" y="190"/>
                      <a:pt x="9" y="189"/>
                    </a:cubicBezTo>
                    <a:close/>
                    <a:moveTo>
                      <a:pt x="7" y="201"/>
                    </a:moveTo>
                    <a:cubicBezTo>
                      <a:pt x="7" y="201"/>
                      <a:pt x="7" y="201"/>
                      <a:pt x="7" y="201"/>
                    </a:cubicBezTo>
                    <a:cubicBezTo>
                      <a:pt x="7" y="199"/>
                      <a:pt x="6" y="198"/>
                      <a:pt x="5" y="198"/>
                    </a:cubicBezTo>
                    <a:cubicBezTo>
                      <a:pt x="4" y="198"/>
                      <a:pt x="3" y="199"/>
                      <a:pt x="3" y="200"/>
                    </a:cubicBezTo>
                    <a:cubicBezTo>
                      <a:pt x="3" y="200"/>
                      <a:pt x="3" y="200"/>
                      <a:pt x="3" y="200"/>
                    </a:cubicBezTo>
                    <a:cubicBezTo>
                      <a:pt x="3" y="201"/>
                      <a:pt x="4" y="202"/>
                      <a:pt x="5" y="203"/>
                    </a:cubicBezTo>
                    <a:cubicBezTo>
                      <a:pt x="6" y="203"/>
                      <a:pt x="7" y="202"/>
                      <a:pt x="7" y="201"/>
                    </a:cubicBezTo>
                    <a:close/>
                    <a:moveTo>
                      <a:pt x="5" y="213"/>
                    </a:moveTo>
                    <a:cubicBezTo>
                      <a:pt x="5" y="213"/>
                      <a:pt x="5" y="213"/>
                      <a:pt x="5" y="213"/>
                    </a:cubicBezTo>
                    <a:cubicBezTo>
                      <a:pt x="5" y="212"/>
                      <a:pt x="5" y="211"/>
                      <a:pt x="4" y="211"/>
                    </a:cubicBezTo>
                    <a:cubicBezTo>
                      <a:pt x="2" y="210"/>
                      <a:pt x="2" y="211"/>
                      <a:pt x="1" y="212"/>
                    </a:cubicBezTo>
                    <a:cubicBezTo>
                      <a:pt x="1" y="213"/>
                      <a:pt x="1" y="213"/>
                      <a:pt x="1" y="213"/>
                    </a:cubicBezTo>
                    <a:cubicBezTo>
                      <a:pt x="1" y="214"/>
                      <a:pt x="2" y="215"/>
                      <a:pt x="3" y="215"/>
                    </a:cubicBezTo>
                    <a:cubicBezTo>
                      <a:pt x="4" y="215"/>
                      <a:pt x="5" y="214"/>
                      <a:pt x="5" y="213"/>
                    </a:cubicBezTo>
                    <a:close/>
                    <a:moveTo>
                      <a:pt x="4" y="225"/>
                    </a:moveTo>
                    <a:cubicBezTo>
                      <a:pt x="4" y="225"/>
                      <a:pt x="4" y="225"/>
                      <a:pt x="4" y="225"/>
                    </a:cubicBezTo>
                    <a:cubicBezTo>
                      <a:pt x="4" y="224"/>
                      <a:pt x="4" y="223"/>
                      <a:pt x="3" y="223"/>
                    </a:cubicBezTo>
                    <a:cubicBezTo>
                      <a:pt x="1" y="223"/>
                      <a:pt x="0" y="224"/>
                      <a:pt x="0" y="225"/>
                    </a:cubicBezTo>
                    <a:cubicBezTo>
                      <a:pt x="0" y="225"/>
                      <a:pt x="0" y="225"/>
                      <a:pt x="0" y="225"/>
                    </a:cubicBezTo>
                    <a:cubicBezTo>
                      <a:pt x="0" y="226"/>
                      <a:pt x="1" y="227"/>
                      <a:pt x="2" y="227"/>
                    </a:cubicBezTo>
                    <a:cubicBezTo>
                      <a:pt x="3" y="227"/>
                      <a:pt x="4" y="227"/>
                      <a:pt x="4" y="225"/>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sp>
            <p:nvSpPr>
              <p:cNvPr id="32" name="Freeform 87">
                <a:extLst>
                  <a:ext uri="{FF2B5EF4-FFF2-40B4-BE49-F238E27FC236}">
                    <a16:creationId xmlns:a16="http://schemas.microsoft.com/office/drawing/2014/main" id="{2FE72CE2-468F-5146-AC08-88307588A7C5}"/>
                  </a:ext>
                </a:extLst>
              </p:cNvPr>
              <p:cNvSpPr>
                <a:spLocks/>
              </p:cNvSpPr>
              <p:nvPr/>
            </p:nvSpPr>
            <p:spPr bwMode="auto">
              <a:xfrm>
                <a:off x="2507547" y="6238015"/>
                <a:ext cx="911037" cy="441155"/>
              </a:xfrm>
              <a:prstGeom prst="roundRect">
                <a:avLst/>
              </a:prstGeom>
              <a:solidFill>
                <a:srgbClr val="CEE5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endParaRPr lang="en-AU" sz="1079"/>
              </a:p>
            </p:txBody>
          </p:sp>
        </p:grpSp>
        <p:grpSp>
          <p:nvGrpSpPr>
            <p:cNvPr id="1419" name="Group 1418">
              <a:extLst>
                <a:ext uri="{FF2B5EF4-FFF2-40B4-BE49-F238E27FC236}">
                  <a16:creationId xmlns:a16="http://schemas.microsoft.com/office/drawing/2014/main" id="{1E9A0F16-957A-C75B-445E-2EA145BD4BF0}"/>
                </a:ext>
              </a:extLst>
            </p:cNvPr>
            <p:cNvGrpSpPr/>
            <p:nvPr/>
          </p:nvGrpSpPr>
          <p:grpSpPr>
            <a:xfrm>
              <a:off x="178540" y="3097877"/>
              <a:ext cx="6929219" cy="4516678"/>
              <a:chOff x="563599" y="3060438"/>
              <a:chExt cx="6223444" cy="4056632"/>
            </a:xfrm>
          </p:grpSpPr>
          <p:sp>
            <p:nvSpPr>
              <p:cNvPr id="1402" name="TextBox 1401">
                <a:extLst>
                  <a:ext uri="{FF2B5EF4-FFF2-40B4-BE49-F238E27FC236}">
                    <a16:creationId xmlns:a16="http://schemas.microsoft.com/office/drawing/2014/main" id="{8E1EEDC0-BCE9-B418-BF2C-6049248663F9}"/>
                  </a:ext>
                </a:extLst>
              </p:cNvPr>
              <p:cNvSpPr txBox="1"/>
              <p:nvPr/>
            </p:nvSpPr>
            <p:spPr>
              <a:xfrm>
                <a:off x="3443290" y="3538467"/>
                <a:ext cx="1649482" cy="635784"/>
              </a:xfrm>
              <a:prstGeom prst="rect">
                <a:avLst/>
              </a:prstGeom>
              <a:noFill/>
            </p:spPr>
            <p:txBody>
              <a:bodyPr wrap="square" rtlCol="0">
                <a:spAutoFit/>
              </a:bodyPr>
              <a:lstStyle/>
              <a:p>
                <a:pPr algn="ctr"/>
                <a:r>
                  <a:rPr lang="en-AU" sz="1000" b="1" dirty="0"/>
                  <a:t>Trafficable width:</a:t>
                </a:r>
                <a:br>
                  <a:rPr lang="en-AU" sz="1000" dirty="0"/>
                </a:br>
                <a:r>
                  <a:rPr lang="en-AU" sz="1000" dirty="0"/>
                  <a:t>sufficiently wide road for emergency vehicles </a:t>
                </a:r>
                <a:br>
                  <a:rPr lang="en-AU" sz="1000" dirty="0"/>
                </a:br>
                <a:r>
                  <a:rPr lang="en-AU" sz="1000" dirty="0"/>
                  <a:t>(~3.5m)</a:t>
                </a:r>
              </a:p>
            </p:txBody>
          </p:sp>
          <p:sp>
            <p:nvSpPr>
              <p:cNvPr id="1403" name="TextBox 1402">
                <a:extLst>
                  <a:ext uri="{FF2B5EF4-FFF2-40B4-BE49-F238E27FC236}">
                    <a16:creationId xmlns:a16="http://schemas.microsoft.com/office/drawing/2014/main" id="{4416F0FF-006B-117F-5570-FAA22B32C5B0}"/>
                  </a:ext>
                </a:extLst>
              </p:cNvPr>
              <p:cNvSpPr txBox="1"/>
              <p:nvPr/>
            </p:nvSpPr>
            <p:spPr>
              <a:xfrm rot="5400000">
                <a:off x="2980111" y="3718603"/>
                <a:ext cx="640556" cy="246221"/>
              </a:xfrm>
              <a:prstGeom prst="rect">
                <a:avLst/>
              </a:prstGeom>
              <a:noFill/>
            </p:spPr>
            <p:txBody>
              <a:bodyPr wrap="square" rtlCol="0">
                <a:spAutoFit/>
              </a:bodyPr>
              <a:lstStyle/>
              <a:p>
                <a:pPr algn="ctr"/>
                <a:r>
                  <a:rPr lang="en-AU" sz="1000" dirty="0"/>
                  <a:t>Access</a:t>
                </a:r>
                <a:endParaRPr lang="en-AU" sz="1000" b="1" dirty="0"/>
              </a:p>
            </p:txBody>
          </p:sp>
          <p:sp>
            <p:nvSpPr>
              <p:cNvPr id="1404" name="TextBox 1403">
                <a:extLst>
                  <a:ext uri="{FF2B5EF4-FFF2-40B4-BE49-F238E27FC236}">
                    <a16:creationId xmlns:a16="http://schemas.microsoft.com/office/drawing/2014/main" id="{BE4EAF3E-5739-F42C-0DB5-0AEE9E7C11C6}"/>
                  </a:ext>
                </a:extLst>
              </p:cNvPr>
              <p:cNvSpPr txBox="1"/>
              <p:nvPr/>
            </p:nvSpPr>
            <p:spPr>
              <a:xfrm rot="5400000">
                <a:off x="5389185" y="3718603"/>
                <a:ext cx="849924" cy="246221"/>
              </a:xfrm>
              <a:prstGeom prst="rect">
                <a:avLst/>
              </a:prstGeom>
              <a:noFill/>
            </p:spPr>
            <p:txBody>
              <a:bodyPr wrap="square" rtlCol="0">
                <a:spAutoFit/>
              </a:bodyPr>
              <a:lstStyle/>
              <a:p>
                <a:pPr algn="ctr"/>
                <a:r>
                  <a:rPr lang="en-AU" sz="1000" dirty="0"/>
                  <a:t>Crossover</a:t>
                </a:r>
                <a:endParaRPr lang="en-AU" sz="1000" b="1" dirty="0"/>
              </a:p>
            </p:txBody>
          </p:sp>
          <p:sp>
            <p:nvSpPr>
              <p:cNvPr id="1405" name="TextBox 1404">
                <a:extLst>
                  <a:ext uri="{FF2B5EF4-FFF2-40B4-BE49-F238E27FC236}">
                    <a16:creationId xmlns:a16="http://schemas.microsoft.com/office/drawing/2014/main" id="{0253EACB-0BA4-2FAD-98BF-02206B3281F7}"/>
                  </a:ext>
                </a:extLst>
              </p:cNvPr>
              <p:cNvSpPr txBox="1"/>
              <p:nvPr/>
            </p:nvSpPr>
            <p:spPr>
              <a:xfrm rot="5400000">
                <a:off x="5179934" y="4952151"/>
                <a:ext cx="848124" cy="246221"/>
              </a:xfrm>
              <a:prstGeom prst="rect">
                <a:avLst/>
              </a:prstGeom>
              <a:noFill/>
            </p:spPr>
            <p:txBody>
              <a:bodyPr wrap="square" rtlCol="0">
                <a:spAutoFit/>
              </a:bodyPr>
              <a:lstStyle/>
              <a:p>
                <a:pPr algn="ctr"/>
                <a:r>
                  <a:rPr lang="en-AU" sz="1000" dirty="0"/>
                  <a:t>Nature strip</a:t>
                </a:r>
                <a:endParaRPr lang="en-AU" sz="1000" b="1" dirty="0"/>
              </a:p>
            </p:txBody>
          </p:sp>
          <p:sp>
            <p:nvSpPr>
              <p:cNvPr id="1406" name="TextBox 1405">
                <a:extLst>
                  <a:ext uri="{FF2B5EF4-FFF2-40B4-BE49-F238E27FC236}">
                    <a16:creationId xmlns:a16="http://schemas.microsoft.com/office/drawing/2014/main" id="{D09BABFE-5A88-DBA8-845D-8852350BF75A}"/>
                  </a:ext>
                </a:extLst>
              </p:cNvPr>
              <p:cNvSpPr txBox="1"/>
              <p:nvPr/>
            </p:nvSpPr>
            <p:spPr>
              <a:xfrm rot="5400000">
                <a:off x="4622696" y="4952150"/>
                <a:ext cx="848124" cy="246221"/>
              </a:xfrm>
              <a:prstGeom prst="rect">
                <a:avLst/>
              </a:prstGeom>
              <a:noFill/>
            </p:spPr>
            <p:txBody>
              <a:bodyPr wrap="square" rtlCol="0">
                <a:spAutoFit/>
              </a:bodyPr>
              <a:lstStyle/>
              <a:p>
                <a:pPr algn="ctr"/>
                <a:r>
                  <a:rPr lang="en-AU" sz="1000" dirty="0"/>
                  <a:t>Footpath</a:t>
                </a:r>
                <a:endParaRPr lang="en-AU" sz="1000" b="1" dirty="0"/>
              </a:p>
            </p:txBody>
          </p:sp>
          <p:sp>
            <p:nvSpPr>
              <p:cNvPr id="1407" name="TextBox 1406">
                <a:extLst>
                  <a:ext uri="{FF2B5EF4-FFF2-40B4-BE49-F238E27FC236}">
                    <a16:creationId xmlns:a16="http://schemas.microsoft.com/office/drawing/2014/main" id="{69B96D7E-8CD9-F37F-5A7A-CE1121573282}"/>
                  </a:ext>
                </a:extLst>
              </p:cNvPr>
              <p:cNvSpPr txBox="1"/>
              <p:nvPr/>
            </p:nvSpPr>
            <p:spPr>
              <a:xfrm rot="5400000">
                <a:off x="5562669" y="4952150"/>
                <a:ext cx="848124" cy="246221"/>
              </a:xfrm>
              <a:prstGeom prst="rect">
                <a:avLst/>
              </a:prstGeom>
              <a:noFill/>
            </p:spPr>
            <p:txBody>
              <a:bodyPr wrap="square" rtlCol="0">
                <a:spAutoFit/>
              </a:bodyPr>
              <a:lstStyle/>
              <a:p>
                <a:pPr algn="ctr"/>
                <a:r>
                  <a:rPr lang="en-AU" sz="1000" dirty="0"/>
                  <a:t>Kerb</a:t>
                </a:r>
                <a:endParaRPr lang="en-AU" sz="1000" b="1" dirty="0"/>
              </a:p>
            </p:txBody>
          </p:sp>
          <p:sp>
            <p:nvSpPr>
              <p:cNvPr id="1408" name="TextBox 1407">
                <a:extLst>
                  <a:ext uri="{FF2B5EF4-FFF2-40B4-BE49-F238E27FC236}">
                    <a16:creationId xmlns:a16="http://schemas.microsoft.com/office/drawing/2014/main" id="{96586911-0C77-32C8-8250-403B172CB45E}"/>
                  </a:ext>
                </a:extLst>
              </p:cNvPr>
              <p:cNvSpPr txBox="1"/>
              <p:nvPr/>
            </p:nvSpPr>
            <p:spPr>
              <a:xfrm>
                <a:off x="5685681" y="6870847"/>
                <a:ext cx="1101362" cy="246221"/>
              </a:xfrm>
              <a:prstGeom prst="rect">
                <a:avLst/>
              </a:prstGeom>
              <a:noFill/>
            </p:spPr>
            <p:txBody>
              <a:bodyPr wrap="square" rtlCol="0">
                <a:spAutoFit/>
              </a:bodyPr>
              <a:lstStyle/>
              <a:p>
                <a:pPr algn="ctr"/>
                <a:r>
                  <a:rPr lang="en-AU" sz="1000" b="1" dirty="0"/>
                  <a:t>Road reserve</a:t>
                </a:r>
              </a:p>
            </p:txBody>
          </p:sp>
          <p:sp>
            <p:nvSpPr>
              <p:cNvPr id="1409" name="TextBox 1408">
                <a:extLst>
                  <a:ext uri="{FF2B5EF4-FFF2-40B4-BE49-F238E27FC236}">
                    <a16:creationId xmlns:a16="http://schemas.microsoft.com/office/drawing/2014/main" id="{09F4B2B0-8BEA-7A87-F98D-2A2EE5894E6E}"/>
                  </a:ext>
                </a:extLst>
              </p:cNvPr>
              <p:cNvSpPr txBox="1"/>
              <p:nvPr/>
            </p:nvSpPr>
            <p:spPr>
              <a:xfrm>
                <a:off x="1250393" y="3060438"/>
                <a:ext cx="1304635" cy="246221"/>
              </a:xfrm>
              <a:prstGeom prst="rect">
                <a:avLst/>
              </a:prstGeom>
              <a:noFill/>
            </p:spPr>
            <p:txBody>
              <a:bodyPr wrap="square" rtlCol="0">
                <a:spAutoFit/>
              </a:bodyPr>
              <a:lstStyle/>
              <a:p>
                <a:r>
                  <a:rPr lang="en-AU" sz="1000" dirty="0"/>
                  <a:t>Lot Boundaries</a:t>
                </a:r>
              </a:p>
            </p:txBody>
          </p:sp>
          <p:sp>
            <p:nvSpPr>
              <p:cNvPr id="1410" name="TextBox 1409">
                <a:extLst>
                  <a:ext uri="{FF2B5EF4-FFF2-40B4-BE49-F238E27FC236}">
                    <a16:creationId xmlns:a16="http://schemas.microsoft.com/office/drawing/2014/main" id="{F25AAFB6-C8D8-E2B3-2240-E002410DCD97}"/>
                  </a:ext>
                </a:extLst>
              </p:cNvPr>
              <p:cNvSpPr txBox="1"/>
              <p:nvPr/>
            </p:nvSpPr>
            <p:spPr>
              <a:xfrm>
                <a:off x="1717109" y="3818492"/>
                <a:ext cx="1404352" cy="400110"/>
              </a:xfrm>
              <a:prstGeom prst="rect">
                <a:avLst/>
              </a:prstGeom>
              <a:noFill/>
            </p:spPr>
            <p:txBody>
              <a:bodyPr wrap="square" rtlCol="0">
                <a:spAutoFit/>
              </a:bodyPr>
              <a:lstStyle/>
              <a:p>
                <a:pPr algn="ctr"/>
                <a:r>
                  <a:rPr lang="en-AU" sz="1000" b="1" dirty="0"/>
                  <a:t>Outbuilding/</a:t>
                </a:r>
                <a:br>
                  <a:rPr lang="en-AU" sz="1000" b="1" dirty="0"/>
                </a:br>
                <a:r>
                  <a:rPr lang="en-AU" sz="1000" b="1" dirty="0"/>
                  <a:t>store</a:t>
                </a:r>
              </a:p>
            </p:txBody>
          </p:sp>
          <p:sp>
            <p:nvSpPr>
              <p:cNvPr id="1411" name="TextBox 1410">
                <a:extLst>
                  <a:ext uri="{FF2B5EF4-FFF2-40B4-BE49-F238E27FC236}">
                    <a16:creationId xmlns:a16="http://schemas.microsoft.com/office/drawing/2014/main" id="{3E924A61-902A-D963-FFBF-1603FB262236}"/>
                  </a:ext>
                </a:extLst>
              </p:cNvPr>
              <p:cNvSpPr txBox="1"/>
              <p:nvPr/>
            </p:nvSpPr>
            <p:spPr>
              <a:xfrm>
                <a:off x="563599" y="4018547"/>
                <a:ext cx="1258696" cy="553998"/>
              </a:xfrm>
              <a:prstGeom prst="rect">
                <a:avLst/>
              </a:prstGeom>
              <a:noFill/>
            </p:spPr>
            <p:txBody>
              <a:bodyPr wrap="square" rtlCol="0">
                <a:spAutoFit/>
              </a:bodyPr>
              <a:lstStyle/>
              <a:p>
                <a:pPr algn="ctr"/>
                <a:r>
                  <a:rPr lang="en-AU" sz="1000" dirty="0"/>
                  <a:t>Zone set aside for the </a:t>
                </a:r>
                <a:r>
                  <a:rPr lang="en-AU" sz="1000" b="1" dirty="0"/>
                  <a:t>protection,</a:t>
                </a:r>
                <a:br>
                  <a:rPr lang="en-AU" sz="1000" b="1" dirty="0"/>
                </a:br>
                <a:r>
                  <a:rPr lang="en-AU" sz="1000" b="1" dirty="0"/>
                  <a:t>of the tree</a:t>
                </a:r>
              </a:p>
            </p:txBody>
          </p:sp>
          <p:sp>
            <p:nvSpPr>
              <p:cNvPr id="1412" name="TextBox 1411">
                <a:extLst>
                  <a:ext uri="{FF2B5EF4-FFF2-40B4-BE49-F238E27FC236}">
                    <a16:creationId xmlns:a16="http://schemas.microsoft.com/office/drawing/2014/main" id="{56F64FAC-D593-E289-BD48-4E693CA8ECC9}"/>
                  </a:ext>
                </a:extLst>
              </p:cNvPr>
              <p:cNvSpPr txBox="1"/>
              <p:nvPr/>
            </p:nvSpPr>
            <p:spPr>
              <a:xfrm>
                <a:off x="624186" y="4990138"/>
                <a:ext cx="1318818" cy="635784"/>
              </a:xfrm>
              <a:prstGeom prst="rect">
                <a:avLst/>
              </a:prstGeom>
              <a:noFill/>
            </p:spPr>
            <p:txBody>
              <a:bodyPr wrap="square" rtlCol="0">
                <a:spAutoFit/>
              </a:bodyPr>
              <a:lstStyle/>
              <a:p>
                <a:pPr algn="ctr"/>
                <a:r>
                  <a:rPr lang="en-AU" sz="1000" b="1" dirty="0"/>
                  <a:t>Effluent disposal area: </a:t>
                </a:r>
                <a:r>
                  <a:rPr lang="en-AU" sz="1000" dirty="0"/>
                  <a:t>set aside for </a:t>
                </a:r>
                <a:br>
                  <a:rPr lang="en-AU" sz="1000" dirty="0"/>
                </a:br>
                <a:r>
                  <a:rPr lang="en-AU" sz="1000" dirty="0"/>
                  <a:t>the treatment of wastewater</a:t>
                </a:r>
              </a:p>
            </p:txBody>
          </p:sp>
          <p:sp>
            <p:nvSpPr>
              <p:cNvPr id="1413" name="TextBox 1412">
                <a:extLst>
                  <a:ext uri="{FF2B5EF4-FFF2-40B4-BE49-F238E27FC236}">
                    <a16:creationId xmlns:a16="http://schemas.microsoft.com/office/drawing/2014/main" id="{7DF45807-B2FE-5BD6-D283-0A6E28712FDB}"/>
                  </a:ext>
                </a:extLst>
              </p:cNvPr>
              <p:cNvSpPr txBox="1"/>
              <p:nvPr/>
            </p:nvSpPr>
            <p:spPr>
              <a:xfrm>
                <a:off x="880776" y="5955257"/>
                <a:ext cx="1352444" cy="497571"/>
              </a:xfrm>
              <a:prstGeom prst="rect">
                <a:avLst/>
              </a:prstGeom>
              <a:noFill/>
            </p:spPr>
            <p:txBody>
              <a:bodyPr wrap="square" rtlCol="0">
                <a:spAutoFit/>
              </a:bodyPr>
              <a:lstStyle/>
              <a:p>
                <a:pPr algn="ctr"/>
                <a:r>
                  <a:rPr lang="en-AU" sz="1000" b="1" dirty="0"/>
                  <a:t>Easement: </a:t>
                </a:r>
                <a:r>
                  <a:rPr lang="en-AU" sz="1000" dirty="0"/>
                  <a:t>area </a:t>
                </a:r>
                <a:br>
                  <a:rPr lang="en-AU" sz="1000" dirty="0"/>
                </a:br>
                <a:r>
                  <a:rPr lang="en-AU" sz="1000" dirty="0"/>
                  <a:t>with restrictions </a:t>
                </a:r>
                <a:br>
                  <a:rPr lang="en-AU" sz="1000" dirty="0"/>
                </a:br>
                <a:r>
                  <a:rPr lang="en-AU" sz="1000" dirty="0"/>
                  <a:t>and rights attached</a:t>
                </a:r>
              </a:p>
            </p:txBody>
          </p:sp>
          <p:sp>
            <p:nvSpPr>
              <p:cNvPr id="1414" name="TextBox 1413">
                <a:extLst>
                  <a:ext uri="{FF2B5EF4-FFF2-40B4-BE49-F238E27FC236}">
                    <a16:creationId xmlns:a16="http://schemas.microsoft.com/office/drawing/2014/main" id="{9C9E0B0C-8B70-707A-943C-91F22C26AF19}"/>
                  </a:ext>
                </a:extLst>
              </p:cNvPr>
              <p:cNvSpPr txBox="1"/>
              <p:nvPr/>
            </p:nvSpPr>
            <p:spPr>
              <a:xfrm>
                <a:off x="2636936" y="5222191"/>
                <a:ext cx="1360092" cy="635784"/>
              </a:xfrm>
              <a:prstGeom prst="rect">
                <a:avLst/>
              </a:prstGeom>
              <a:noFill/>
            </p:spPr>
            <p:txBody>
              <a:bodyPr wrap="square" rtlCol="0">
                <a:spAutoFit/>
              </a:bodyPr>
              <a:lstStyle/>
              <a:p>
                <a:pPr algn="ctr"/>
                <a:r>
                  <a:rPr lang="en-AU" sz="1000" b="1" dirty="0"/>
                  <a:t>Dwelling:</a:t>
                </a:r>
              </a:p>
              <a:p>
                <a:pPr algn="ctr"/>
                <a:r>
                  <a:rPr lang="en-AU" sz="1000" dirty="0"/>
                  <a:t>A self contained building with kitchen and sanitation facilities</a:t>
                </a:r>
              </a:p>
            </p:txBody>
          </p:sp>
          <p:sp>
            <p:nvSpPr>
              <p:cNvPr id="1415" name="TextBox 1414">
                <a:extLst>
                  <a:ext uri="{FF2B5EF4-FFF2-40B4-BE49-F238E27FC236}">
                    <a16:creationId xmlns:a16="http://schemas.microsoft.com/office/drawing/2014/main" id="{3D1886B6-F467-4A99-F986-88BE4FF25B16}"/>
                  </a:ext>
                </a:extLst>
              </p:cNvPr>
              <p:cNvSpPr txBox="1"/>
              <p:nvPr/>
            </p:nvSpPr>
            <p:spPr>
              <a:xfrm>
                <a:off x="2105238" y="6870849"/>
                <a:ext cx="1381082" cy="246221"/>
              </a:xfrm>
              <a:prstGeom prst="rect">
                <a:avLst/>
              </a:prstGeom>
              <a:noFill/>
            </p:spPr>
            <p:txBody>
              <a:bodyPr wrap="square" rtlCol="0">
                <a:spAutoFit/>
              </a:bodyPr>
              <a:lstStyle/>
              <a:p>
                <a:pPr algn="ctr"/>
                <a:r>
                  <a:rPr lang="en-AU" sz="1000" b="1" dirty="0"/>
                  <a:t>Private property</a:t>
                </a:r>
              </a:p>
            </p:txBody>
          </p:sp>
          <p:sp>
            <p:nvSpPr>
              <p:cNvPr id="1416" name="Rectangle 100">
                <a:extLst>
                  <a:ext uri="{FF2B5EF4-FFF2-40B4-BE49-F238E27FC236}">
                    <a16:creationId xmlns:a16="http://schemas.microsoft.com/office/drawing/2014/main" id="{C3B4FB75-EA2E-2AC3-DEC0-9AC9B775DE71}"/>
                  </a:ext>
                </a:extLst>
              </p:cNvPr>
              <p:cNvSpPr>
                <a:spLocks noChangeArrowheads="1"/>
              </p:cNvSpPr>
              <p:nvPr/>
            </p:nvSpPr>
            <p:spPr bwMode="auto">
              <a:xfrm>
                <a:off x="2525610" y="6301757"/>
                <a:ext cx="89749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ctr" defTabSz="986912"/>
                <a:r>
                  <a:rPr lang="en-US" altLang="en-US" sz="1000" b="1" dirty="0">
                    <a:solidFill>
                      <a:srgbClr val="000000"/>
                    </a:solidFill>
                  </a:rPr>
                  <a:t>Reticulated water supply</a:t>
                </a:r>
                <a:endParaRPr lang="en-US" altLang="en-US" sz="1000" dirty="0"/>
              </a:p>
            </p:txBody>
          </p:sp>
          <p:sp>
            <p:nvSpPr>
              <p:cNvPr id="1417" name="Rectangle 100">
                <a:extLst>
                  <a:ext uri="{FF2B5EF4-FFF2-40B4-BE49-F238E27FC236}">
                    <a16:creationId xmlns:a16="http://schemas.microsoft.com/office/drawing/2014/main" id="{90E95249-DD19-E8FD-173D-97563E4BA40F}"/>
                  </a:ext>
                </a:extLst>
              </p:cNvPr>
              <p:cNvSpPr>
                <a:spLocks noChangeArrowheads="1"/>
              </p:cNvSpPr>
              <p:nvPr/>
            </p:nvSpPr>
            <p:spPr bwMode="auto">
              <a:xfrm>
                <a:off x="4015783" y="4401014"/>
                <a:ext cx="732668"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ctr" defTabSz="986912"/>
                <a:r>
                  <a:rPr lang="en-US" altLang="en-US" sz="1000" dirty="0">
                    <a:solidFill>
                      <a:srgbClr val="000000"/>
                    </a:solidFill>
                  </a:rPr>
                  <a:t>Proposed for </a:t>
                </a:r>
                <a:r>
                  <a:rPr lang="en-US" altLang="en-US" sz="1000" b="1" dirty="0">
                    <a:solidFill>
                      <a:srgbClr val="000000"/>
                    </a:solidFill>
                  </a:rPr>
                  <a:t>vegetation removal</a:t>
                </a:r>
                <a:endParaRPr lang="en-US" altLang="en-US" sz="1000" b="1" dirty="0"/>
              </a:p>
            </p:txBody>
          </p:sp>
          <p:sp>
            <p:nvSpPr>
              <p:cNvPr id="1418" name="Rectangle 100">
                <a:extLst>
                  <a:ext uri="{FF2B5EF4-FFF2-40B4-BE49-F238E27FC236}">
                    <a16:creationId xmlns:a16="http://schemas.microsoft.com/office/drawing/2014/main" id="{B1C266DA-6C66-57AF-7EA5-14A5A1A8DB21}"/>
                  </a:ext>
                </a:extLst>
              </p:cNvPr>
              <p:cNvSpPr>
                <a:spLocks noChangeArrowheads="1"/>
              </p:cNvSpPr>
              <p:nvPr/>
            </p:nvSpPr>
            <p:spPr bwMode="auto">
              <a:xfrm>
                <a:off x="3937888" y="6170624"/>
                <a:ext cx="888458" cy="414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algn="ctr" defTabSz="986912"/>
                <a:r>
                  <a:rPr lang="en-US" altLang="en-US" sz="1000" b="1" dirty="0">
                    <a:solidFill>
                      <a:srgbClr val="000000"/>
                    </a:solidFill>
                  </a:rPr>
                  <a:t>Setbacks</a:t>
                </a:r>
                <a:r>
                  <a:rPr lang="en-US" altLang="en-US" sz="1000" dirty="0">
                    <a:solidFill>
                      <a:srgbClr val="000000"/>
                    </a:solidFill>
                  </a:rPr>
                  <a:t>: the distance to the </a:t>
                </a:r>
                <a:br>
                  <a:rPr lang="en-US" altLang="en-US" sz="1000" dirty="0">
                    <a:solidFill>
                      <a:srgbClr val="000000"/>
                    </a:solidFill>
                  </a:rPr>
                </a:br>
                <a:r>
                  <a:rPr lang="en-US" altLang="en-US" sz="1000" dirty="0">
                    <a:solidFill>
                      <a:srgbClr val="000000"/>
                    </a:solidFill>
                  </a:rPr>
                  <a:t>lot boundary</a:t>
                </a:r>
                <a:endParaRPr lang="en-US" altLang="en-US" sz="1000" dirty="0"/>
              </a:p>
            </p:txBody>
          </p:sp>
        </p:grpSp>
      </p:grpSp>
      <p:sp>
        <p:nvSpPr>
          <p:cNvPr id="3" name="Content Placeholder 2">
            <a:extLst>
              <a:ext uri="{FF2B5EF4-FFF2-40B4-BE49-F238E27FC236}">
                <a16:creationId xmlns:a16="http://schemas.microsoft.com/office/drawing/2014/main" id="{EF204A55-D2E0-E180-5D94-7599DC89CF23}"/>
              </a:ext>
            </a:extLst>
          </p:cNvPr>
          <p:cNvSpPr txBox="1">
            <a:spLocks/>
          </p:cNvSpPr>
          <p:nvPr/>
        </p:nvSpPr>
        <p:spPr>
          <a:xfrm>
            <a:off x="472058" y="9737742"/>
            <a:ext cx="6356918" cy="561250"/>
          </a:xfrm>
          <a:prstGeom prst="rect">
            <a:avLst/>
          </a:prstGeom>
        </p:spPr>
        <p:txBody>
          <a:bodyPr vert="horz" lIns="0" tIns="0" rIns="0" bIns="0" rtlCol="0">
            <a:noAutofit/>
          </a:bodyPr>
          <a:lstStyle>
            <a:lvl1pPr marL="0" indent="0" algn="l" defTabSz="685800" rtl="0" eaLnBrk="1" latinLnBrk="0" hangingPunct="1">
              <a:lnSpc>
                <a:spcPct val="100000"/>
              </a:lnSpc>
              <a:spcBef>
                <a:spcPts val="450"/>
              </a:spcBef>
              <a:buFont typeface="Arial" panose="020B0604020202020204" pitchFamily="34" charset="0"/>
              <a:buNone/>
              <a:defRPr sz="1350" b="1" kern="1200">
                <a:solidFill>
                  <a:schemeClr val="accent6"/>
                </a:solidFill>
                <a:latin typeface="+mn-lt"/>
                <a:ea typeface="+mn-ea"/>
                <a:cs typeface="+mn-cs"/>
              </a:defRPr>
            </a:lvl1pPr>
            <a:lvl2pPr marL="0" indent="0" algn="l" defTabSz="685800" rtl="0" eaLnBrk="1" latinLnBrk="0" hangingPunct="1">
              <a:lnSpc>
                <a:spcPct val="100000"/>
              </a:lnSpc>
              <a:spcBef>
                <a:spcPts val="450"/>
              </a:spcBef>
              <a:buFont typeface="Arial" panose="020B0604020202020204" pitchFamily="34" charset="0"/>
              <a:buNone/>
              <a:defRPr sz="1350" kern="1200">
                <a:solidFill>
                  <a:schemeClr val="accent6"/>
                </a:solidFill>
                <a:latin typeface="+mn-lt"/>
                <a:ea typeface="+mn-ea"/>
                <a:cs typeface="+mn-cs"/>
              </a:defRPr>
            </a:lvl2pPr>
            <a:lvl3pPr marL="135000" indent="-135000" algn="l" defTabSz="685800" rtl="0" eaLnBrk="1" latinLnBrk="0" hangingPunct="1">
              <a:lnSpc>
                <a:spcPct val="100000"/>
              </a:lnSpc>
              <a:spcBef>
                <a:spcPts val="450"/>
              </a:spcBef>
              <a:buClr>
                <a:schemeClr val="accent3"/>
              </a:buClr>
              <a:buFont typeface="Arial" panose="020B0604020202020204" pitchFamily="34" charset="0"/>
              <a:buChar char="•"/>
              <a:defRPr sz="1350" kern="1200">
                <a:solidFill>
                  <a:schemeClr val="accent6"/>
                </a:solidFill>
                <a:latin typeface="+mn-lt"/>
                <a:ea typeface="+mn-ea"/>
                <a:cs typeface="+mn-cs"/>
              </a:defRPr>
            </a:lvl3pPr>
            <a:lvl4pPr marL="270000" indent="-135000" algn="l" defTabSz="685800" rtl="0" eaLnBrk="1" latinLnBrk="0" hangingPunct="1">
              <a:lnSpc>
                <a:spcPct val="100000"/>
              </a:lnSpc>
              <a:spcBef>
                <a:spcPts val="900"/>
              </a:spcBef>
              <a:spcAft>
                <a:spcPts val="900"/>
              </a:spcAft>
              <a:buClr>
                <a:schemeClr val="accent2"/>
              </a:buClr>
              <a:buFont typeface="Arial" panose="020B0604020202020204" pitchFamily="34" charset="0"/>
              <a:buChar char="•"/>
              <a:defRPr sz="1350" b="0" i="0" kern="1200">
                <a:solidFill>
                  <a:schemeClr val="accent6"/>
                </a:solidFill>
                <a:latin typeface="+mn-lt"/>
                <a:ea typeface="+mn-ea"/>
                <a:cs typeface="+mn-cs"/>
              </a:defRPr>
            </a:lvl4pPr>
            <a:lvl5pPr marL="0" indent="0" algn="l" defTabSz="685800" rtl="0" eaLnBrk="1" latinLnBrk="0" hangingPunct="1">
              <a:lnSpc>
                <a:spcPct val="100000"/>
              </a:lnSpc>
              <a:spcBef>
                <a:spcPts val="450"/>
              </a:spcBef>
              <a:buFont typeface="Arial" panose="020B0604020202020204" pitchFamily="34" charset="0"/>
              <a:buNone/>
              <a:defRPr sz="1050" b="1" kern="1200">
                <a:solidFill>
                  <a:schemeClr val="accent6"/>
                </a:solidFill>
                <a:latin typeface="+mn-lt"/>
                <a:ea typeface="+mn-ea"/>
                <a:cs typeface="+mn-cs"/>
              </a:defRPr>
            </a:lvl5pPr>
            <a:lvl6pPr marL="0" indent="0" algn="l" defTabSz="685800" rtl="0" eaLnBrk="1" latinLnBrk="0" hangingPunct="1">
              <a:lnSpc>
                <a:spcPct val="100000"/>
              </a:lnSpc>
              <a:spcBef>
                <a:spcPts val="450"/>
              </a:spcBef>
              <a:buFont typeface="Arial" panose="020B0604020202020204" pitchFamily="34" charset="0"/>
              <a:buNone/>
              <a:defRPr sz="1050" kern="1200">
                <a:solidFill>
                  <a:schemeClr val="tx1"/>
                </a:solidFill>
                <a:latin typeface="+mn-lt"/>
                <a:ea typeface="+mn-ea"/>
                <a:cs typeface="+mn-cs"/>
              </a:defRPr>
            </a:lvl6pPr>
            <a:lvl7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7pPr>
            <a:lvl8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8pPr>
            <a:lvl9pPr marL="0" indent="0" algn="l" defTabSz="685800" rtl="0" eaLnBrk="1" latinLnBrk="0" hangingPunct="1">
              <a:lnSpc>
                <a:spcPct val="100000"/>
              </a:lnSpc>
              <a:spcBef>
                <a:spcPts val="450"/>
              </a:spcBef>
              <a:buFont typeface="Arial" panose="020B0604020202020204" pitchFamily="34" charset="0"/>
              <a:buNone/>
              <a:defRPr sz="1350" kern="1200">
                <a:solidFill>
                  <a:schemeClr val="tx1"/>
                </a:solidFill>
                <a:latin typeface="+mn-lt"/>
                <a:ea typeface="+mn-ea"/>
                <a:cs typeface="+mn-cs"/>
              </a:defRPr>
            </a:lvl9pPr>
          </a:lstStyle>
          <a:p>
            <a:r>
              <a:rPr lang="en-AU" sz="1079" b="0" i="1"/>
              <a:t>Disclaimer: This glossary is intended to support new permit applicants and should not be used instead of the planning scheme terms at Clause 73 of the </a:t>
            </a:r>
            <a:r>
              <a:rPr lang="en-AU" sz="1079" b="0" i="1">
                <a:highlight>
                  <a:srgbClr val="FFFF00"/>
                </a:highlight>
              </a:rPr>
              <a:t>XXXXX</a:t>
            </a:r>
            <a:r>
              <a:rPr lang="en-AU" sz="1079" b="0" i="1"/>
              <a:t> Planning Scheme. Where there are slight differences in terminology, we recommend deferring to the planning scheme definitions.</a:t>
            </a:r>
          </a:p>
          <a:p>
            <a:endParaRPr lang="en-AU" sz="1079" b="0"/>
          </a:p>
          <a:p>
            <a:endParaRPr lang="en-AU" sz="1295" b="0"/>
          </a:p>
        </p:txBody>
      </p:sp>
      <p:sp>
        <p:nvSpPr>
          <p:cNvPr id="4" name="Slide Number Placeholder 3">
            <a:extLst>
              <a:ext uri="{FF2B5EF4-FFF2-40B4-BE49-F238E27FC236}">
                <a16:creationId xmlns:a16="http://schemas.microsoft.com/office/drawing/2014/main" id="{266AEEAF-260E-01AD-67F6-9774A18E0DAD}"/>
              </a:ext>
              <a:ext uri="{C183D7F6-B498-43B3-948B-1728B52AA6E4}">
                <adec:decorative xmlns:adec="http://schemas.microsoft.com/office/drawing/2017/decorative" val="1"/>
              </a:ext>
            </a:extLst>
          </p:cNvPr>
          <p:cNvSpPr>
            <a:spLocks noGrp="1"/>
          </p:cNvSpPr>
          <p:nvPr>
            <p:ph type="sldNum" sz="quarter" idx="12"/>
          </p:nvPr>
        </p:nvSpPr>
        <p:spPr/>
        <p:txBody>
          <a:bodyPr/>
          <a:lstStyle/>
          <a:p>
            <a:r>
              <a:rPr lang="en-GB"/>
              <a:t>Page </a:t>
            </a:r>
            <a:fld id="{F5AEA0E0-5CC6-4BD0-905C-A0021E419432}" type="slidenum">
              <a:rPr lang="en-GB" smtClean="0"/>
              <a:pPr/>
              <a:t>7</a:t>
            </a:fld>
            <a:endParaRPr lang="en-GB"/>
          </a:p>
        </p:txBody>
      </p:sp>
    </p:spTree>
    <p:extLst>
      <p:ext uri="{BB962C8B-B14F-4D97-AF65-F5344CB8AC3E}">
        <p14:creationId xmlns:p14="http://schemas.microsoft.com/office/powerpoint/2010/main" val="92468993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partment of Transport and Planning">
  <a:themeElements>
    <a:clrScheme name="DoTP-Reshuffle">
      <a:dk1>
        <a:sysClr val="windowText" lastClr="000000"/>
      </a:dk1>
      <a:lt1>
        <a:sysClr val="window" lastClr="FFFFFF"/>
      </a:lt1>
      <a:dk2>
        <a:srgbClr val="00B2A9"/>
      </a:dk2>
      <a:lt2>
        <a:srgbClr val="E1EEF9"/>
      </a:lt2>
      <a:accent1>
        <a:srgbClr val="CEDC00"/>
      </a:accent1>
      <a:accent2>
        <a:srgbClr val="FF9E1B"/>
      </a:accent2>
      <a:accent3>
        <a:srgbClr val="59CDC7"/>
      </a:accent3>
      <a:accent4>
        <a:srgbClr val="B2E8E5"/>
      </a:accent4>
      <a:accent5>
        <a:srgbClr val="009CA1"/>
      </a:accent5>
      <a:accent6>
        <a:srgbClr val="53565A"/>
      </a:accent6>
      <a:hlink>
        <a:srgbClr val="000000"/>
      </a:hlink>
      <a:folHlink>
        <a:srgbClr val="53565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PA Application Preparation guide.potx" id="{0CD30903-DACF-4ED7-ABA5-71807C8A74DF}" vid="{3885FE17-0E1C-417A-ABDD-A91A87F3AF6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3dcb25b9-5e2a-4cbc-a1d6-f53ee7652e42">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942BB819AAA975489E33CF0F50496490" ma:contentTypeVersion="10" ma:contentTypeDescription="Create a new document." ma:contentTypeScope="" ma:versionID="e8aed1a0a979e0d4bd7ee35307791cd5">
  <xsd:schema xmlns:xsd="http://www.w3.org/2001/XMLSchema" xmlns:xs="http://www.w3.org/2001/XMLSchema" xmlns:p="http://schemas.microsoft.com/office/2006/metadata/properties" xmlns:ns2="3dcb25b9-5e2a-4cbc-a1d6-f53ee7652e42" targetNamespace="http://schemas.microsoft.com/office/2006/metadata/properties" ma:root="true" ma:fieldsID="bdac9d7d3ad936dc420253b2d2cf3a3d" ns2:_="">
    <xsd:import namespace="3dcb25b9-5e2a-4cbc-a1d6-f53ee7652e42"/>
    <xsd:element name="properties">
      <xsd:complexType>
        <xsd:sequence>
          <xsd:element name="documentManagement">
            <xsd:complexType>
              <xsd:all>
                <xsd:element ref="ns2:lcf76f155ced4ddcb4097134ff3c332f" minOccurs="0"/>
                <xsd:element ref="ns2:MediaServiceMetadata" minOccurs="0"/>
                <xsd:element ref="ns2:MediaServiceFastMetadata" minOccurs="0"/>
                <xsd:element ref="ns2:MediaServiceDateTaken" minOccurs="0"/>
                <xsd:element ref="ns2:MediaServiceOCR" minOccurs="0"/>
                <xsd:element ref="ns2:MediaServiceGenerationTime" minOccurs="0"/>
                <xsd:element ref="ns2:MediaServiceEventHashCode" minOccurs="0"/>
                <xsd:element ref="ns2:MediaServiceObjectDetectorVersion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dcb25b9-5e2a-4cbc-a1d6-f53ee7652e42" elementFormDefault="qualified">
    <xsd:import namespace="http://schemas.microsoft.com/office/2006/documentManagement/types"/>
    <xsd:import namespace="http://schemas.microsoft.com/office/infopath/2007/PartnerControls"/>
    <xsd:element name="lcf76f155ced4ddcb4097134ff3c332f" ma:index="9" nillable="true" ma:taxonomy="true" ma:internalName="lcf76f155ced4ddcb4097134ff3c332f" ma:taxonomyFieldName="MediaServiceImageTags" ma:displayName="Image Tags" ma:readOnly="false" ma:fieldId="{5cf76f15-5ced-4ddc-b409-7134ff3c332f}" ma:taxonomyMulti="true" ma:sspId="62a39602-bab5-4ac0-a14f-71daef3a2535" ma:termSetId="09814cd3-568e-fe90-9814-8d621ff8fb84" ma:anchorId="fba54fb3-c3e1-fe81-a776-ca4b69148c4d" ma:open="true" ma:isKeyword="false">
      <xsd:complexType>
        <xsd:sequence>
          <xsd:element ref="pc:Terms" minOccurs="0" maxOccurs="1"/>
        </xsd:sequence>
      </xsd:complexType>
    </xsd:element>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bjectDetectorVersions" ma:index="16" nillable="true" ma:displayName="MediaServiceObjectDetectorVersions" ma:hidden="true" ma:indexed="true" ma:internalName="MediaServiceObjectDetectorVersions"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46A44D6-8EE8-46A4-B93B-38D5021E5147}">
  <ds:schemaRefs>
    <ds:schemaRef ds:uri="3dcb25b9-5e2a-4cbc-a1d6-f53ee7652e42"/>
    <ds:schemaRef ds:uri="http://purl.org/dc/elements/1.1/"/>
    <ds:schemaRef ds:uri="http://schemas.microsoft.com/office/2006/documentManagement/types"/>
    <ds:schemaRef ds:uri="http://www.w3.org/XML/1998/namespace"/>
    <ds:schemaRef ds:uri="http://purl.org/dc/terms/"/>
    <ds:schemaRef ds:uri="http://purl.org/dc/dcmitype/"/>
    <ds:schemaRef ds:uri="http://schemas.microsoft.com/office/2006/metadata/properties"/>
    <ds:schemaRef ds:uri="http://schemas.microsoft.com/office/infopath/2007/PartnerControls"/>
    <ds:schemaRef ds:uri="http://schemas.openxmlformats.org/package/2006/metadata/core-properties"/>
  </ds:schemaRefs>
</ds:datastoreItem>
</file>

<file path=customXml/itemProps2.xml><?xml version="1.0" encoding="utf-8"?>
<ds:datastoreItem xmlns:ds="http://schemas.openxmlformats.org/officeDocument/2006/customXml" ds:itemID="{F59FB2A7-583C-4CAD-B179-D9EA0C80BD6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dcb25b9-5e2a-4cbc-a1d6-f53ee7652e4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2D95502D-380B-4CB7-8B03-BD2E8C90A97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67</TotalTime>
  <Words>2363</Words>
  <Application>Microsoft Office PowerPoint</Application>
  <PresentationFormat>Custom</PresentationFormat>
  <Paragraphs>171</Paragraphs>
  <Slides>7</Slides>
  <Notes>1</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7</vt:i4>
      </vt:variant>
    </vt:vector>
  </HeadingPairs>
  <TitlesOfParts>
    <vt:vector size="13" baseType="lpstr">
      <vt:lpstr>Arial</vt:lpstr>
      <vt:lpstr>Calibri</vt:lpstr>
      <vt:lpstr>Roboto</vt:lpstr>
      <vt:lpstr>Segoe UI</vt:lpstr>
      <vt:lpstr>Department of Transport and Planning</vt:lpstr>
      <vt:lpstr>think-cell Slide</vt:lpstr>
      <vt:lpstr>Glossary of common planning terms</vt:lpstr>
      <vt:lpstr>Glossary of common planning terms p2</vt:lpstr>
      <vt:lpstr>Glossary of common planning terms p3</vt:lpstr>
      <vt:lpstr>Glossary of common planning terms p4</vt:lpstr>
      <vt:lpstr>Glossary of common planning terms p5</vt:lpstr>
      <vt:lpstr>Glossary of common planning terms p6</vt:lpstr>
      <vt:lpstr>Glossary of common planning terms p7</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lossary of common planning terms</dc:title>
  <dc:creator>Simon Swingler (DOT)</dc:creator>
  <cp:lastModifiedBy>Alannah Tran</cp:lastModifiedBy>
  <cp:revision>10</cp:revision>
  <dcterms:created xsi:type="dcterms:W3CDTF">2022-12-29T22:56:05Z</dcterms:created>
  <dcterms:modified xsi:type="dcterms:W3CDTF">2023-07-31T00:42: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42BB819AAA975489E33CF0F50496490</vt:lpwstr>
  </property>
  <property fmtid="{D5CDD505-2E9C-101B-9397-08002B2CF9AE}" pid="3" name="MSIP_Label_4257e2ab-f512-40e2-9c9a-c64247360765_Enabled">
    <vt:lpwstr>true</vt:lpwstr>
  </property>
  <property fmtid="{D5CDD505-2E9C-101B-9397-08002B2CF9AE}" pid="4" name="MSIP_Label_4257e2ab-f512-40e2-9c9a-c64247360765_SetDate">
    <vt:lpwstr>2023-01-30T06:03:37Z</vt:lpwstr>
  </property>
  <property fmtid="{D5CDD505-2E9C-101B-9397-08002B2CF9AE}" pid="5" name="MSIP_Label_4257e2ab-f512-40e2-9c9a-c64247360765_Method">
    <vt:lpwstr>Privileged</vt:lpwstr>
  </property>
  <property fmtid="{D5CDD505-2E9C-101B-9397-08002B2CF9AE}" pid="6" name="MSIP_Label_4257e2ab-f512-40e2-9c9a-c64247360765_Name">
    <vt:lpwstr>OFFICIAL</vt:lpwstr>
  </property>
  <property fmtid="{D5CDD505-2E9C-101B-9397-08002B2CF9AE}" pid="7" name="MSIP_Label_4257e2ab-f512-40e2-9c9a-c64247360765_SiteId">
    <vt:lpwstr>e8bdd6f7-fc18-4e48-a554-7f547927223b</vt:lpwstr>
  </property>
  <property fmtid="{D5CDD505-2E9C-101B-9397-08002B2CF9AE}" pid="8" name="MSIP_Label_4257e2ab-f512-40e2-9c9a-c64247360765_ActionId">
    <vt:lpwstr>0ac3b5a5-0261-4d70-b93e-cc946f5cb9e9</vt:lpwstr>
  </property>
  <property fmtid="{D5CDD505-2E9C-101B-9397-08002B2CF9AE}" pid="9" name="MSIP_Label_4257e2ab-f512-40e2-9c9a-c64247360765_ContentBits">
    <vt:lpwstr>2</vt:lpwstr>
  </property>
  <property fmtid="{D5CDD505-2E9C-101B-9397-08002B2CF9AE}" pid="10" name="Records Class Project">
    <vt:lpwstr>59;#Team Administration|3cd6588d-cc2f-4468-861e-a21c47be7d8b</vt:lpwstr>
  </property>
  <property fmtid="{D5CDD505-2E9C-101B-9397-08002B2CF9AE}" pid="11" name="Security Classification">
    <vt:lpwstr>1;#Unclassified|7fa379f4-4aba-4692-ab80-7d39d3a23cf4</vt:lpwstr>
  </property>
  <property fmtid="{D5CDD505-2E9C-101B-9397-08002B2CF9AE}" pid="12" name="_dlc_DocIdItemGuid">
    <vt:lpwstr>785497d6-dab3-432d-ae92-a0b6e1f3d42e</vt:lpwstr>
  </property>
  <property fmtid="{D5CDD505-2E9C-101B-9397-08002B2CF9AE}" pid="13" name="MediaServiceImageTags">
    <vt:lpwstr/>
  </property>
  <property fmtid="{D5CDD505-2E9C-101B-9397-08002B2CF9AE}" pid="14" name="Dissemination Limiting Marker">
    <vt:lpwstr>2;#FOUO|955eb6fc-b35a-4808-8aa5-31e514fa3f26</vt:lpwstr>
  </property>
  <property fmtid="{D5CDD505-2E9C-101B-9397-08002B2CF9AE}" pid="15" name="Department Document Type">
    <vt:lpwstr/>
  </property>
  <property fmtid="{D5CDD505-2E9C-101B-9397-08002B2CF9AE}" pid="16" name="Record Purpose">
    <vt:lpwstr/>
  </property>
</Properties>
</file>